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7" r:id="rId4"/>
    <p:sldMasterId id="2147483716" r:id="rId5"/>
    <p:sldMasterId id="2147483765" r:id="rId6"/>
  </p:sldMasterIdLst>
  <p:notesMasterIdLst>
    <p:notesMasterId r:id="rId20"/>
  </p:notesMasterIdLst>
  <p:handoutMasterIdLst>
    <p:handoutMasterId r:id="rId21"/>
  </p:handoutMasterIdLst>
  <p:sldIdLst>
    <p:sldId id="296" r:id="rId7"/>
    <p:sldId id="806" r:id="rId8"/>
    <p:sldId id="812" r:id="rId9"/>
    <p:sldId id="432" r:id="rId10"/>
    <p:sldId id="807" r:id="rId11"/>
    <p:sldId id="811" r:id="rId12"/>
    <p:sldId id="813" r:id="rId13"/>
    <p:sldId id="4886" r:id="rId14"/>
    <p:sldId id="4887" r:id="rId15"/>
    <p:sldId id="809" r:id="rId16"/>
    <p:sldId id="810" r:id="rId17"/>
    <p:sldId id="808" r:id="rId18"/>
    <p:sldId id="804"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784" userDrawn="1">
          <p15:clr>
            <a:srgbClr val="A4A3A4"/>
          </p15:clr>
        </p15:guide>
        <p15:guide id="2" orient="horz" pos="1344" userDrawn="1">
          <p15:clr>
            <a:srgbClr val="A4A3A4"/>
          </p15:clr>
        </p15:guide>
        <p15:guide id="3"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urėnaitė-Urbanavičienė, Sonata" initials="JS" lastIdx="10" clrIdx="0">
    <p:extLst>
      <p:ext uri="{19B8F6BF-5375-455C-9EA6-DF929625EA0E}">
        <p15:presenceInfo xmlns:p15="http://schemas.microsoft.com/office/powerpoint/2012/main" userId="S-1-5-21-484763869-963894560-1177238915-142897" providerId="AD"/>
      </p:ext>
    </p:extLst>
  </p:cmAuthor>
  <p:cmAuthor id="2" name="Winter, Stacey J." initials="WSJ" lastIdx="8" clrIdx="1">
    <p:extLst>
      <p:ext uri="{19B8F6BF-5375-455C-9EA6-DF929625EA0E}">
        <p15:presenceInfo xmlns:p15="http://schemas.microsoft.com/office/powerpoint/2012/main" userId="S::stacey.winter@thermofisher.com::08be9eb9-da93-4e42-87c1-2225cc8019f6" providerId="AD"/>
      </p:ext>
    </p:extLst>
  </p:cmAuthor>
  <p:cmAuthor id="3" name="Šmergelienė, Edita" initials="ŠE" lastIdx="7" clrIdx="2">
    <p:extLst>
      <p:ext uri="{19B8F6BF-5375-455C-9EA6-DF929625EA0E}">
        <p15:presenceInfo xmlns:p15="http://schemas.microsoft.com/office/powerpoint/2012/main" userId="S::edita.smergeliene@thermofisher.com::53cbae91-45c2-48c4-a6b2-9b80c7935152" providerId="AD"/>
      </p:ext>
    </p:extLst>
  </p:cmAuthor>
  <p:cmAuthor id="4" name="Drėgūnienė, Vilija" initials="DV" lastIdx="6" clrIdx="3">
    <p:extLst>
      <p:ext uri="{19B8F6BF-5375-455C-9EA6-DF929625EA0E}">
        <p15:presenceInfo xmlns:p15="http://schemas.microsoft.com/office/powerpoint/2012/main" userId="S::vilija.dreguniene@thermofisher.com::41229375-aa31-4589-b78f-eb7d30e172f3" providerId="AD"/>
      </p:ext>
    </p:extLst>
  </p:cmAuthor>
  <p:cmAuthor id="5" name="Zhang, Hao" initials="ZH" lastIdx="3" clrIdx="4">
    <p:extLst>
      <p:ext uri="{19B8F6BF-5375-455C-9EA6-DF929625EA0E}">
        <p15:presenceInfo xmlns:p15="http://schemas.microsoft.com/office/powerpoint/2012/main" userId="S::hao.zhang@thermofisher.com::de2d6250-68e3-422f-a95a-2f2dc0fb6b7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299CF"/>
    <a:srgbClr val="ED7D31"/>
    <a:srgbClr val="0000FF"/>
    <a:srgbClr val="E2E3E3"/>
    <a:srgbClr val="00AEDE"/>
    <a:srgbClr val="0091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5603" autoAdjust="0"/>
  </p:normalViewPr>
  <p:slideViewPr>
    <p:cSldViewPr snapToGrid="0">
      <p:cViewPr>
        <p:scale>
          <a:sx n="130" d="100"/>
          <a:sy n="130" d="100"/>
        </p:scale>
        <p:origin x="-216" y="-372"/>
      </p:cViewPr>
      <p:guideLst>
        <p:guide orient="horz" pos="1784"/>
        <p:guide orient="horz" pos="1344"/>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commentAuthors" Target="commentAuthors.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Zhang, Hao" userId="de2d6250-68e3-422f-a95a-2f2dc0fb6b72" providerId="ADAL" clId="{0DA54164-7928-495F-BB7B-48821E36692C}"/>
    <pc:docChg chg="delSld">
      <pc:chgData name="Zhang, Hao" userId="de2d6250-68e3-422f-a95a-2f2dc0fb6b72" providerId="ADAL" clId="{0DA54164-7928-495F-BB7B-48821E36692C}" dt="2021-09-21T23:04:26.912" v="7" actId="47"/>
      <pc:docMkLst>
        <pc:docMk/>
      </pc:docMkLst>
      <pc:sldChg chg="del">
        <pc:chgData name="Zhang, Hao" userId="de2d6250-68e3-422f-a95a-2f2dc0fb6b72" providerId="ADAL" clId="{0DA54164-7928-495F-BB7B-48821E36692C}" dt="2021-09-21T23:04:26.912" v="7" actId="47"/>
        <pc:sldMkLst>
          <pc:docMk/>
          <pc:sldMk cId="4069078898" sldId="406"/>
        </pc:sldMkLst>
      </pc:sldChg>
      <pc:sldChg chg="del">
        <pc:chgData name="Zhang, Hao" userId="de2d6250-68e3-422f-a95a-2f2dc0fb6b72" providerId="ADAL" clId="{0DA54164-7928-495F-BB7B-48821E36692C}" dt="2021-09-21T23:04:24.129" v="2" actId="47"/>
        <pc:sldMkLst>
          <pc:docMk/>
          <pc:sldMk cId="3784707384" sldId="407"/>
        </pc:sldMkLst>
      </pc:sldChg>
      <pc:sldChg chg="del">
        <pc:chgData name="Zhang, Hao" userId="de2d6250-68e3-422f-a95a-2f2dc0fb6b72" providerId="ADAL" clId="{0DA54164-7928-495F-BB7B-48821E36692C}" dt="2021-09-21T23:04:23.097" v="1" actId="47"/>
        <pc:sldMkLst>
          <pc:docMk/>
          <pc:sldMk cId="855552752" sldId="412"/>
        </pc:sldMkLst>
      </pc:sldChg>
      <pc:sldChg chg="del">
        <pc:chgData name="Zhang, Hao" userId="de2d6250-68e3-422f-a95a-2f2dc0fb6b72" providerId="ADAL" clId="{0DA54164-7928-495F-BB7B-48821E36692C}" dt="2021-09-21T23:04:26.022" v="5" actId="47"/>
        <pc:sldMkLst>
          <pc:docMk/>
          <pc:sldMk cId="3150394809" sldId="420"/>
        </pc:sldMkLst>
      </pc:sldChg>
      <pc:sldChg chg="del">
        <pc:chgData name="Zhang, Hao" userId="de2d6250-68e3-422f-a95a-2f2dc0fb6b72" providerId="ADAL" clId="{0DA54164-7928-495F-BB7B-48821E36692C}" dt="2021-09-21T23:04:25.581" v="4" actId="47"/>
        <pc:sldMkLst>
          <pc:docMk/>
          <pc:sldMk cId="1083862388" sldId="431"/>
        </pc:sldMkLst>
      </pc:sldChg>
      <pc:sldChg chg="del">
        <pc:chgData name="Zhang, Hao" userId="de2d6250-68e3-422f-a95a-2f2dc0fb6b72" providerId="ADAL" clId="{0DA54164-7928-495F-BB7B-48821E36692C}" dt="2021-09-21T23:04:26.546" v="6" actId="47"/>
        <pc:sldMkLst>
          <pc:docMk/>
          <pc:sldMk cId="51727835" sldId="433"/>
        </pc:sldMkLst>
      </pc:sldChg>
      <pc:sldChg chg="del">
        <pc:chgData name="Zhang, Hao" userId="de2d6250-68e3-422f-a95a-2f2dc0fb6b72" providerId="ADAL" clId="{0DA54164-7928-495F-BB7B-48821E36692C}" dt="2021-09-21T23:04:24.806" v="3" actId="47"/>
        <pc:sldMkLst>
          <pc:docMk/>
          <pc:sldMk cId="1727652962" sldId="438"/>
        </pc:sldMkLst>
      </pc:sldChg>
      <pc:sldChg chg="del">
        <pc:chgData name="Zhang, Hao" userId="de2d6250-68e3-422f-a95a-2f2dc0fb6b72" providerId="ADAL" clId="{0DA54164-7928-495F-BB7B-48821E36692C}" dt="2021-09-21T23:04:21.792" v="0" actId="47"/>
        <pc:sldMkLst>
          <pc:docMk/>
          <pc:sldMk cId="3170526560" sldId="803"/>
        </pc:sldMkLst>
      </pc:sldChg>
      <pc:sldMasterChg chg="delSldLayout">
        <pc:chgData name="Zhang, Hao" userId="de2d6250-68e3-422f-a95a-2f2dc0fb6b72" providerId="ADAL" clId="{0DA54164-7928-495F-BB7B-48821E36692C}" dt="2021-09-21T23:04:21.792" v="0" actId="47"/>
        <pc:sldMasterMkLst>
          <pc:docMk/>
          <pc:sldMasterMk cId="262203258" sldId="2147483677"/>
        </pc:sldMasterMkLst>
        <pc:sldLayoutChg chg="del">
          <pc:chgData name="Zhang, Hao" userId="de2d6250-68e3-422f-a95a-2f2dc0fb6b72" providerId="ADAL" clId="{0DA54164-7928-495F-BB7B-48821E36692C}" dt="2021-09-21T23:04:21.792" v="0" actId="47"/>
          <pc:sldLayoutMkLst>
            <pc:docMk/>
            <pc:sldMasterMk cId="262203258" sldId="2147483677"/>
            <pc:sldLayoutMk cId="2706740584" sldId="2147483764"/>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4033943" cy="352374"/>
          </a:xfrm>
          <a:prstGeom prst="rect">
            <a:avLst/>
          </a:prstGeom>
        </p:spPr>
        <p:txBody>
          <a:bodyPr vert="horz" lIns="93309" tIns="46655" rIns="93309" bIns="46655" rtlCol="0"/>
          <a:lstStyle>
            <a:lvl1pPr algn="l">
              <a:defRPr sz="1200"/>
            </a:lvl1pPr>
          </a:lstStyle>
          <a:p>
            <a:endParaRPr lang="en-US"/>
          </a:p>
        </p:txBody>
      </p:sp>
      <p:sp>
        <p:nvSpPr>
          <p:cNvPr id="3" name="Date Placeholder 2"/>
          <p:cNvSpPr>
            <a:spLocks noGrp="1"/>
          </p:cNvSpPr>
          <p:nvPr>
            <p:ph type="dt" sz="quarter" idx="1"/>
          </p:nvPr>
        </p:nvSpPr>
        <p:spPr>
          <a:xfrm>
            <a:off x="5273003" y="2"/>
            <a:ext cx="4033943" cy="352374"/>
          </a:xfrm>
          <a:prstGeom prst="rect">
            <a:avLst/>
          </a:prstGeom>
        </p:spPr>
        <p:txBody>
          <a:bodyPr vert="horz" lIns="93309" tIns="46655" rIns="93309" bIns="46655" rtlCol="0"/>
          <a:lstStyle>
            <a:lvl1pPr algn="r">
              <a:defRPr sz="1200"/>
            </a:lvl1pPr>
          </a:lstStyle>
          <a:p>
            <a:fld id="{97946C0A-3886-4D98-9EDE-B9AA607C8D24}" type="datetimeFigureOut">
              <a:rPr lang="en-US" smtClean="0"/>
              <a:t>9/21/2021</a:t>
            </a:fld>
            <a:endParaRPr lang="en-US"/>
          </a:p>
        </p:txBody>
      </p:sp>
      <p:sp>
        <p:nvSpPr>
          <p:cNvPr id="4" name="Footer Placeholder 3"/>
          <p:cNvSpPr>
            <a:spLocks noGrp="1"/>
          </p:cNvSpPr>
          <p:nvPr>
            <p:ph type="ftr" sz="quarter" idx="2"/>
          </p:nvPr>
        </p:nvSpPr>
        <p:spPr>
          <a:xfrm>
            <a:off x="0" y="6670727"/>
            <a:ext cx="4033943" cy="352374"/>
          </a:xfrm>
          <a:prstGeom prst="rect">
            <a:avLst/>
          </a:prstGeom>
        </p:spPr>
        <p:txBody>
          <a:bodyPr vert="horz" lIns="93309" tIns="46655" rIns="93309" bIns="46655" rtlCol="0" anchor="b"/>
          <a:lstStyle>
            <a:lvl1pPr algn="l">
              <a:defRPr sz="1200"/>
            </a:lvl1pPr>
          </a:lstStyle>
          <a:p>
            <a:endParaRPr lang="en-US"/>
          </a:p>
        </p:txBody>
      </p:sp>
      <p:sp>
        <p:nvSpPr>
          <p:cNvPr id="5" name="Slide Number Placeholder 4"/>
          <p:cNvSpPr>
            <a:spLocks noGrp="1"/>
          </p:cNvSpPr>
          <p:nvPr>
            <p:ph type="sldNum" sz="quarter" idx="3"/>
          </p:nvPr>
        </p:nvSpPr>
        <p:spPr>
          <a:xfrm>
            <a:off x="5273003" y="6670727"/>
            <a:ext cx="4033943" cy="352374"/>
          </a:xfrm>
          <a:prstGeom prst="rect">
            <a:avLst/>
          </a:prstGeom>
        </p:spPr>
        <p:txBody>
          <a:bodyPr vert="horz" lIns="93309" tIns="46655" rIns="93309" bIns="46655" rtlCol="0" anchor="b"/>
          <a:lstStyle>
            <a:lvl1pPr algn="r">
              <a:defRPr sz="1200"/>
            </a:lvl1pPr>
          </a:lstStyle>
          <a:p>
            <a:fld id="{E3D0E0F5-986A-4AF9-8768-E377F74167C2}" type="slidenum">
              <a:rPr lang="en-US" smtClean="0"/>
              <a:t>‹#›</a:t>
            </a:fld>
            <a:endParaRPr lang="en-US"/>
          </a:p>
        </p:txBody>
      </p:sp>
    </p:spTree>
    <p:extLst>
      <p:ext uri="{BB962C8B-B14F-4D97-AF65-F5344CB8AC3E}">
        <p14:creationId xmlns:p14="http://schemas.microsoft.com/office/powerpoint/2010/main" val="6134100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4033943" cy="352374"/>
          </a:xfrm>
          <a:prstGeom prst="rect">
            <a:avLst/>
          </a:prstGeom>
        </p:spPr>
        <p:txBody>
          <a:bodyPr vert="horz" lIns="93309" tIns="46655" rIns="93309" bIns="46655" rtlCol="0"/>
          <a:lstStyle>
            <a:lvl1pPr algn="l">
              <a:defRPr sz="1200"/>
            </a:lvl1pPr>
          </a:lstStyle>
          <a:p>
            <a:endParaRPr lang="en-US"/>
          </a:p>
        </p:txBody>
      </p:sp>
      <p:sp>
        <p:nvSpPr>
          <p:cNvPr id="3" name="Date Placeholder 2"/>
          <p:cNvSpPr>
            <a:spLocks noGrp="1"/>
          </p:cNvSpPr>
          <p:nvPr>
            <p:ph type="dt" idx="1"/>
          </p:nvPr>
        </p:nvSpPr>
        <p:spPr>
          <a:xfrm>
            <a:off x="5273003" y="2"/>
            <a:ext cx="4033943" cy="352374"/>
          </a:xfrm>
          <a:prstGeom prst="rect">
            <a:avLst/>
          </a:prstGeom>
        </p:spPr>
        <p:txBody>
          <a:bodyPr vert="horz" lIns="93309" tIns="46655" rIns="93309" bIns="46655" rtlCol="0"/>
          <a:lstStyle>
            <a:lvl1pPr algn="r">
              <a:defRPr sz="1200"/>
            </a:lvl1pPr>
          </a:lstStyle>
          <a:p>
            <a:fld id="{5C61588C-352D-42A1-A906-5EEAFC4D2838}" type="datetimeFigureOut">
              <a:rPr lang="en-US" smtClean="0"/>
              <a:t>9/21/2021</a:t>
            </a:fld>
            <a:endParaRPr lang="en-US"/>
          </a:p>
        </p:txBody>
      </p:sp>
      <p:sp>
        <p:nvSpPr>
          <p:cNvPr id="4" name="Slide Image Placeholder 3"/>
          <p:cNvSpPr>
            <a:spLocks noGrp="1" noRot="1" noChangeAspect="1"/>
          </p:cNvSpPr>
          <p:nvPr>
            <p:ph type="sldImg" idx="2"/>
          </p:nvPr>
        </p:nvSpPr>
        <p:spPr>
          <a:xfrm>
            <a:off x="2547938" y="877888"/>
            <a:ext cx="4213225" cy="2370137"/>
          </a:xfrm>
          <a:prstGeom prst="rect">
            <a:avLst/>
          </a:prstGeom>
          <a:noFill/>
          <a:ln w="12700">
            <a:solidFill>
              <a:prstClr val="black"/>
            </a:solidFill>
          </a:ln>
        </p:spPr>
        <p:txBody>
          <a:bodyPr vert="horz" lIns="93309" tIns="46655" rIns="93309" bIns="46655" rtlCol="0" anchor="ctr"/>
          <a:lstStyle/>
          <a:p>
            <a:endParaRPr lang="en-US"/>
          </a:p>
        </p:txBody>
      </p:sp>
      <p:sp>
        <p:nvSpPr>
          <p:cNvPr id="5" name="Notes Placeholder 4"/>
          <p:cNvSpPr>
            <a:spLocks noGrp="1"/>
          </p:cNvSpPr>
          <p:nvPr>
            <p:ph type="body" sz="quarter" idx="3"/>
          </p:nvPr>
        </p:nvSpPr>
        <p:spPr>
          <a:xfrm>
            <a:off x="930910" y="3379867"/>
            <a:ext cx="7447280" cy="2765346"/>
          </a:xfrm>
          <a:prstGeom prst="rect">
            <a:avLst/>
          </a:prstGeom>
        </p:spPr>
        <p:txBody>
          <a:bodyPr vert="horz" lIns="93309" tIns="46655" rIns="93309" bIns="4665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670727"/>
            <a:ext cx="4033943" cy="352374"/>
          </a:xfrm>
          <a:prstGeom prst="rect">
            <a:avLst/>
          </a:prstGeom>
        </p:spPr>
        <p:txBody>
          <a:bodyPr vert="horz" lIns="93309" tIns="46655" rIns="93309" bIns="46655" rtlCol="0" anchor="b"/>
          <a:lstStyle>
            <a:lvl1pPr algn="l">
              <a:defRPr sz="1200"/>
            </a:lvl1pPr>
          </a:lstStyle>
          <a:p>
            <a:endParaRPr lang="en-US"/>
          </a:p>
        </p:txBody>
      </p:sp>
      <p:sp>
        <p:nvSpPr>
          <p:cNvPr id="7" name="Slide Number Placeholder 6"/>
          <p:cNvSpPr>
            <a:spLocks noGrp="1"/>
          </p:cNvSpPr>
          <p:nvPr>
            <p:ph type="sldNum" sz="quarter" idx="5"/>
          </p:nvPr>
        </p:nvSpPr>
        <p:spPr>
          <a:xfrm>
            <a:off x="5273003" y="6670727"/>
            <a:ext cx="4033943" cy="352374"/>
          </a:xfrm>
          <a:prstGeom prst="rect">
            <a:avLst/>
          </a:prstGeom>
        </p:spPr>
        <p:txBody>
          <a:bodyPr vert="horz" lIns="93309" tIns="46655" rIns="93309" bIns="46655" rtlCol="0" anchor="b"/>
          <a:lstStyle>
            <a:lvl1pPr algn="r">
              <a:defRPr sz="1200"/>
            </a:lvl1pPr>
          </a:lstStyle>
          <a:p>
            <a:fld id="{695907E6-12FA-4999-B01D-739F46B6DD63}" type="slidenum">
              <a:rPr lang="en-US" smtClean="0"/>
              <a:t>‹#›</a:t>
            </a:fld>
            <a:endParaRPr lang="en-US"/>
          </a:p>
        </p:txBody>
      </p:sp>
    </p:spTree>
    <p:extLst>
      <p:ext uri="{BB962C8B-B14F-4D97-AF65-F5344CB8AC3E}">
        <p14:creationId xmlns:p14="http://schemas.microsoft.com/office/powerpoint/2010/main" val="32059897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t-LT"/>
          </a:p>
        </p:txBody>
      </p:sp>
      <p:sp>
        <p:nvSpPr>
          <p:cNvPr id="4" name="Slide Number Placeholder 3"/>
          <p:cNvSpPr>
            <a:spLocks noGrp="1"/>
          </p:cNvSpPr>
          <p:nvPr>
            <p:ph type="sldNum" sz="quarter" idx="10"/>
          </p:nvPr>
        </p:nvSpPr>
        <p:spPr/>
        <p:txBody>
          <a:bodyPr/>
          <a:lstStyle/>
          <a:p>
            <a:fld id="{695907E6-12FA-4999-B01D-739F46B6DD63}" type="slidenum">
              <a:rPr lang="en-US" smtClean="0"/>
              <a:t>1</a:t>
            </a:fld>
            <a:endParaRPr lang="en-US"/>
          </a:p>
        </p:txBody>
      </p:sp>
    </p:spTree>
    <p:extLst>
      <p:ext uri="{BB962C8B-B14F-4D97-AF65-F5344CB8AC3E}">
        <p14:creationId xmlns:p14="http://schemas.microsoft.com/office/powerpoint/2010/main" val="24441617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95907E6-12FA-4999-B01D-739F46B6DD63}" type="slidenum">
              <a:rPr lang="en-US" smtClean="0"/>
              <a:t>5</a:t>
            </a:fld>
            <a:endParaRPr lang="en-US"/>
          </a:p>
        </p:txBody>
      </p:sp>
    </p:spTree>
    <p:extLst>
      <p:ext uri="{BB962C8B-B14F-4D97-AF65-F5344CB8AC3E}">
        <p14:creationId xmlns:p14="http://schemas.microsoft.com/office/powerpoint/2010/main" val="22398072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 in the top company logos</a:t>
            </a:r>
          </a:p>
        </p:txBody>
      </p:sp>
      <p:sp>
        <p:nvSpPr>
          <p:cNvPr id="4" name="Slide Number Placeholder 3"/>
          <p:cNvSpPr>
            <a:spLocks noGrp="1"/>
          </p:cNvSpPr>
          <p:nvPr>
            <p:ph type="sldNum" sz="quarter" idx="5"/>
          </p:nvPr>
        </p:nvSpPr>
        <p:spPr/>
        <p:txBody>
          <a:bodyPr/>
          <a:lstStyle/>
          <a:p>
            <a:fld id="{695907E6-12FA-4999-B01D-739F46B6DD63}" type="slidenum">
              <a:rPr lang="en-US" smtClean="0"/>
              <a:t>8</a:t>
            </a:fld>
            <a:endParaRPr lang="en-US"/>
          </a:p>
        </p:txBody>
      </p:sp>
    </p:spTree>
    <p:extLst>
      <p:ext uri="{BB962C8B-B14F-4D97-AF65-F5344CB8AC3E}">
        <p14:creationId xmlns:p14="http://schemas.microsoft.com/office/powerpoint/2010/main" val="204427452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hyperlink" Target="https://thermofisher.sharepoint.com/sites/functions/Marketing/Pages/Customer-Value-Proposition.aspx" TargetMode="External"/><Relationship Id="rId1" Type="http://schemas.openxmlformats.org/officeDocument/2006/relationships/slideMaster" Target="../slideMasters/slideMaster2.xml"/><Relationship Id="rId4" Type="http://schemas.openxmlformats.org/officeDocument/2006/relationships/image" Target="../media/image12.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0.emf"/><Relationship Id="rId1" Type="http://schemas.openxmlformats.org/officeDocument/2006/relationships/slideMaster" Target="../slideMasters/slideMaster2.xml"/><Relationship Id="rId5" Type="http://schemas.openxmlformats.org/officeDocument/2006/relationships/image" Target="../media/image16.png"/><Relationship Id="rId4" Type="http://schemas.openxmlformats.org/officeDocument/2006/relationships/image" Target="../media/image15.sv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emf"/><Relationship Id="rId1" Type="http://schemas.openxmlformats.org/officeDocument/2006/relationships/slideMaster" Target="../slideMasters/slideMaster2.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0.emf"/><Relationship Id="rId1" Type="http://schemas.openxmlformats.org/officeDocument/2006/relationships/slideMaster" Target="../slideMasters/slideMaster2.xml"/><Relationship Id="rId5" Type="http://schemas.openxmlformats.org/officeDocument/2006/relationships/image" Target="../media/image20.png"/><Relationship Id="rId4" Type="http://schemas.openxmlformats.org/officeDocument/2006/relationships/image" Target="../media/image19.sv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0.emf"/><Relationship Id="rId1" Type="http://schemas.openxmlformats.org/officeDocument/2006/relationships/slideMaster" Target="../slideMasters/slideMaster2.xml"/><Relationship Id="rId5" Type="http://schemas.openxmlformats.org/officeDocument/2006/relationships/image" Target="../media/image20.png"/><Relationship Id="rId4" Type="http://schemas.openxmlformats.org/officeDocument/2006/relationships/image" Target="../media/image19.sv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20.png"/><Relationship Id="rId1" Type="http://schemas.openxmlformats.org/officeDocument/2006/relationships/slideMaster" Target="../slideMasters/slideMaster2.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0.emf"/><Relationship Id="rId1" Type="http://schemas.openxmlformats.org/officeDocument/2006/relationships/slideMaster" Target="../slideMasters/slideMaster2.xml"/><Relationship Id="rId5" Type="http://schemas.openxmlformats.org/officeDocument/2006/relationships/image" Target="../media/image23.png"/><Relationship Id="rId4" Type="http://schemas.openxmlformats.org/officeDocument/2006/relationships/image" Target="../media/image22.svg"/></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Master" Target="../slideMasters/slideMaster2.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0.emf"/><Relationship Id="rId1" Type="http://schemas.openxmlformats.org/officeDocument/2006/relationships/slideMaster" Target="../slideMasters/slideMaster2.xml"/><Relationship Id="rId6" Type="http://schemas.microsoft.com/office/2007/relationships/hdphoto" Target="../media/hdphoto1.wdp"/><Relationship Id="rId5" Type="http://schemas.openxmlformats.org/officeDocument/2006/relationships/image" Target="../media/image32.png"/><Relationship Id="rId4" Type="http://schemas.openxmlformats.org/officeDocument/2006/relationships/image" Target="../media/image31.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10.emf"/><Relationship Id="rId1" Type="http://schemas.openxmlformats.org/officeDocument/2006/relationships/slideMaster" Target="../slideMasters/slideMaster2.xml"/><Relationship Id="rId4" Type="http://schemas.openxmlformats.org/officeDocument/2006/relationships/image" Target="../media/image34.sv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10.emf"/><Relationship Id="rId1" Type="http://schemas.openxmlformats.org/officeDocument/2006/relationships/slideMaster" Target="../slideMasters/slideMaster2.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6.sv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0.svg"/><Relationship Id="rId7" Type="http://schemas.openxmlformats.org/officeDocument/2006/relationships/image" Target="../media/image44.svg"/><Relationship Id="rId2" Type="http://schemas.openxmlformats.org/officeDocument/2006/relationships/image" Target="../media/image39.png"/><Relationship Id="rId1" Type="http://schemas.openxmlformats.org/officeDocument/2006/relationships/slideMaster" Target="../slideMasters/slideMaster2.xml"/><Relationship Id="rId6" Type="http://schemas.openxmlformats.org/officeDocument/2006/relationships/image" Target="../media/image43.png"/><Relationship Id="rId11" Type="http://schemas.openxmlformats.org/officeDocument/2006/relationships/image" Target="../media/image48.svg"/><Relationship Id="rId5" Type="http://schemas.openxmlformats.org/officeDocument/2006/relationships/image" Target="../media/image42.svg"/><Relationship Id="rId10" Type="http://schemas.openxmlformats.org/officeDocument/2006/relationships/image" Target="../media/image47.png"/><Relationship Id="rId4" Type="http://schemas.openxmlformats.org/officeDocument/2006/relationships/image" Target="../media/image41.png"/><Relationship Id="rId9" Type="http://schemas.openxmlformats.org/officeDocument/2006/relationships/image" Target="../media/image46.sv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51.png"/><Relationship Id="rId7" Type="http://schemas.openxmlformats.org/officeDocument/2006/relationships/image" Target="../media/image52.png"/><Relationship Id="rId2" Type="http://schemas.openxmlformats.org/officeDocument/2006/relationships/image" Target="../media/image50.png"/><Relationship Id="rId1" Type="http://schemas.openxmlformats.org/officeDocument/2006/relationships/slideMaster" Target="../slideMasters/slideMaster2.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51.png"/><Relationship Id="rId7" Type="http://schemas.openxmlformats.org/officeDocument/2006/relationships/image" Target="../media/image52.png"/><Relationship Id="rId2" Type="http://schemas.openxmlformats.org/officeDocument/2006/relationships/image" Target="../media/image50.png"/><Relationship Id="rId1" Type="http://schemas.openxmlformats.org/officeDocument/2006/relationships/slideMaster" Target="../slideMasters/slideMaster2.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51.png"/><Relationship Id="rId7" Type="http://schemas.openxmlformats.org/officeDocument/2006/relationships/image" Target="../media/image52.png"/><Relationship Id="rId2" Type="http://schemas.openxmlformats.org/officeDocument/2006/relationships/image" Target="../media/image50.png"/><Relationship Id="rId1" Type="http://schemas.openxmlformats.org/officeDocument/2006/relationships/slideMaster" Target="../slideMasters/slideMaster2.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0.emf"/><Relationship Id="rId7" Type="http://schemas.openxmlformats.org/officeDocument/2006/relationships/image" Target="../media/image55.svg"/><Relationship Id="rId2" Type="http://schemas.openxmlformats.org/officeDocument/2006/relationships/image" Target="../media/image53.png"/><Relationship Id="rId1" Type="http://schemas.openxmlformats.org/officeDocument/2006/relationships/slideMaster" Target="../slideMasters/slideMaster2.xml"/><Relationship Id="rId6" Type="http://schemas.openxmlformats.org/officeDocument/2006/relationships/image" Target="../media/image54.png"/><Relationship Id="rId5" Type="http://schemas.openxmlformats.org/officeDocument/2006/relationships/image" Target="../media/image22.svg"/><Relationship Id="rId4" Type="http://schemas.openxmlformats.org/officeDocument/2006/relationships/image" Target="../media/image21.pn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56.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hyperlink" Target="https://thermofisher.sharepoint.com/sites/functions/Marketing/Pages/Customer-Value-Proposition.aspx" TargetMode="External"/><Relationship Id="rId1" Type="http://schemas.openxmlformats.org/officeDocument/2006/relationships/slideMaster" Target="../slideMasters/slideMaster3.xml"/><Relationship Id="rId4" Type="http://schemas.openxmlformats.org/officeDocument/2006/relationships/image" Target="../media/image58.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Master" Target="../slideMasters/slideMaster3.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52.png"/><Relationship Id="rId2" Type="http://schemas.openxmlformats.org/officeDocument/2006/relationships/image" Target="../media/image50.png"/><Relationship Id="rId1" Type="http://schemas.openxmlformats.org/officeDocument/2006/relationships/slideMaster" Target="../slideMasters/slideMaster3.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2_Title Slide">
    <p:bg>
      <p:bgPr>
        <a:solidFill>
          <a:schemeClr val="bg1"/>
        </a:solidFill>
        <a:effectLst/>
      </p:bgPr>
    </p:bg>
    <p:spTree>
      <p:nvGrpSpPr>
        <p:cNvPr id="1" name=""/>
        <p:cNvGrpSpPr/>
        <p:nvPr/>
      </p:nvGrpSpPr>
      <p:grpSpPr>
        <a:xfrm>
          <a:off x="0" y="0"/>
          <a:ext cx="0" cy="0"/>
          <a:chOff x="0" y="0"/>
          <a:chExt cx="0" cy="0"/>
        </a:xfrm>
      </p:grpSpPr>
      <p:sp>
        <p:nvSpPr>
          <p:cNvPr id="9" name="Rectangle 8"/>
          <p:cNvSpPr/>
          <p:nvPr/>
        </p:nvSpPr>
        <p:spPr bwMode="auto">
          <a:xfrm>
            <a:off x="0" y="3429000"/>
            <a:ext cx="12192000" cy="3436044"/>
          </a:xfrm>
          <a:prstGeom prst="rect">
            <a:avLst/>
          </a:prstGeom>
          <a:solidFill>
            <a:schemeClr val="bg1"/>
          </a:solidFill>
          <a:ln w="9525" cap="flat" cmpd="sng" algn="ctr">
            <a:noFill/>
            <a:prstDash val="solid"/>
            <a:round/>
            <a:headEnd type="none" w="med" len="med"/>
            <a:tailEnd type="none" w="med" len="med"/>
          </a:ln>
          <a:effectLst/>
        </p:spPr>
        <p:txBody>
          <a:bodyPr vert="horz" wrap="square" lIns="68580" tIns="34291" rIns="68580" bIns="34291" numCol="1" rtlCol="0" anchor="t" anchorCtr="0" compatLnSpc="1">
            <a:prstTxWarp prst="textNoShape">
              <a:avLst/>
            </a:prstTxWarp>
          </a:bodyPr>
          <a:lstStyle/>
          <a:p>
            <a:endParaRPr lang="en-US" sz="1800">
              <a:latin typeface="Arial" pitchFamily="124" charset="0"/>
            </a:endParaRPr>
          </a:p>
        </p:txBody>
      </p:sp>
      <p:grpSp>
        <p:nvGrpSpPr>
          <p:cNvPr id="2" name="Group 5"/>
          <p:cNvGrpSpPr/>
          <p:nvPr/>
        </p:nvGrpSpPr>
        <p:grpSpPr>
          <a:xfrm>
            <a:off x="0" y="6297618"/>
            <a:ext cx="12192000" cy="567431"/>
            <a:chOff x="0" y="6289662"/>
            <a:chExt cx="9144000" cy="567431"/>
          </a:xfrm>
        </p:grpSpPr>
        <p:sp>
          <p:nvSpPr>
            <p:cNvPr id="7" name="Rectangle 6"/>
            <p:cNvSpPr/>
            <p:nvPr/>
          </p:nvSpPr>
          <p:spPr bwMode="auto">
            <a:xfrm>
              <a:off x="0" y="6289662"/>
              <a:ext cx="9144000" cy="567431"/>
            </a:xfrm>
            <a:prstGeom prst="rect">
              <a:avLst/>
            </a:prstGeom>
            <a:solidFill>
              <a:schemeClr val="accent4"/>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endParaRPr lang="en-US" sz="1800">
                <a:latin typeface="Arial" pitchFamily="124" charset="0"/>
              </a:endParaRPr>
            </a:p>
          </p:txBody>
        </p:sp>
        <p:sp>
          <p:nvSpPr>
            <p:cNvPr id="8" name="TextBox 7"/>
            <p:cNvSpPr txBox="1"/>
            <p:nvPr/>
          </p:nvSpPr>
          <p:spPr>
            <a:xfrm>
              <a:off x="4614863" y="6467489"/>
              <a:ext cx="4320089" cy="215444"/>
            </a:xfrm>
            <a:prstGeom prst="rect">
              <a:avLst/>
            </a:prstGeom>
            <a:noFill/>
          </p:spPr>
          <p:txBody>
            <a:bodyPr vert="horz" wrap="square" lIns="0" tIns="0" rIns="0" bIns="0" rtlCol="0" anchor="ctr" anchorCtr="0">
              <a:noAutofit/>
            </a:bodyPr>
            <a:lstStyle/>
            <a:p>
              <a:pPr algn="r"/>
              <a:r>
                <a:rPr lang="en-US" sz="1400">
                  <a:solidFill>
                    <a:schemeClr val="bg1"/>
                  </a:solidFill>
                  <a:latin typeface="Arial"/>
                </a:rPr>
                <a:t>The world leader in serving science</a:t>
              </a:r>
            </a:p>
          </p:txBody>
        </p:sp>
      </p:grpSp>
      <p:sp>
        <p:nvSpPr>
          <p:cNvPr id="11" name="Proprietary &amp; Confidential"/>
          <p:cNvSpPr txBox="1">
            <a:spLocks noChangeArrowheads="1"/>
          </p:cNvSpPr>
          <p:nvPr/>
        </p:nvSpPr>
        <p:spPr bwMode="auto">
          <a:xfrm>
            <a:off x="266700" y="6526212"/>
            <a:ext cx="1359668" cy="215444"/>
          </a:xfrm>
          <a:prstGeom prst="rect">
            <a:avLst/>
          </a:prstGeom>
          <a:noFill/>
          <a:ln w="9525">
            <a:noFill/>
            <a:miter lim="800000"/>
            <a:headEnd/>
            <a:tailEnd/>
          </a:ln>
        </p:spPr>
        <p:txBody>
          <a:bodyPr wrap="none">
            <a:spAutoFit/>
          </a:bodyPr>
          <a:lstStyle/>
          <a:p>
            <a:pPr defTabSz="457189"/>
            <a:r>
              <a:rPr lang="en-US" sz="800" i="1">
                <a:solidFill>
                  <a:schemeClr val="bg1"/>
                </a:solidFill>
                <a:latin typeface="Arial Unicode MS" pitchFamily="34" charset="-128"/>
              </a:rPr>
              <a:t>Proprietary &amp; Confidential</a:t>
            </a:r>
          </a:p>
        </p:txBody>
      </p:sp>
      <p:sp>
        <p:nvSpPr>
          <p:cNvPr id="16" name="Text Placeholder 15"/>
          <p:cNvSpPr>
            <a:spLocks noGrp="1"/>
          </p:cNvSpPr>
          <p:nvPr>
            <p:ph type="body" sz="quarter" idx="10" hasCustomPrompt="1"/>
          </p:nvPr>
        </p:nvSpPr>
        <p:spPr>
          <a:xfrm>
            <a:off x="336551" y="4762627"/>
            <a:ext cx="4023360" cy="530737"/>
          </a:xfrm>
        </p:spPr>
        <p:txBody>
          <a:bodyPr/>
          <a:lstStyle>
            <a:lvl1pPr>
              <a:spcAft>
                <a:spcPts val="0"/>
              </a:spcAft>
              <a:buFontTx/>
              <a:buNone/>
              <a:defRPr sz="1600" b="1" baseline="0">
                <a:solidFill>
                  <a:schemeClr val="accent5"/>
                </a:solidFill>
              </a:defRPr>
            </a:lvl1pPr>
            <a:lvl2pPr marL="0" indent="0">
              <a:spcAft>
                <a:spcPts val="0"/>
              </a:spcAft>
              <a:buFontTx/>
              <a:buNone/>
              <a:defRPr sz="1400" i="0" baseline="0">
                <a:solidFill>
                  <a:schemeClr val="accent5"/>
                </a:solidFill>
              </a:defRPr>
            </a:lvl2pPr>
          </a:lstStyle>
          <a:p>
            <a:pPr lvl="0"/>
            <a:r>
              <a:rPr lang="en-US"/>
              <a:t>16 </a:t>
            </a:r>
            <a:r>
              <a:rPr lang="en-US" err="1"/>
              <a:t>pt</a:t>
            </a:r>
            <a:r>
              <a:rPr lang="en-US"/>
              <a:t> Arial Bold Presenter Name</a:t>
            </a:r>
          </a:p>
          <a:p>
            <a:pPr lvl="1"/>
            <a:r>
              <a:rPr lang="en-US"/>
              <a:t>14pt Arial Presenter Title </a:t>
            </a:r>
          </a:p>
        </p:txBody>
      </p:sp>
      <p:sp>
        <p:nvSpPr>
          <p:cNvPr id="14" name="Text Placeholder 15"/>
          <p:cNvSpPr>
            <a:spLocks noGrp="1"/>
          </p:cNvSpPr>
          <p:nvPr>
            <p:ph type="body" sz="quarter" idx="11" hasCustomPrompt="1"/>
          </p:nvPr>
        </p:nvSpPr>
        <p:spPr>
          <a:xfrm>
            <a:off x="336551" y="5502914"/>
            <a:ext cx="4023360" cy="530737"/>
          </a:xfrm>
        </p:spPr>
        <p:txBody>
          <a:bodyPr/>
          <a:lstStyle>
            <a:lvl1pPr>
              <a:spcAft>
                <a:spcPts val="0"/>
              </a:spcAft>
              <a:buFontTx/>
              <a:buNone/>
              <a:defRPr sz="1600" b="1" baseline="0">
                <a:solidFill>
                  <a:schemeClr val="accent5"/>
                </a:solidFill>
              </a:defRPr>
            </a:lvl1pPr>
            <a:lvl2pPr marL="0" indent="0">
              <a:spcAft>
                <a:spcPts val="0"/>
              </a:spcAft>
              <a:buFontTx/>
              <a:buNone/>
              <a:defRPr sz="1400" i="0" baseline="0">
                <a:solidFill>
                  <a:schemeClr val="accent5"/>
                </a:solidFill>
              </a:defRPr>
            </a:lvl2pPr>
          </a:lstStyle>
          <a:p>
            <a:pPr lvl="0"/>
            <a:r>
              <a:rPr lang="en-US"/>
              <a:t>16pt Arial Bold Presenter Name</a:t>
            </a:r>
          </a:p>
          <a:p>
            <a:pPr lvl="1"/>
            <a:r>
              <a:rPr lang="en-US"/>
              <a:t>14pt Arial Presenter Title </a:t>
            </a:r>
          </a:p>
        </p:txBody>
      </p:sp>
      <p:sp>
        <p:nvSpPr>
          <p:cNvPr id="5" name="Text Placeholder 4"/>
          <p:cNvSpPr>
            <a:spLocks noGrp="1"/>
          </p:cNvSpPr>
          <p:nvPr>
            <p:ph type="body" sz="quarter" idx="12" hasCustomPrompt="1"/>
          </p:nvPr>
        </p:nvSpPr>
        <p:spPr>
          <a:xfrm>
            <a:off x="6096002" y="5680088"/>
            <a:ext cx="5829300" cy="288696"/>
          </a:xfrm>
        </p:spPr>
        <p:txBody>
          <a:bodyPr rIns="0"/>
          <a:lstStyle>
            <a:lvl1pPr marL="0" indent="0" algn="r">
              <a:buFontTx/>
              <a:buNone/>
              <a:defRPr sz="1400" b="1" baseline="0">
                <a:solidFill>
                  <a:schemeClr val="accent5"/>
                </a:solidFill>
              </a:defRPr>
            </a:lvl1pPr>
          </a:lstStyle>
          <a:p>
            <a:pPr lvl="0"/>
            <a:r>
              <a:rPr lang="en-US"/>
              <a:t>LSG Americas Commercial Meeting</a:t>
            </a:r>
          </a:p>
        </p:txBody>
      </p:sp>
      <p:sp>
        <p:nvSpPr>
          <p:cNvPr id="15" name="Text Placeholder 4"/>
          <p:cNvSpPr>
            <a:spLocks noGrp="1"/>
          </p:cNvSpPr>
          <p:nvPr>
            <p:ph type="body" sz="quarter" idx="13" hasCustomPrompt="1"/>
          </p:nvPr>
        </p:nvSpPr>
        <p:spPr>
          <a:xfrm>
            <a:off x="9067802" y="5920005"/>
            <a:ext cx="2857500" cy="288696"/>
          </a:xfrm>
        </p:spPr>
        <p:txBody>
          <a:bodyPr rIns="0"/>
          <a:lstStyle>
            <a:lvl1pPr marL="0" indent="0" algn="r">
              <a:buFontTx/>
              <a:buNone/>
              <a:defRPr sz="1200" b="0" baseline="0">
                <a:solidFill>
                  <a:schemeClr val="accent5"/>
                </a:solidFill>
              </a:defRPr>
            </a:lvl1pPr>
          </a:lstStyle>
          <a:p>
            <a:pPr lvl="0"/>
            <a:r>
              <a:rPr lang="en-US"/>
              <a:t>February 19-21, 2018</a:t>
            </a:r>
          </a:p>
        </p:txBody>
      </p:sp>
      <p:sp>
        <p:nvSpPr>
          <p:cNvPr id="22" name="Title 16"/>
          <p:cNvSpPr>
            <a:spLocks noGrp="1"/>
          </p:cNvSpPr>
          <p:nvPr>
            <p:ph type="title" hasCustomPrompt="1"/>
          </p:nvPr>
        </p:nvSpPr>
        <p:spPr>
          <a:xfrm>
            <a:off x="5698721" y="3429004"/>
            <a:ext cx="6226579" cy="1864765"/>
          </a:xfrm>
          <a:noFill/>
        </p:spPr>
        <p:txBody>
          <a:bodyPr wrap="square" lIns="0" rIns="0" anchor="ctr" anchorCtr="0">
            <a:noAutofit/>
          </a:bodyPr>
          <a:lstStyle>
            <a:lvl1pPr algn="r">
              <a:defRPr sz="2800" b="1">
                <a:solidFill>
                  <a:schemeClr val="accent5"/>
                </a:solidFill>
              </a:defRPr>
            </a:lvl1pPr>
          </a:lstStyle>
          <a:p>
            <a:r>
              <a:rPr lang="en-US"/>
              <a:t>28pt Arial Title</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254" y="0"/>
            <a:ext cx="12222310" cy="3336051"/>
          </a:xfrm>
          <a:prstGeom prst="rect">
            <a:avLst/>
          </a:prstGeom>
        </p:spPr>
      </p:pic>
    </p:spTree>
    <p:extLst>
      <p:ext uri="{BB962C8B-B14F-4D97-AF65-F5344CB8AC3E}">
        <p14:creationId xmlns:p14="http://schemas.microsoft.com/office/powerpoint/2010/main" val="277277599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8_Custom Layou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7961376" cy="6858000"/>
          </a:xfrm>
          <a:prstGeom prst="rect">
            <a:avLst/>
          </a:prstGeom>
        </p:spPr>
      </p:pic>
      <p:pic>
        <p:nvPicPr>
          <p:cNvPr id="2" name="Picture 1"/>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2700" y="1773238"/>
            <a:ext cx="5080687" cy="5084762"/>
          </a:xfrm>
          <a:prstGeom prst="rect">
            <a:avLst/>
          </a:prstGeom>
        </p:spPr>
      </p:pic>
      <p:sp>
        <p:nvSpPr>
          <p:cNvPr id="10" name="Text Placeholder 6"/>
          <p:cNvSpPr>
            <a:spLocks noGrp="1"/>
          </p:cNvSpPr>
          <p:nvPr>
            <p:ph type="body" sz="quarter" idx="11"/>
          </p:nvPr>
        </p:nvSpPr>
        <p:spPr>
          <a:xfrm>
            <a:off x="3352800" y="1966913"/>
            <a:ext cx="8572500" cy="1447800"/>
          </a:xfrm>
        </p:spPr>
        <p:txBody>
          <a:bodyPr anchor="ctr"/>
          <a:lstStyle>
            <a:lvl1pPr marL="0" indent="0" algn="ctr">
              <a:buNone/>
              <a:defRPr sz="3200" b="1">
                <a:solidFill>
                  <a:schemeClr val="accent4"/>
                </a:solidFill>
              </a:defRPr>
            </a:lvl1pPr>
          </a:lstStyle>
          <a:p>
            <a:pPr lvl="0"/>
            <a:r>
              <a:rPr lang="en-US"/>
              <a:t>Click to edit Master text styles</a:t>
            </a:r>
          </a:p>
        </p:txBody>
      </p:sp>
    </p:spTree>
    <p:extLst>
      <p:ext uri="{BB962C8B-B14F-4D97-AF65-F5344CB8AC3E}">
        <p14:creationId xmlns:p14="http://schemas.microsoft.com/office/powerpoint/2010/main" val="395764338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4_Title and body box">
    <p:spTree>
      <p:nvGrpSpPr>
        <p:cNvPr id="1" name=""/>
        <p:cNvGrpSpPr/>
        <p:nvPr/>
      </p:nvGrpSpPr>
      <p:grpSpPr>
        <a:xfrm>
          <a:off x="0" y="0"/>
          <a:ext cx="0" cy="0"/>
          <a:chOff x="0" y="0"/>
          <a:chExt cx="0" cy="0"/>
        </a:xfrm>
      </p:grpSpPr>
      <p:sp>
        <p:nvSpPr>
          <p:cNvPr id="4" name="Rectangle 3"/>
          <p:cNvSpPr/>
          <p:nvPr/>
        </p:nvSpPr>
        <p:spPr bwMode="auto">
          <a:xfrm>
            <a:off x="0" y="4"/>
            <a:ext cx="12192000" cy="6297613"/>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lang="en-US" sz="1800">
              <a:latin typeface="Arial" pitchFamily="124" charset="0"/>
            </a:endParaRPr>
          </a:p>
        </p:txBody>
      </p:sp>
      <p:sp>
        <p:nvSpPr>
          <p:cNvPr id="7" name="Content Placeholder 2"/>
          <p:cNvSpPr>
            <a:spLocks noGrp="1"/>
          </p:cNvSpPr>
          <p:nvPr>
            <p:ph idx="1" hasCustomPrompt="1"/>
          </p:nvPr>
        </p:nvSpPr>
        <p:spPr>
          <a:xfrm>
            <a:off x="313267" y="777923"/>
            <a:ext cx="11580284" cy="5127578"/>
          </a:xfrm>
          <a:prstGeom prst="roundRect">
            <a:avLst>
              <a:gd name="adj" fmla="val 2774"/>
            </a:avLst>
          </a:prstGeom>
          <a:noFill/>
          <a:ln w="15875" cap="flat" algn="ctr">
            <a:noFill/>
            <a:round/>
            <a:headEnd type="none" w="med" len="med"/>
            <a:tailEnd type="none" w="med" len="med"/>
          </a:ln>
          <a:effectLst>
            <a:outerShdw blurRad="254000" dist="101600" dir="8400000" sx="98000" sy="98000" rotWithShape="0">
              <a:prstClr val="black">
                <a:alpha val="40000"/>
              </a:prstClr>
            </a:outerShdw>
          </a:effectLst>
        </p:spPr>
        <p:txBody>
          <a:bodyPr vert="horz" wrap="square" lIns="91430" tIns="91440" rIns="91430" bIns="45716" numCol="1" anchor="t" anchorCtr="0" compatLnSpc="1">
            <a:prstTxWarp prst="textNoShape">
              <a:avLst/>
            </a:prstTxWarp>
          </a:bodyPr>
          <a:lstStyle>
            <a:lvl1pPr marL="157424" indent="-157424" algn="l" rtl="0" eaLnBrk="1" fontAlgn="base" hangingPunct="1">
              <a:lnSpc>
                <a:spcPct val="100000"/>
              </a:lnSpc>
              <a:spcBef>
                <a:spcPct val="0"/>
              </a:spcBef>
              <a:spcAft>
                <a:spcPts val="1200"/>
              </a:spcAft>
              <a:buClr>
                <a:srgbClr val="EE3134"/>
              </a:buClr>
              <a:buSzPts val="2000"/>
              <a:buFont typeface=""/>
              <a:buChar char="•"/>
              <a:defRPr lang="en-US" sz="2400" b="0" kern="1200" dirty="0" smtClean="0">
                <a:solidFill>
                  <a:schemeClr val="accent5"/>
                </a:solidFill>
                <a:latin typeface="Arial"/>
                <a:ea typeface="ＭＳ Ｐゴシック" pitchFamily="100" charset="-128"/>
                <a:cs typeface="+mn-cs"/>
              </a:defRPr>
            </a:lvl1pPr>
            <a:lvl2pPr marL="342891" indent="-171446" algn="l" rtl="0" eaLnBrk="1" fontAlgn="base" hangingPunct="1">
              <a:lnSpc>
                <a:spcPct val="100000"/>
              </a:lnSpc>
              <a:spcBef>
                <a:spcPct val="0"/>
              </a:spcBef>
              <a:spcAft>
                <a:spcPts val="1200"/>
              </a:spcAft>
              <a:buClr>
                <a:schemeClr val="accent5"/>
              </a:buClr>
              <a:buSzPct val="100000"/>
              <a:buFont typeface="Arial"/>
              <a:buChar char="•"/>
              <a:defRPr lang="en-US" sz="2000" b="0" kern="1200" dirty="0" smtClean="0">
                <a:solidFill>
                  <a:schemeClr val="accent5"/>
                </a:solidFill>
                <a:latin typeface="Arial"/>
                <a:ea typeface="ＭＳ Ｐゴシック" pitchFamily="100" charset="-128"/>
                <a:cs typeface="+mn-cs"/>
              </a:defRPr>
            </a:lvl2pPr>
            <a:lvl3pPr marL="634984" indent="-190495" algn="l" rtl="0" eaLnBrk="1" fontAlgn="base" hangingPunct="1">
              <a:lnSpc>
                <a:spcPct val="100000"/>
              </a:lnSpc>
              <a:spcBef>
                <a:spcPct val="0"/>
              </a:spcBef>
              <a:spcAft>
                <a:spcPts val="1200"/>
              </a:spcAft>
              <a:buClr>
                <a:schemeClr val="accent5"/>
              </a:buClr>
              <a:buSzPct val="100000"/>
              <a:buFont typeface="Arial"/>
              <a:buChar char="•"/>
              <a:defRPr lang="en-US" sz="1800" b="0" kern="1200" dirty="0" smtClean="0">
                <a:solidFill>
                  <a:schemeClr val="accent5"/>
                </a:solidFill>
                <a:latin typeface="Arial"/>
                <a:ea typeface="ＭＳ Ｐゴシック" pitchFamily="100" charset="-128"/>
                <a:cs typeface="+mn-cs"/>
              </a:defRPr>
            </a:lvl3pPr>
          </a:lstStyle>
          <a:p>
            <a:pPr lvl="0"/>
            <a:r>
              <a:rPr lang="en-US"/>
              <a:t>First level: Arial 24pt</a:t>
            </a:r>
          </a:p>
          <a:p>
            <a:pPr lvl="1"/>
            <a:r>
              <a:rPr lang="en-US"/>
              <a:t>Second level: Arial 20pt</a:t>
            </a:r>
          </a:p>
          <a:p>
            <a:pPr lvl="2"/>
            <a:r>
              <a:rPr lang="en-US"/>
              <a:t>Third level: Arial 18pt</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114188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ntent">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bwMode="auto">
          <a:xfrm>
            <a:off x="0" y="4"/>
            <a:ext cx="12192000" cy="6297613"/>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lang="en-US" sz="1800">
              <a:latin typeface="Arial" pitchFamily="124" charset="0"/>
            </a:endParaRPr>
          </a:p>
        </p:txBody>
      </p:sp>
      <p:sp>
        <p:nvSpPr>
          <p:cNvPr id="3" name="Content Placeholder 2"/>
          <p:cNvSpPr>
            <a:spLocks noGrp="1"/>
          </p:cNvSpPr>
          <p:nvPr>
            <p:ph sz="half" idx="1" hasCustomPrompt="1"/>
          </p:nvPr>
        </p:nvSpPr>
        <p:spPr>
          <a:xfrm>
            <a:off x="341198" y="905775"/>
            <a:ext cx="5526617" cy="4825100"/>
          </a:xfrm>
        </p:spPr>
        <p:txBody>
          <a:bodyPr/>
          <a:lstStyle>
            <a:lvl1pPr marL="0" indent="-188909" algn="l">
              <a:lnSpc>
                <a:spcPct val="100000"/>
              </a:lnSpc>
              <a:spcBef>
                <a:spcPct val="0"/>
              </a:spcBef>
              <a:spcAft>
                <a:spcPts val="1200"/>
              </a:spcAft>
              <a:buClr>
                <a:srgbClr val="EE3134"/>
              </a:buClr>
              <a:buSzPct val="100000"/>
              <a:buFont typeface=""/>
              <a:buChar char="•"/>
              <a:defRPr sz="2000" b="0" baseline="0">
                <a:solidFill>
                  <a:schemeClr val="tx1"/>
                </a:solidFill>
                <a:latin typeface="Arial"/>
              </a:defRPr>
            </a:lvl1pPr>
            <a:lvl2pPr marL="403215" indent="-171446" algn="l">
              <a:lnSpc>
                <a:spcPct val="100000"/>
              </a:lnSpc>
              <a:spcBef>
                <a:spcPct val="0"/>
              </a:spcBef>
              <a:spcAft>
                <a:spcPts val="1200"/>
              </a:spcAft>
              <a:buClr>
                <a:schemeClr val="accent5"/>
              </a:buClr>
              <a:buSzPct val="100000"/>
              <a:buFont typeface="Arial"/>
              <a:buChar char="•"/>
              <a:defRPr sz="1800">
                <a:solidFill>
                  <a:schemeClr val="tx1"/>
                </a:solidFill>
                <a:latin typeface="Arial"/>
              </a:defRPr>
            </a:lvl2pPr>
            <a:lvl3pPr marL="457189" indent="169858" algn="l">
              <a:lnSpc>
                <a:spcPct val="100000"/>
              </a:lnSpc>
              <a:spcBef>
                <a:spcPct val="0"/>
              </a:spcBef>
              <a:spcAft>
                <a:spcPts val="1200"/>
              </a:spcAft>
              <a:buClr>
                <a:schemeClr val="accent5"/>
              </a:buClr>
              <a:buSzPct val="100000"/>
              <a:buFont typeface="Arial"/>
              <a:buChar char="•"/>
              <a:defRPr sz="1600">
                <a:solidFill>
                  <a:schemeClr val="tx1"/>
                </a:solidFill>
                <a:latin typeface="Arial"/>
              </a:defRPr>
            </a:lvl3pPr>
            <a:lvl4pPr>
              <a:defRPr sz="1800"/>
            </a:lvl4pPr>
            <a:lvl5pPr>
              <a:defRPr sz="1800"/>
            </a:lvl5pPr>
            <a:lvl6pPr>
              <a:defRPr sz="1800"/>
            </a:lvl6pPr>
            <a:lvl7pPr>
              <a:defRPr sz="1800"/>
            </a:lvl7pPr>
            <a:lvl8pPr>
              <a:defRPr sz="1800"/>
            </a:lvl8pPr>
            <a:lvl9pPr>
              <a:defRPr sz="1800"/>
            </a:lvl9pPr>
          </a:lstStyle>
          <a:p>
            <a:pPr lvl="0"/>
            <a:r>
              <a:rPr lang="en-US"/>
              <a:t>First level: Arial 18pt</a:t>
            </a:r>
          </a:p>
          <a:p>
            <a:pPr lvl="1"/>
            <a:r>
              <a:rPr lang="en-US"/>
              <a:t>Second level: Arial 16pt</a:t>
            </a:r>
          </a:p>
          <a:p>
            <a:pPr lvl="2"/>
            <a:r>
              <a:rPr lang="en-US"/>
              <a:t>Third level: Arial 14pt</a:t>
            </a:r>
          </a:p>
        </p:txBody>
      </p:sp>
      <p:sp>
        <p:nvSpPr>
          <p:cNvPr id="5" name="Content Placeholder 2"/>
          <p:cNvSpPr>
            <a:spLocks noGrp="1"/>
          </p:cNvSpPr>
          <p:nvPr>
            <p:ph sz="half" idx="10" hasCustomPrompt="1"/>
          </p:nvPr>
        </p:nvSpPr>
        <p:spPr>
          <a:xfrm>
            <a:off x="6351488" y="905775"/>
            <a:ext cx="5526617" cy="4825100"/>
          </a:xfrm>
        </p:spPr>
        <p:txBody>
          <a:bodyPr/>
          <a:lstStyle>
            <a:lvl1pPr marL="0" indent="-188909" algn="l">
              <a:lnSpc>
                <a:spcPct val="100000"/>
              </a:lnSpc>
              <a:spcBef>
                <a:spcPct val="0"/>
              </a:spcBef>
              <a:spcAft>
                <a:spcPts val="1200"/>
              </a:spcAft>
              <a:buClr>
                <a:srgbClr val="EE3134"/>
              </a:buClr>
              <a:buSzPct val="100000"/>
              <a:buFont typeface=""/>
              <a:buChar char="•"/>
              <a:defRPr sz="2000" b="0" baseline="0">
                <a:solidFill>
                  <a:schemeClr val="tx1"/>
                </a:solidFill>
                <a:latin typeface="Arial"/>
              </a:defRPr>
            </a:lvl1pPr>
            <a:lvl2pPr marL="403215" indent="-171446" algn="l">
              <a:lnSpc>
                <a:spcPct val="100000"/>
              </a:lnSpc>
              <a:spcBef>
                <a:spcPct val="0"/>
              </a:spcBef>
              <a:spcAft>
                <a:spcPts val="1200"/>
              </a:spcAft>
              <a:buClr>
                <a:schemeClr val="accent5"/>
              </a:buClr>
              <a:buSzPct val="100000"/>
              <a:buFont typeface="Arial"/>
              <a:buChar char="•"/>
              <a:defRPr sz="1800">
                <a:solidFill>
                  <a:schemeClr val="tx1"/>
                </a:solidFill>
                <a:latin typeface="Arial"/>
              </a:defRPr>
            </a:lvl2pPr>
            <a:lvl3pPr marL="457189" indent="169858" algn="l">
              <a:lnSpc>
                <a:spcPct val="100000"/>
              </a:lnSpc>
              <a:spcBef>
                <a:spcPct val="0"/>
              </a:spcBef>
              <a:spcAft>
                <a:spcPts val="1200"/>
              </a:spcAft>
              <a:buClr>
                <a:schemeClr val="accent5"/>
              </a:buClr>
              <a:buSzPct val="100000"/>
              <a:buFont typeface="Arial"/>
              <a:buChar char="•"/>
              <a:defRPr sz="1600">
                <a:solidFill>
                  <a:schemeClr val="tx1"/>
                </a:solidFill>
                <a:latin typeface="Arial"/>
              </a:defRPr>
            </a:lvl3pPr>
            <a:lvl4pPr>
              <a:defRPr sz="1800"/>
            </a:lvl4pPr>
            <a:lvl5pPr>
              <a:defRPr sz="1800"/>
            </a:lvl5pPr>
            <a:lvl6pPr>
              <a:defRPr sz="1800"/>
            </a:lvl6pPr>
            <a:lvl7pPr>
              <a:defRPr sz="1800"/>
            </a:lvl7pPr>
            <a:lvl8pPr>
              <a:defRPr sz="1800"/>
            </a:lvl8pPr>
            <a:lvl9pPr>
              <a:defRPr sz="1800"/>
            </a:lvl9pPr>
          </a:lstStyle>
          <a:p>
            <a:pPr lvl="0"/>
            <a:r>
              <a:rPr lang="en-US"/>
              <a:t>First level: Arial 18pt</a:t>
            </a:r>
          </a:p>
          <a:p>
            <a:pPr lvl="1"/>
            <a:r>
              <a:rPr lang="en-US"/>
              <a:t>Second level: Arial 16pt</a:t>
            </a:r>
          </a:p>
          <a:p>
            <a:pPr lvl="2"/>
            <a:r>
              <a:rPr lang="en-US"/>
              <a:t>Third level: Arial 14pt</a:t>
            </a:r>
          </a:p>
        </p:txBody>
      </p:sp>
      <p:sp>
        <p:nvSpPr>
          <p:cNvPr id="2" name="Title 1"/>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216632940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1_Two Content boxes">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6366935" y="533404"/>
            <a:ext cx="5526616" cy="5764213"/>
          </a:xfrm>
          <a:prstGeom prst="rect">
            <a:avLst/>
          </a:prstGeom>
          <a:noFill/>
          <a:ln w="15875" cap="flat" algn="ctr">
            <a:noFill/>
            <a:round/>
            <a:headEnd type="none" w="med" len="med"/>
            <a:tailEnd type="none" w="med" len="med"/>
          </a:ln>
          <a:effectLst>
            <a:outerShdw blurRad="254000" dist="101600" dir="8400000" sx="98000" sy="98000" rotWithShape="0">
              <a:prstClr val="black">
                <a:alpha val="40000"/>
              </a:prstClr>
            </a:outerShdw>
          </a:effectLst>
        </p:spPr>
        <p:txBody>
          <a:bodyPr vert="horz" wrap="square" lIns="91430" tIns="274320" rIns="91430" bIns="45716" numCol="1" anchor="t" anchorCtr="0" compatLnSpc="1">
            <a:prstTxWarp prst="textNoShape">
              <a:avLst/>
            </a:prstTxWarp>
          </a:bodyPr>
          <a:lstStyle>
            <a:lvl1pPr>
              <a:spcAft>
                <a:spcPts val="1200"/>
              </a:spcAft>
              <a:defRPr lang="en-US" kern="1200" dirty="0" smtClean="0">
                <a:solidFill>
                  <a:schemeClr val="tx1"/>
                </a:solidFill>
                <a:latin typeface="Arial"/>
                <a:ea typeface="ＭＳ Ｐゴシック" pitchFamily="100" charset="-128"/>
                <a:cs typeface="+mn-cs"/>
              </a:defRPr>
            </a:lvl1pPr>
            <a:lvl2pPr>
              <a:spcAft>
                <a:spcPts val="1200"/>
              </a:spcAft>
              <a:defRPr lang="en-US" b="0" kern="1200" dirty="0" smtClean="0">
                <a:solidFill>
                  <a:schemeClr val="tx1"/>
                </a:solidFill>
                <a:latin typeface="Arial"/>
                <a:ea typeface="ＭＳ Ｐゴシック" pitchFamily="100" charset="-128"/>
                <a:cs typeface="+mn-cs"/>
              </a:defRPr>
            </a:lvl2pPr>
            <a:lvl3pPr>
              <a:spcAft>
                <a:spcPts val="1200"/>
              </a:spcAft>
              <a:defRPr lang="en-US" b="0" kern="1200" dirty="0" smtClean="0">
                <a:solidFill>
                  <a:schemeClr val="tx1"/>
                </a:solidFill>
                <a:latin typeface="Arial"/>
                <a:ea typeface="ＭＳ Ｐゴシック" pitchFamily="100" charset="-128"/>
                <a:cs typeface="+mn-cs"/>
              </a:defRPr>
            </a:lvl3pPr>
          </a:lstStyle>
          <a:p>
            <a:pPr marL="157424" lvl="0" indent="-157424">
              <a:lnSpc>
                <a:spcPct val="100000"/>
              </a:lnSpc>
              <a:buClr>
                <a:srgbClr val="EE3134"/>
              </a:buClr>
              <a:buSzPts val="2000"/>
              <a:buFont typeface=""/>
            </a:pPr>
            <a:r>
              <a:rPr lang="en-US"/>
              <a:t>First level: Arial 20pt</a:t>
            </a:r>
          </a:p>
          <a:p>
            <a:pPr lvl="1">
              <a:lnSpc>
                <a:spcPct val="100000"/>
              </a:lnSpc>
              <a:buClr>
                <a:schemeClr val="accent5"/>
              </a:buClr>
              <a:buSzPct val="100000"/>
              <a:buFont typeface="Arial"/>
            </a:pPr>
            <a:r>
              <a:rPr lang="en-US"/>
              <a:t>Second level: Arial 18pt</a:t>
            </a:r>
          </a:p>
          <a:p>
            <a:pPr marL="634984" lvl="2" indent="-190495">
              <a:lnSpc>
                <a:spcPct val="100000"/>
              </a:lnSpc>
              <a:buClr>
                <a:schemeClr val="accent5"/>
              </a:buClr>
              <a:buSzPct val="100000"/>
              <a:buFont typeface="Arial"/>
            </a:pPr>
            <a:r>
              <a:rPr lang="en-US"/>
              <a:t>Third level: Arial 16pt</a:t>
            </a:r>
          </a:p>
        </p:txBody>
      </p:sp>
      <p:sp>
        <p:nvSpPr>
          <p:cNvPr id="3" name="Content Placeholder 2"/>
          <p:cNvSpPr>
            <a:spLocks noGrp="1"/>
          </p:cNvSpPr>
          <p:nvPr>
            <p:ph sz="half" idx="1" hasCustomPrompt="1"/>
          </p:nvPr>
        </p:nvSpPr>
        <p:spPr>
          <a:xfrm>
            <a:off x="3" y="533404"/>
            <a:ext cx="5839884" cy="5764213"/>
          </a:xfrm>
          <a:prstGeom prst="rect">
            <a:avLst/>
          </a:prstGeom>
          <a:solidFill>
            <a:schemeClr val="accent4">
              <a:lumMod val="75000"/>
            </a:schemeClr>
          </a:solidFill>
          <a:ln w="15875" cap="flat" algn="ctr">
            <a:noFill/>
            <a:round/>
            <a:headEnd type="none" w="med" len="med"/>
            <a:tailEnd type="none" w="med" len="med"/>
          </a:ln>
          <a:effectLst/>
        </p:spPr>
        <p:txBody>
          <a:bodyPr vert="horz" wrap="square" lIns="274320" tIns="274320" rIns="91430" bIns="45716" numCol="1" anchor="t" anchorCtr="0" compatLnSpc="1">
            <a:prstTxWarp prst="textNoShape">
              <a:avLst/>
            </a:prstTxWarp>
          </a:bodyPr>
          <a:lstStyle>
            <a:lvl1pPr marL="342891" indent="-342891">
              <a:spcAft>
                <a:spcPts val="1200"/>
              </a:spcAft>
              <a:buClr>
                <a:schemeClr val="bg1"/>
              </a:buClr>
              <a:buFont typeface="Arial" panose="020B0604020202020204" pitchFamily="34" charset="0"/>
              <a:buChar char="•"/>
              <a:defRPr lang="en-US" kern="1200" dirty="0" smtClean="0">
                <a:solidFill>
                  <a:schemeClr val="bg2">
                    <a:lumMod val="20000"/>
                    <a:lumOff val="80000"/>
                  </a:schemeClr>
                </a:solidFill>
                <a:latin typeface="Arial"/>
                <a:ea typeface="ＭＳ Ｐゴシック" pitchFamily="100" charset="-128"/>
                <a:cs typeface="+mn-cs"/>
              </a:defRPr>
            </a:lvl1pPr>
            <a:lvl2pPr marL="457189" indent="-285744">
              <a:spcAft>
                <a:spcPts val="1200"/>
              </a:spcAft>
              <a:buClr>
                <a:schemeClr val="bg1"/>
              </a:buClr>
              <a:buFont typeface="Arial" panose="020B0604020202020204" pitchFamily="34" charset="0"/>
              <a:buChar char="•"/>
              <a:defRPr lang="en-US" b="0" kern="1200" dirty="0" smtClean="0">
                <a:solidFill>
                  <a:schemeClr val="bg2">
                    <a:lumMod val="20000"/>
                    <a:lumOff val="80000"/>
                  </a:schemeClr>
                </a:solidFill>
                <a:latin typeface="Arial"/>
                <a:ea typeface="ＭＳ Ｐゴシック" pitchFamily="100" charset="-128"/>
                <a:cs typeface="+mn-cs"/>
              </a:defRPr>
            </a:lvl2pPr>
            <a:lvl3pPr marL="730232" indent="-285744">
              <a:spcAft>
                <a:spcPts val="1200"/>
              </a:spcAft>
              <a:buClr>
                <a:schemeClr val="bg1"/>
              </a:buClr>
              <a:buFont typeface="Arial" panose="020B0604020202020204" pitchFamily="34" charset="0"/>
              <a:buChar char="•"/>
              <a:defRPr lang="en-US" b="0" kern="1200" dirty="0" smtClean="0">
                <a:solidFill>
                  <a:schemeClr val="bg2">
                    <a:lumMod val="20000"/>
                    <a:lumOff val="80000"/>
                  </a:schemeClr>
                </a:solidFill>
                <a:latin typeface="Arial"/>
                <a:ea typeface="ＭＳ Ｐゴシック" pitchFamily="100" charset="-128"/>
                <a:cs typeface="+mn-cs"/>
              </a:defRPr>
            </a:lvl3pPr>
          </a:lstStyle>
          <a:p>
            <a:pPr marL="157424" lvl="0" indent="-157424">
              <a:lnSpc>
                <a:spcPct val="100000"/>
              </a:lnSpc>
              <a:buClr>
                <a:srgbClr val="EE3134"/>
              </a:buClr>
              <a:buSzPts val="2000"/>
              <a:buFont typeface=""/>
            </a:pPr>
            <a:r>
              <a:rPr lang="en-US"/>
              <a:t>First level: Arial 20pt</a:t>
            </a:r>
          </a:p>
          <a:p>
            <a:pPr lvl="1">
              <a:lnSpc>
                <a:spcPct val="100000"/>
              </a:lnSpc>
              <a:buClr>
                <a:schemeClr val="accent5"/>
              </a:buClr>
              <a:buSzPct val="100000"/>
              <a:buFont typeface="Arial"/>
            </a:pPr>
            <a:r>
              <a:rPr lang="en-US"/>
              <a:t>Second level: Arial 18pt</a:t>
            </a:r>
          </a:p>
          <a:p>
            <a:pPr marL="634984" lvl="2" indent="-190495">
              <a:lnSpc>
                <a:spcPct val="100000"/>
              </a:lnSpc>
              <a:buClr>
                <a:schemeClr val="accent5"/>
              </a:buClr>
              <a:buSzPct val="100000"/>
              <a:buFont typeface="Arial"/>
            </a:pPr>
            <a:r>
              <a:rPr lang="en-US"/>
              <a:t>Third level: Arial 16pt</a:t>
            </a:r>
          </a:p>
        </p:txBody>
      </p:sp>
      <p:sp>
        <p:nvSpPr>
          <p:cNvPr id="2" name="Title 1"/>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147563290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Four boxes with takeaway">
    <p:spTree>
      <p:nvGrpSpPr>
        <p:cNvPr id="1" name=""/>
        <p:cNvGrpSpPr/>
        <p:nvPr/>
      </p:nvGrpSpPr>
      <p:grpSpPr>
        <a:xfrm>
          <a:off x="0" y="0"/>
          <a:ext cx="0" cy="0"/>
          <a:chOff x="0" y="0"/>
          <a:chExt cx="0" cy="0"/>
        </a:xfrm>
      </p:grpSpPr>
      <p:sp>
        <p:nvSpPr>
          <p:cNvPr id="5" name="Content Placeholder 2"/>
          <p:cNvSpPr>
            <a:spLocks noGrp="1"/>
          </p:cNvSpPr>
          <p:nvPr>
            <p:ph sz="half" idx="10" hasCustomPrompt="1"/>
          </p:nvPr>
        </p:nvSpPr>
        <p:spPr>
          <a:xfrm>
            <a:off x="0" y="3429004"/>
            <a:ext cx="6096000" cy="2895601"/>
          </a:xfrm>
          <a:prstGeom prst="rect">
            <a:avLst/>
          </a:prstGeom>
          <a:noFill/>
          <a:ln w="38100" cap="flat" algn="ctr">
            <a:noFill/>
            <a:round/>
            <a:headEnd type="none" w="med" len="med"/>
            <a:tailEnd type="none" w="med" len="med"/>
          </a:ln>
          <a:effectLst/>
        </p:spPr>
        <p:txBody>
          <a:bodyPr vert="horz" wrap="square" lIns="274320" tIns="91440" rIns="91430" bIns="91440" numCol="1" anchor="t" anchorCtr="0" compatLnSpc="1">
            <a:prstTxWarp prst="textNoShape">
              <a:avLst/>
            </a:prstTxWarp>
          </a:bodyPr>
          <a:lstStyle>
            <a:lvl1pPr marL="157424" indent="-157424" algn="l" rtl="0" eaLnBrk="1" fontAlgn="base" hangingPunct="1">
              <a:lnSpc>
                <a:spcPct val="100000"/>
              </a:lnSpc>
              <a:spcBef>
                <a:spcPct val="0"/>
              </a:spcBef>
              <a:spcAft>
                <a:spcPts val="600"/>
              </a:spcAft>
              <a:buClr>
                <a:srgbClr val="EE3134"/>
              </a:buClr>
              <a:buSzPts val="2000"/>
              <a:buFont typeface=""/>
              <a:buChar char="•"/>
              <a:defRPr lang="en-US" sz="2000" b="1" kern="1200" dirty="0" smtClean="0">
                <a:solidFill>
                  <a:schemeClr val="accent5"/>
                </a:solidFill>
                <a:latin typeface="Arial"/>
                <a:ea typeface="ＭＳ Ｐゴシック" pitchFamily="100" charset="-128"/>
                <a:cs typeface="+mn-cs"/>
              </a:defRPr>
            </a:lvl1pPr>
            <a:lvl2pPr marL="308603" indent="-154301" algn="l" rtl="0" eaLnBrk="1" fontAlgn="base" hangingPunct="1">
              <a:lnSpc>
                <a:spcPct val="100000"/>
              </a:lnSpc>
              <a:spcBef>
                <a:spcPct val="0"/>
              </a:spcBef>
              <a:spcAft>
                <a:spcPts val="600"/>
              </a:spcAft>
              <a:buClr>
                <a:srgbClr val="3E6181"/>
              </a:buClr>
              <a:buSzPts val="2000"/>
              <a:buFont typeface="Arial"/>
              <a:buChar char="•"/>
              <a:defRPr lang="en-US" sz="1800" b="0" kern="1200" dirty="0" smtClean="0">
                <a:solidFill>
                  <a:schemeClr val="accent5"/>
                </a:solidFill>
                <a:latin typeface="Arial"/>
                <a:ea typeface="ＭＳ Ｐゴシック" pitchFamily="100" charset="-128"/>
                <a:cs typeface="+mn-cs"/>
              </a:defRPr>
            </a:lvl2pPr>
            <a:lvl3pPr marL="507987" indent="-152396" algn="l" rtl="0" eaLnBrk="1" fontAlgn="base" hangingPunct="1">
              <a:lnSpc>
                <a:spcPct val="100000"/>
              </a:lnSpc>
              <a:spcBef>
                <a:spcPct val="0"/>
              </a:spcBef>
              <a:spcAft>
                <a:spcPts val="600"/>
              </a:spcAft>
              <a:buClr>
                <a:srgbClr val="3E6181"/>
              </a:buClr>
              <a:buSzPts val="2000"/>
              <a:buFont typeface="Arial"/>
              <a:buChar char="•"/>
              <a:defRPr lang="en-US" sz="1600" b="0" kern="1200" dirty="0" smtClean="0">
                <a:solidFill>
                  <a:schemeClr val="accent5"/>
                </a:solidFill>
                <a:latin typeface="Arial"/>
                <a:ea typeface="ＭＳ Ｐゴシック" pitchFamily="100" charset="-128"/>
                <a:cs typeface="+mn-cs"/>
              </a:defRPr>
            </a:lvl3pPr>
            <a:lvl4pPr>
              <a:defRPr sz="1800"/>
            </a:lvl4pPr>
            <a:lvl5pPr>
              <a:defRPr sz="1800"/>
            </a:lvl5pPr>
            <a:lvl6pPr>
              <a:defRPr sz="1800"/>
            </a:lvl6pPr>
            <a:lvl7pPr>
              <a:defRPr sz="1800"/>
            </a:lvl7pPr>
            <a:lvl8pPr>
              <a:defRPr sz="1800"/>
            </a:lvl8pPr>
            <a:lvl9pPr>
              <a:defRPr sz="1800"/>
            </a:lvl9pPr>
          </a:lstStyle>
          <a:p>
            <a:pPr lvl="0"/>
            <a:r>
              <a:rPr lang="en-US"/>
              <a:t>First level: Arial 20pt</a:t>
            </a:r>
          </a:p>
          <a:p>
            <a:pPr marL="308603" lvl="1" indent="-154301" algn="l" defTabSz="342891" rtl="0" eaLnBrk="1" fontAlgn="base" hangingPunct="1">
              <a:lnSpc>
                <a:spcPct val="100000"/>
              </a:lnSpc>
              <a:spcBef>
                <a:spcPct val="0"/>
              </a:spcBef>
              <a:spcAft>
                <a:spcPts val="600"/>
              </a:spcAft>
              <a:buClr>
                <a:schemeClr val="accent5"/>
              </a:buClr>
              <a:buSzPct val="100000"/>
              <a:buFont typeface="Arial"/>
              <a:buChar char="•"/>
            </a:pPr>
            <a:r>
              <a:rPr lang="en-US"/>
              <a:t>Second level: Arial 18pt</a:t>
            </a:r>
          </a:p>
          <a:p>
            <a:pPr marL="507987" lvl="2" indent="-152396" algn="l" defTabSz="571486" rtl="0" eaLnBrk="1" fontAlgn="base" hangingPunct="1">
              <a:lnSpc>
                <a:spcPct val="100000"/>
              </a:lnSpc>
              <a:spcBef>
                <a:spcPct val="0"/>
              </a:spcBef>
              <a:spcAft>
                <a:spcPts val="600"/>
              </a:spcAft>
              <a:buClr>
                <a:schemeClr val="accent5"/>
              </a:buClr>
              <a:buSzPct val="100000"/>
              <a:buFont typeface="Arial"/>
              <a:buChar char="•"/>
            </a:pPr>
            <a:r>
              <a:rPr lang="en-US"/>
              <a:t>Third level: Arial 16pt</a:t>
            </a:r>
          </a:p>
        </p:txBody>
      </p:sp>
      <p:sp>
        <p:nvSpPr>
          <p:cNvPr id="9" name="Content Placeholder 2"/>
          <p:cNvSpPr>
            <a:spLocks noGrp="1"/>
          </p:cNvSpPr>
          <p:nvPr>
            <p:ph sz="half" idx="13" hasCustomPrompt="1"/>
          </p:nvPr>
        </p:nvSpPr>
        <p:spPr>
          <a:xfrm>
            <a:off x="6096000" y="533401"/>
            <a:ext cx="6096000" cy="2895600"/>
          </a:xfrm>
          <a:prstGeom prst="rect">
            <a:avLst/>
          </a:prstGeom>
          <a:noFill/>
          <a:ln w="38100" cap="flat" algn="ctr">
            <a:noFill/>
            <a:round/>
            <a:headEnd type="none" w="med" len="med"/>
            <a:tailEnd type="none" w="med" len="med"/>
          </a:ln>
          <a:effectLst/>
        </p:spPr>
        <p:txBody>
          <a:bodyPr vert="horz" wrap="square" lIns="274320" tIns="91440" rIns="91430" bIns="91440" numCol="1" anchor="t" anchorCtr="0" compatLnSpc="1">
            <a:prstTxWarp prst="textNoShape">
              <a:avLst/>
            </a:prstTxWarp>
          </a:bodyPr>
          <a:lstStyle>
            <a:lvl1pPr marL="157424" indent="-157424" algn="l" rtl="0" eaLnBrk="1" fontAlgn="base" hangingPunct="1">
              <a:lnSpc>
                <a:spcPct val="100000"/>
              </a:lnSpc>
              <a:spcBef>
                <a:spcPct val="0"/>
              </a:spcBef>
              <a:spcAft>
                <a:spcPts val="600"/>
              </a:spcAft>
              <a:buClr>
                <a:srgbClr val="EE3134"/>
              </a:buClr>
              <a:buSzPts val="2000"/>
              <a:buFont typeface=""/>
              <a:buChar char="•"/>
              <a:defRPr lang="en-US" sz="2000" b="1" kern="1200" dirty="0" smtClean="0">
                <a:solidFill>
                  <a:schemeClr val="accent5"/>
                </a:solidFill>
                <a:latin typeface="Arial"/>
                <a:ea typeface="ＭＳ Ｐゴシック" pitchFamily="100" charset="-128"/>
                <a:cs typeface="+mn-cs"/>
              </a:defRPr>
            </a:lvl1pPr>
            <a:lvl2pPr marL="308603" indent="-154301" algn="l" rtl="0" eaLnBrk="1" fontAlgn="base" hangingPunct="1">
              <a:lnSpc>
                <a:spcPct val="100000"/>
              </a:lnSpc>
              <a:spcBef>
                <a:spcPct val="0"/>
              </a:spcBef>
              <a:spcAft>
                <a:spcPts val="600"/>
              </a:spcAft>
              <a:buClr>
                <a:srgbClr val="3E6181"/>
              </a:buClr>
              <a:buSzPts val="2000"/>
              <a:buFont typeface="Arial"/>
              <a:buChar char="•"/>
              <a:defRPr lang="en-US" sz="1800" b="0" kern="1200" dirty="0" smtClean="0">
                <a:solidFill>
                  <a:schemeClr val="accent5"/>
                </a:solidFill>
                <a:latin typeface="Arial"/>
                <a:ea typeface="ＭＳ Ｐゴシック" pitchFamily="100" charset="-128"/>
                <a:cs typeface="+mn-cs"/>
              </a:defRPr>
            </a:lvl2pPr>
            <a:lvl3pPr marL="507987" indent="-152396" algn="l" rtl="0" eaLnBrk="1" fontAlgn="base" hangingPunct="1">
              <a:lnSpc>
                <a:spcPct val="100000"/>
              </a:lnSpc>
              <a:spcBef>
                <a:spcPct val="0"/>
              </a:spcBef>
              <a:spcAft>
                <a:spcPts val="600"/>
              </a:spcAft>
              <a:buClr>
                <a:srgbClr val="3E6181"/>
              </a:buClr>
              <a:buSzPts val="2000"/>
              <a:buFont typeface="Arial"/>
              <a:buChar char="•"/>
              <a:defRPr lang="en-US" sz="1600" b="0" kern="1200" dirty="0" smtClean="0">
                <a:solidFill>
                  <a:schemeClr val="accent5"/>
                </a:solidFill>
                <a:latin typeface="Arial"/>
                <a:ea typeface="ＭＳ Ｐゴシック" pitchFamily="100" charset="-128"/>
                <a:cs typeface="+mn-cs"/>
              </a:defRPr>
            </a:lvl3pPr>
            <a:lvl4pPr>
              <a:defRPr sz="1800"/>
            </a:lvl4pPr>
            <a:lvl5pPr>
              <a:defRPr sz="1800"/>
            </a:lvl5pPr>
            <a:lvl6pPr>
              <a:defRPr sz="1800"/>
            </a:lvl6pPr>
            <a:lvl7pPr>
              <a:defRPr sz="1800"/>
            </a:lvl7pPr>
            <a:lvl8pPr>
              <a:defRPr sz="1800"/>
            </a:lvl8pPr>
            <a:lvl9pPr>
              <a:defRPr sz="1800"/>
            </a:lvl9pPr>
          </a:lstStyle>
          <a:p>
            <a:pPr lvl="0"/>
            <a:r>
              <a:rPr lang="en-US"/>
              <a:t>First level: Arial 20pt</a:t>
            </a:r>
          </a:p>
          <a:p>
            <a:pPr marL="308603" lvl="1" indent="-154301" algn="l" defTabSz="342891" rtl="0" eaLnBrk="1" fontAlgn="base" hangingPunct="1">
              <a:lnSpc>
                <a:spcPct val="100000"/>
              </a:lnSpc>
              <a:spcBef>
                <a:spcPct val="0"/>
              </a:spcBef>
              <a:spcAft>
                <a:spcPts val="600"/>
              </a:spcAft>
              <a:buClr>
                <a:schemeClr val="accent5"/>
              </a:buClr>
              <a:buSzPct val="100000"/>
              <a:buFont typeface="Arial"/>
              <a:buChar char="•"/>
            </a:pPr>
            <a:r>
              <a:rPr lang="en-US"/>
              <a:t>Second level: Arial 18pt</a:t>
            </a:r>
          </a:p>
          <a:p>
            <a:pPr marL="507987" lvl="2" indent="-152396" algn="l" defTabSz="571486" rtl="0" eaLnBrk="1" fontAlgn="base" hangingPunct="1">
              <a:lnSpc>
                <a:spcPct val="100000"/>
              </a:lnSpc>
              <a:spcBef>
                <a:spcPct val="0"/>
              </a:spcBef>
              <a:spcAft>
                <a:spcPts val="600"/>
              </a:spcAft>
              <a:buClr>
                <a:schemeClr val="accent5"/>
              </a:buClr>
              <a:buSzPct val="100000"/>
              <a:buFont typeface="Arial"/>
              <a:buChar char="•"/>
            </a:pPr>
            <a:r>
              <a:rPr lang="en-US"/>
              <a:t>Third level: Arial 16pt</a:t>
            </a:r>
          </a:p>
        </p:txBody>
      </p:sp>
      <p:sp>
        <p:nvSpPr>
          <p:cNvPr id="3" name="Content Placeholder 2"/>
          <p:cNvSpPr>
            <a:spLocks noGrp="1"/>
          </p:cNvSpPr>
          <p:nvPr>
            <p:ph sz="half" idx="1" hasCustomPrompt="1"/>
          </p:nvPr>
        </p:nvSpPr>
        <p:spPr>
          <a:xfrm>
            <a:off x="0" y="533400"/>
            <a:ext cx="6096000" cy="2895600"/>
          </a:xfrm>
          <a:prstGeom prst="rect">
            <a:avLst/>
          </a:prstGeom>
          <a:solidFill>
            <a:schemeClr val="bg2">
              <a:lumMod val="75000"/>
            </a:schemeClr>
          </a:solidFill>
          <a:ln w="38100" cap="flat" algn="ctr">
            <a:noFill/>
            <a:round/>
            <a:headEnd type="none" w="med" len="med"/>
            <a:tailEnd type="none" w="med" len="med"/>
          </a:ln>
          <a:effectLst/>
        </p:spPr>
        <p:txBody>
          <a:bodyPr vert="horz" wrap="square" lIns="274320" tIns="91440" rIns="91430" bIns="91440" numCol="1" anchor="t" anchorCtr="0" compatLnSpc="1">
            <a:prstTxWarp prst="textNoShape">
              <a:avLst/>
            </a:prstTxWarp>
          </a:bodyPr>
          <a:lstStyle>
            <a:lvl1pPr marL="157424" indent="-157424" algn="l" rtl="0" eaLnBrk="1" fontAlgn="base" hangingPunct="1">
              <a:lnSpc>
                <a:spcPct val="100000"/>
              </a:lnSpc>
              <a:spcBef>
                <a:spcPct val="0"/>
              </a:spcBef>
              <a:spcAft>
                <a:spcPts val="600"/>
              </a:spcAft>
              <a:buClr>
                <a:schemeClr val="bg1"/>
              </a:buClr>
              <a:buSzPct val="100000"/>
              <a:buFont typeface=""/>
              <a:buChar char="•"/>
              <a:defRPr lang="en-US" sz="2000" b="1" kern="1200" smtClean="0">
                <a:solidFill>
                  <a:schemeClr val="bg1"/>
                </a:solidFill>
                <a:latin typeface="Arial"/>
                <a:ea typeface="ＭＳ Ｐゴシック" pitchFamily="100" charset="-128"/>
                <a:cs typeface="+mn-cs"/>
              </a:defRPr>
            </a:lvl1pPr>
            <a:lvl2pPr marL="308603" indent="-154301" algn="l" rtl="0" eaLnBrk="1" fontAlgn="base" hangingPunct="1">
              <a:lnSpc>
                <a:spcPct val="100000"/>
              </a:lnSpc>
              <a:spcBef>
                <a:spcPct val="0"/>
              </a:spcBef>
              <a:spcAft>
                <a:spcPts val="600"/>
              </a:spcAft>
              <a:buClr>
                <a:schemeClr val="bg1"/>
              </a:buClr>
              <a:buSzPct val="100000"/>
              <a:buFont typeface="Arial"/>
              <a:buChar char="•"/>
              <a:defRPr lang="en-US" sz="1800" b="0" kern="1200" smtClean="0">
                <a:solidFill>
                  <a:schemeClr val="bg1"/>
                </a:solidFill>
                <a:latin typeface="Arial"/>
                <a:ea typeface="ＭＳ Ｐゴシック" pitchFamily="100" charset="-128"/>
                <a:cs typeface="+mn-cs"/>
              </a:defRPr>
            </a:lvl2pPr>
            <a:lvl3pPr marL="507987" indent="-152396" algn="l" rtl="0" eaLnBrk="1" fontAlgn="base" hangingPunct="1">
              <a:lnSpc>
                <a:spcPct val="100000"/>
              </a:lnSpc>
              <a:spcBef>
                <a:spcPct val="0"/>
              </a:spcBef>
              <a:spcAft>
                <a:spcPts val="600"/>
              </a:spcAft>
              <a:buClr>
                <a:schemeClr val="bg1"/>
              </a:buClr>
              <a:buSzPct val="100000"/>
              <a:buFont typeface="Arial"/>
              <a:buChar char="•"/>
              <a:defRPr lang="en-US" sz="1600" b="0" kern="1200" smtClean="0">
                <a:solidFill>
                  <a:schemeClr val="bg1"/>
                </a:solidFill>
                <a:latin typeface="Arial"/>
                <a:ea typeface="ＭＳ Ｐゴシック" pitchFamily="100" charset="-128"/>
                <a:cs typeface="+mn-cs"/>
              </a:defRPr>
            </a:lvl3pPr>
            <a:lvl4pPr>
              <a:defRPr sz="1800"/>
            </a:lvl4pPr>
            <a:lvl5pPr>
              <a:defRPr sz="1800"/>
            </a:lvl5pPr>
            <a:lvl6pPr>
              <a:defRPr sz="1800"/>
            </a:lvl6pPr>
            <a:lvl7pPr>
              <a:defRPr sz="1800"/>
            </a:lvl7pPr>
            <a:lvl8pPr>
              <a:defRPr sz="1800"/>
            </a:lvl8pPr>
            <a:lvl9pPr>
              <a:defRPr sz="1800"/>
            </a:lvl9pPr>
          </a:lstStyle>
          <a:p>
            <a:pPr lvl="0"/>
            <a:r>
              <a:rPr lang="en-US"/>
              <a:t>First level: Arial 20pt</a:t>
            </a:r>
          </a:p>
          <a:p>
            <a:pPr lvl="1"/>
            <a:r>
              <a:rPr lang="en-US"/>
              <a:t>Second level: Arial 18pt</a:t>
            </a:r>
          </a:p>
          <a:p>
            <a:pPr lvl="2"/>
            <a:r>
              <a:rPr lang="en-US"/>
              <a:t>Third level: Arial 16pt2</a:t>
            </a:r>
          </a:p>
        </p:txBody>
      </p:sp>
      <p:sp>
        <p:nvSpPr>
          <p:cNvPr id="10" name="Content Placeholder 2"/>
          <p:cNvSpPr>
            <a:spLocks noGrp="1"/>
          </p:cNvSpPr>
          <p:nvPr>
            <p:ph sz="half" idx="14" hasCustomPrompt="1"/>
          </p:nvPr>
        </p:nvSpPr>
        <p:spPr>
          <a:xfrm>
            <a:off x="6111240" y="3436624"/>
            <a:ext cx="6080760" cy="2860041"/>
          </a:xfrm>
          <a:prstGeom prst="rect">
            <a:avLst/>
          </a:prstGeom>
          <a:solidFill>
            <a:schemeClr val="bg2">
              <a:lumMod val="75000"/>
            </a:schemeClr>
          </a:solidFill>
          <a:ln w="38100" cap="flat" algn="ctr">
            <a:noFill/>
            <a:round/>
            <a:headEnd type="none" w="med" len="med"/>
            <a:tailEnd type="none" w="med" len="med"/>
          </a:ln>
          <a:effectLst/>
        </p:spPr>
        <p:txBody>
          <a:bodyPr vert="horz" wrap="square" lIns="274320" tIns="91440" rIns="91430" bIns="91440" numCol="1" anchor="t" anchorCtr="0" compatLnSpc="1">
            <a:prstTxWarp prst="textNoShape">
              <a:avLst/>
            </a:prstTxWarp>
          </a:bodyPr>
          <a:lstStyle>
            <a:lvl1pPr marL="157424" indent="-157424" algn="l" rtl="0" eaLnBrk="1" fontAlgn="base" hangingPunct="1">
              <a:lnSpc>
                <a:spcPct val="100000"/>
              </a:lnSpc>
              <a:spcBef>
                <a:spcPct val="0"/>
              </a:spcBef>
              <a:spcAft>
                <a:spcPts val="600"/>
              </a:spcAft>
              <a:buClr>
                <a:schemeClr val="bg1"/>
              </a:buClr>
              <a:buSzPts val="2000"/>
              <a:buFont typeface=""/>
              <a:buChar char="•"/>
              <a:defRPr lang="en-US" sz="2000" b="1" kern="1200" dirty="0" smtClean="0">
                <a:solidFill>
                  <a:schemeClr val="bg1"/>
                </a:solidFill>
                <a:latin typeface="Arial"/>
                <a:ea typeface="ＭＳ Ｐゴシック" pitchFamily="100" charset="-128"/>
                <a:cs typeface="+mn-cs"/>
              </a:defRPr>
            </a:lvl1pPr>
            <a:lvl2pPr marL="308603" indent="-154301" algn="l" rtl="0" eaLnBrk="1" fontAlgn="base" hangingPunct="1">
              <a:lnSpc>
                <a:spcPct val="100000"/>
              </a:lnSpc>
              <a:spcBef>
                <a:spcPct val="0"/>
              </a:spcBef>
              <a:spcAft>
                <a:spcPts val="600"/>
              </a:spcAft>
              <a:buClr>
                <a:schemeClr val="bg1"/>
              </a:buClr>
              <a:buSzPts val="2000"/>
              <a:buFont typeface="Arial"/>
              <a:buChar char="•"/>
              <a:defRPr lang="en-US" sz="1800" b="0" kern="1200" dirty="0" smtClean="0">
                <a:solidFill>
                  <a:schemeClr val="bg1"/>
                </a:solidFill>
                <a:latin typeface="Arial"/>
                <a:ea typeface="ＭＳ Ｐゴシック" pitchFamily="100" charset="-128"/>
                <a:cs typeface="+mn-cs"/>
              </a:defRPr>
            </a:lvl2pPr>
            <a:lvl3pPr marL="507987" indent="-152396" algn="l" rtl="0" eaLnBrk="1" fontAlgn="base" hangingPunct="1">
              <a:lnSpc>
                <a:spcPct val="100000"/>
              </a:lnSpc>
              <a:spcBef>
                <a:spcPct val="0"/>
              </a:spcBef>
              <a:spcAft>
                <a:spcPts val="600"/>
              </a:spcAft>
              <a:buClr>
                <a:schemeClr val="bg1"/>
              </a:buClr>
              <a:buSzPts val="2000"/>
              <a:buFont typeface="Arial"/>
              <a:buChar char="•"/>
              <a:defRPr lang="en-US" sz="1600" b="0" kern="1200" dirty="0" smtClean="0">
                <a:solidFill>
                  <a:schemeClr val="bg1"/>
                </a:solidFill>
                <a:latin typeface="Arial"/>
                <a:ea typeface="ＭＳ Ｐゴシック" pitchFamily="100" charset="-128"/>
                <a:cs typeface="+mn-cs"/>
              </a:defRPr>
            </a:lvl3pPr>
            <a:lvl4pPr>
              <a:defRPr sz="1800"/>
            </a:lvl4pPr>
            <a:lvl5pPr>
              <a:defRPr sz="1800"/>
            </a:lvl5pPr>
            <a:lvl6pPr>
              <a:defRPr sz="1800"/>
            </a:lvl6pPr>
            <a:lvl7pPr>
              <a:defRPr sz="1800"/>
            </a:lvl7pPr>
            <a:lvl8pPr>
              <a:defRPr sz="1800"/>
            </a:lvl8pPr>
            <a:lvl9pPr>
              <a:defRPr sz="1800"/>
            </a:lvl9pPr>
          </a:lstStyle>
          <a:p>
            <a:pPr lvl="0"/>
            <a:r>
              <a:rPr lang="en-US"/>
              <a:t>First level: Arial 20pt</a:t>
            </a:r>
          </a:p>
          <a:p>
            <a:pPr marL="308603" lvl="1" indent="-154301" algn="l" defTabSz="342891" rtl="0" eaLnBrk="1" fontAlgn="base" hangingPunct="1">
              <a:lnSpc>
                <a:spcPct val="100000"/>
              </a:lnSpc>
              <a:spcBef>
                <a:spcPct val="0"/>
              </a:spcBef>
              <a:spcAft>
                <a:spcPts val="600"/>
              </a:spcAft>
              <a:buClr>
                <a:schemeClr val="accent5"/>
              </a:buClr>
              <a:buSzPct val="100000"/>
              <a:buFont typeface="Arial"/>
              <a:buChar char="•"/>
            </a:pPr>
            <a:r>
              <a:rPr lang="en-US"/>
              <a:t>Second level: Arial 18pt</a:t>
            </a:r>
          </a:p>
          <a:p>
            <a:pPr marL="507987" lvl="2" indent="-152396" algn="l" defTabSz="571486" rtl="0" eaLnBrk="1" fontAlgn="base" hangingPunct="1">
              <a:lnSpc>
                <a:spcPct val="100000"/>
              </a:lnSpc>
              <a:spcBef>
                <a:spcPct val="0"/>
              </a:spcBef>
              <a:spcAft>
                <a:spcPts val="600"/>
              </a:spcAft>
              <a:buClr>
                <a:schemeClr val="accent5"/>
              </a:buClr>
              <a:buSzPct val="100000"/>
              <a:buFont typeface="Arial"/>
              <a:buChar char="•"/>
            </a:pPr>
            <a:r>
              <a:rPr lang="en-US"/>
              <a:t>Third level: Arial 16pt</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769353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394870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Title with content bar">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0" hasCustomPrompt="1"/>
          </p:nvPr>
        </p:nvSpPr>
        <p:spPr>
          <a:xfrm>
            <a:off x="0" y="533405"/>
            <a:ext cx="12192000" cy="1979613"/>
          </a:xfrm>
          <a:solidFill>
            <a:srgbClr val="5F8B00"/>
          </a:solidFill>
        </p:spPr>
        <p:txBody>
          <a:bodyPr lIns="274320" anchor="ctr" anchorCtr="0"/>
          <a:lstStyle>
            <a:lvl1pPr marL="0" indent="0">
              <a:spcBef>
                <a:spcPts val="800"/>
              </a:spcBef>
              <a:buClr>
                <a:schemeClr val="bg1"/>
              </a:buClr>
              <a:buFontTx/>
              <a:buNone/>
              <a:defRPr sz="1800" baseline="0">
                <a:solidFill>
                  <a:schemeClr val="bg1"/>
                </a:solidFill>
              </a:defRPr>
            </a:lvl1pPr>
            <a:lvl2pPr marL="171446" indent="0">
              <a:buFontTx/>
              <a:buNone/>
              <a:defRPr sz="1600"/>
            </a:lvl2pPr>
          </a:lstStyle>
          <a:p>
            <a:pPr marL="0" indent="0">
              <a:spcBef>
                <a:spcPts val="600"/>
              </a:spcBef>
              <a:buClr>
                <a:schemeClr val="bg1"/>
              </a:buClr>
              <a:buNone/>
            </a:pPr>
            <a:r>
              <a:rPr lang="en-US" sz="2400" kern="0">
                <a:solidFill>
                  <a:schemeClr val="bg1"/>
                </a:solidFill>
              </a:rPr>
              <a:t>Place sub-head or framing statement text in this box. </a:t>
            </a:r>
            <a:br>
              <a:rPr lang="en-US" sz="2400" kern="0">
                <a:solidFill>
                  <a:schemeClr val="bg1"/>
                </a:solidFill>
              </a:rPr>
            </a:br>
            <a:r>
              <a:rPr lang="en-US" sz="2400" kern="0">
                <a:solidFill>
                  <a:schemeClr val="bg1"/>
                </a:solidFill>
              </a:rPr>
              <a:t>Change box color and transparency as desired.</a:t>
            </a:r>
            <a:br>
              <a:rPr lang="en-US" sz="2400" kern="0">
                <a:solidFill>
                  <a:schemeClr val="bg1"/>
                </a:solidFill>
              </a:rPr>
            </a:br>
            <a:r>
              <a:rPr lang="en-US" sz="2400" kern="0">
                <a:solidFill>
                  <a:schemeClr val="bg1"/>
                </a:solidFill>
              </a:rPr>
              <a:t>Vertically reposition as desired.</a:t>
            </a:r>
          </a:p>
        </p:txBody>
      </p:sp>
    </p:spTree>
    <p:extLst>
      <p:ext uri="{BB962C8B-B14F-4D97-AF65-F5344CB8AC3E}">
        <p14:creationId xmlns:p14="http://schemas.microsoft.com/office/powerpoint/2010/main" val="225096754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2_Blank-no theme bug">
    <p:spTree>
      <p:nvGrpSpPr>
        <p:cNvPr id="1" name=""/>
        <p:cNvGrpSpPr/>
        <p:nvPr/>
      </p:nvGrpSpPr>
      <p:grpSpPr>
        <a:xfrm>
          <a:off x="0" y="0"/>
          <a:ext cx="0" cy="0"/>
          <a:chOff x="0" y="0"/>
          <a:chExt cx="0" cy="0"/>
        </a:xfrm>
      </p:grpSpPr>
      <p:sp>
        <p:nvSpPr>
          <p:cNvPr id="4" name="Rectangle 8"/>
          <p:cNvSpPr>
            <a:spLocks noGrp="1" noChangeArrowheads="1"/>
          </p:cNvSpPr>
          <p:nvPr>
            <p:ph type="title"/>
          </p:nvPr>
        </p:nvSpPr>
        <p:spPr bwMode="black">
          <a:xfrm>
            <a:off x="692151" y="35960"/>
            <a:ext cx="11201400" cy="700087"/>
          </a:xfrm>
          <a:prstGeom prst="rect">
            <a:avLst/>
          </a:prstGeom>
          <a:noFill/>
          <a:ln w="9525">
            <a:noFill/>
            <a:miter lim="800000"/>
            <a:headEnd/>
            <a:tailEnd/>
          </a:ln>
        </p:spPr>
        <p:txBody>
          <a:bodyPr vert="horz" wrap="square" lIns="42597" tIns="42593" rIns="42597" bIns="42593" numCol="1" anchor="ctr" anchorCtr="0" compatLnSpc="1">
            <a:prstTxWarp prst="textNoShape">
              <a:avLst/>
            </a:prstTxWarp>
          </a:bodyPr>
          <a:lstStyle>
            <a:lvl1pPr marL="0" marR="0" indent="0">
              <a:defRPr sz="2800"/>
            </a:lvl1pPr>
          </a:lstStyle>
          <a:p>
            <a:pPr lvl="0"/>
            <a:r>
              <a:rPr lang="en-US"/>
              <a:t>Click to edit Master title style</a:t>
            </a:r>
          </a:p>
        </p:txBody>
      </p:sp>
    </p:spTree>
    <p:extLst>
      <p:ext uri="{BB962C8B-B14F-4D97-AF65-F5344CB8AC3E}">
        <p14:creationId xmlns:p14="http://schemas.microsoft.com/office/powerpoint/2010/main" val="166014251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3" name="Group 5"/>
          <p:cNvGrpSpPr/>
          <p:nvPr userDrawn="1"/>
        </p:nvGrpSpPr>
        <p:grpSpPr>
          <a:xfrm>
            <a:off x="0" y="6297618"/>
            <a:ext cx="12192000" cy="567431"/>
            <a:chOff x="0" y="6289662"/>
            <a:chExt cx="9144000" cy="567431"/>
          </a:xfrm>
        </p:grpSpPr>
        <p:sp>
          <p:nvSpPr>
            <p:cNvPr id="4" name="Rectangle 3"/>
            <p:cNvSpPr/>
            <p:nvPr/>
          </p:nvSpPr>
          <p:spPr bwMode="auto">
            <a:xfrm>
              <a:off x="0" y="6289662"/>
              <a:ext cx="9144000" cy="567431"/>
            </a:xfrm>
            <a:prstGeom prst="rect">
              <a:avLst/>
            </a:prstGeom>
            <a:solidFill>
              <a:schemeClr val="accent4"/>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endParaRPr lang="en-US" sz="1800">
                <a:latin typeface="Arial" pitchFamily="124" charset="0"/>
              </a:endParaRPr>
            </a:p>
          </p:txBody>
        </p:sp>
        <p:sp>
          <p:nvSpPr>
            <p:cNvPr id="5" name="TextBox 4"/>
            <p:cNvSpPr txBox="1"/>
            <p:nvPr/>
          </p:nvSpPr>
          <p:spPr>
            <a:xfrm>
              <a:off x="4614863" y="6467489"/>
              <a:ext cx="4320089" cy="215444"/>
            </a:xfrm>
            <a:prstGeom prst="rect">
              <a:avLst/>
            </a:prstGeom>
            <a:noFill/>
          </p:spPr>
          <p:txBody>
            <a:bodyPr vert="horz" wrap="square" lIns="0" tIns="0" rIns="0" bIns="0" rtlCol="0" anchor="ctr" anchorCtr="0">
              <a:noAutofit/>
            </a:bodyPr>
            <a:lstStyle/>
            <a:p>
              <a:pPr algn="r"/>
              <a:r>
                <a:rPr lang="en-US" sz="1400">
                  <a:solidFill>
                    <a:schemeClr val="bg1"/>
                  </a:solidFill>
                  <a:latin typeface="Arial"/>
                </a:rPr>
                <a:t>The world leader in serving science</a:t>
              </a:r>
            </a:p>
          </p:txBody>
        </p:sp>
      </p:grpSp>
      <p:sp>
        <p:nvSpPr>
          <p:cNvPr id="6" name="Proprietary &amp; Confidential"/>
          <p:cNvSpPr txBox="1">
            <a:spLocks noChangeArrowheads="1"/>
          </p:cNvSpPr>
          <p:nvPr userDrawn="1"/>
        </p:nvSpPr>
        <p:spPr bwMode="auto">
          <a:xfrm>
            <a:off x="266700" y="6526212"/>
            <a:ext cx="1359668" cy="215444"/>
          </a:xfrm>
          <a:prstGeom prst="rect">
            <a:avLst/>
          </a:prstGeom>
          <a:noFill/>
          <a:ln w="9525">
            <a:noFill/>
            <a:miter lim="800000"/>
            <a:headEnd/>
            <a:tailEnd/>
          </a:ln>
        </p:spPr>
        <p:txBody>
          <a:bodyPr wrap="none">
            <a:spAutoFit/>
          </a:bodyPr>
          <a:lstStyle/>
          <a:p>
            <a:pPr defTabSz="457189"/>
            <a:r>
              <a:rPr lang="en-US" sz="800" i="1">
                <a:solidFill>
                  <a:schemeClr val="bg1"/>
                </a:solidFill>
                <a:latin typeface="Arial Unicode MS" pitchFamily="34" charset="-128"/>
              </a:rPr>
              <a:t>Proprietary &amp; Confidential</a:t>
            </a:r>
          </a:p>
        </p:txBody>
      </p:sp>
    </p:spTree>
    <p:extLst>
      <p:ext uri="{BB962C8B-B14F-4D97-AF65-F5344CB8AC3E}">
        <p14:creationId xmlns:p14="http://schemas.microsoft.com/office/powerpoint/2010/main" val="428815515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grpSp>
        <p:nvGrpSpPr>
          <p:cNvPr id="2" name="Group 5"/>
          <p:cNvGrpSpPr/>
          <p:nvPr/>
        </p:nvGrpSpPr>
        <p:grpSpPr>
          <a:xfrm>
            <a:off x="0" y="6297618"/>
            <a:ext cx="12192000" cy="567431"/>
            <a:chOff x="0" y="6289662"/>
            <a:chExt cx="9144000" cy="567431"/>
          </a:xfrm>
        </p:grpSpPr>
        <p:sp>
          <p:nvSpPr>
            <p:cNvPr id="7" name="Rectangle 6"/>
            <p:cNvSpPr/>
            <p:nvPr/>
          </p:nvSpPr>
          <p:spPr bwMode="auto">
            <a:xfrm>
              <a:off x="0" y="6289662"/>
              <a:ext cx="9144000" cy="567431"/>
            </a:xfrm>
            <a:prstGeom prst="rect">
              <a:avLst/>
            </a:prstGeom>
            <a:solidFill>
              <a:schemeClr val="accent4"/>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endParaRPr lang="en-US" sz="1800">
                <a:latin typeface="Arial" pitchFamily="124" charset="0"/>
              </a:endParaRPr>
            </a:p>
          </p:txBody>
        </p:sp>
        <p:sp>
          <p:nvSpPr>
            <p:cNvPr id="8" name="TextBox 7"/>
            <p:cNvSpPr txBox="1"/>
            <p:nvPr/>
          </p:nvSpPr>
          <p:spPr>
            <a:xfrm>
              <a:off x="4614863" y="6467489"/>
              <a:ext cx="4320089" cy="215444"/>
            </a:xfrm>
            <a:prstGeom prst="rect">
              <a:avLst/>
            </a:prstGeom>
            <a:noFill/>
          </p:spPr>
          <p:txBody>
            <a:bodyPr vert="horz" wrap="square" lIns="0" tIns="0" rIns="0" bIns="0" rtlCol="0" anchor="ctr" anchorCtr="0">
              <a:noAutofit/>
            </a:bodyPr>
            <a:lstStyle/>
            <a:p>
              <a:pPr algn="r"/>
              <a:r>
                <a:rPr lang="en-US" sz="1400">
                  <a:solidFill>
                    <a:schemeClr val="bg1"/>
                  </a:solidFill>
                  <a:latin typeface="Arial"/>
                </a:rPr>
                <a:t>The world leader in serving science</a:t>
              </a:r>
            </a:p>
          </p:txBody>
        </p:sp>
      </p:grpSp>
      <p:sp>
        <p:nvSpPr>
          <p:cNvPr id="11" name="Proprietary &amp; Confidential"/>
          <p:cNvSpPr txBox="1">
            <a:spLocks noChangeArrowheads="1"/>
          </p:cNvSpPr>
          <p:nvPr/>
        </p:nvSpPr>
        <p:spPr bwMode="auto">
          <a:xfrm>
            <a:off x="266700" y="6526212"/>
            <a:ext cx="1359668" cy="215444"/>
          </a:xfrm>
          <a:prstGeom prst="rect">
            <a:avLst/>
          </a:prstGeom>
          <a:noFill/>
          <a:ln w="9525">
            <a:noFill/>
            <a:miter lim="800000"/>
            <a:headEnd/>
            <a:tailEnd/>
          </a:ln>
        </p:spPr>
        <p:txBody>
          <a:bodyPr wrap="none">
            <a:spAutoFit/>
          </a:bodyPr>
          <a:lstStyle/>
          <a:p>
            <a:pPr defTabSz="457189"/>
            <a:r>
              <a:rPr lang="en-US" sz="800" i="1">
                <a:solidFill>
                  <a:schemeClr val="bg1"/>
                </a:solidFill>
                <a:latin typeface="Arial Unicode MS" pitchFamily="34" charset="-128"/>
              </a:rPr>
              <a:t>Proprietary &amp; Confidential</a:t>
            </a:r>
          </a:p>
        </p:txBody>
      </p:sp>
      <p:sp>
        <p:nvSpPr>
          <p:cNvPr id="3" name="Rectangle 2"/>
          <p:cNvSpPr/>
          <p:nvPr userDrawn="1"/>
        </p:nvSpPr>
        <p:spPr bwMode="auto">
          <a:xfrm>
            <a:off x="0" y="3022599"/>
            <a:ext cx="12192000" cy="3275019"/>
          </a:xfrm>
          <a:prstGeom prst="rect">
            <a:avLst/>
          </a:prstGeom>
          <a:gradFill flip="none" rotWithShape="1">
            <a:gsLst>
              <a:gs pos="0">
                <a:schemeClr val="bg2"/>
              </a:gs>
              <a:gs pos="100000">
                <a:schemeClr val="bg2"/>
              </a:gs>
              <a:gs pos="48000">
                <a:schemeClr val="bg1">
                  <a:alpha val="0"/>
                </a:schemeClr>
              </a:gs>
            </a:gsLst>
            <a:lin ang="108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US" sz="1800">
              <a:latin typeface="Arial" pitchFamily="124" charset="0"/>
            </a:endParaRPr>
          </a:p>
        </p:txBody>
      </p:sp>
      <p:pic>
        <p:nvPicPr>
          <p:cNvPr id="19" name="Picture 1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254" y="0"/>
            <a:ext cx="12222310" cy="3336051"/>
          </a:xfrm>
          <a:prstGeom prst="rect">
            <a:avLst/>
          </a:prstGeom>
        </p:spPr>
      </p:pic>
      <p:sp>
        <p:nvSpPr>
          <p:cNvPr id="21" name="Title 16"/>
          <p:cNvSpPr>
            <a:spLocks noGrp="1"/>
          </p:cNvSpPr>
          <p:nvPr>
            <p:ph type="title" hasCustomPrompt="1"/>
          </p:nvPr>
        </p:nvSpPr>
        <p:spPr>
          <a:xfrm>
            <a:off x="2578100" y="4438513"/>
            <a:ext cx="7035800" cy="443190"/>
          </a:xfrm>
          <a:prstGeom prst="rect">
            <a:avLst/>
          </a:prstGeom>
          <a:noFill/>
        </p:spPr>
        <p:txBody>
          <a:bodyPr wrap="square" lIns="91440">
            <a:noAutofit/>
          </a:bodyPr>
          <a:lstStyle>
            <a:lvl1pPr algn="ctr">
              <a:defRPr sz="3600" b="1">
                <a:solidFill>
                  <a:schemeClr val="accent5"/>
                </a:solidFill>
              </a:defRPr>
            </a:lvl1pPr>
          </a:lstStyle>
          <a:p>
            <a:r>
              <a:rPr lang="en-US"/>
              <a:t>Thank You Content</a:t>
            </a:r>
          </a:p>
        </p:txBody>
      </p:sp>
      <p:sp>
        <p:nvSpPr>
          <p:cNvPr id="23" name="Title 16"/>
          <p:cNvSpPr txBox="1">
            <a:spLocks/>
          </p:cNvSpPr>
          <p:nvPr userDrawn="1"/>
        </p:nvSpPr>
        <p:spPr bwMode="gray">
          <a:xfrm>
            <a:off x="2578100" y="5899149"/>
            <a:ext cx="7035800" cy="398463"/>
          </a:xfrm>
          <a:prstGeom prst="rect">
            <a:avLst/>
          </a:prstGeom>
          <a:noFill/>
          <a:ln w="9525">
            <a:noFill/>
            <a:miter lim="800000"/>
            <a:headEnd/>
            <a:tailEnd/>
          </a:ln>
        </p:spPr>
        <p:txBody>
          <a:bodyPr vert="horz" wrap="square" lIns="91440" tIns="45716" rIns="45720" bIns="45716" numCol="1" anchor="ctr" anchorCtr="0" compatLnSpc="1">
            <a:prstTxWarp prst="textNoShape">
              <a:avLst/>
            </a:prstTxWarp>
            <a:noAutofit/>
          </a:bodyPr>
          <a:lstStyle>
            <a:lvl1pPr algn="l" rtl="0" eaLnBrk="1" fontAlgn="base" hangingPunct="1">
              <a:lnSpc>
                <a:spcPct val="95000"/>
              </a:lnSpc>
              <a:spcBef>
                <a:spcPct val="0"/>
              </a:spcBef>
              <a:spcAft>
                <a:spcPct val="0"/>
              </a:spcAft>
              <a:defRPr sz="3600" b="1">
                <a:solidFill>
                  <a:schemeClr val="accent5"/>
                </a:solidFill>
                <a:latin typeface="+mj-lt"/>
                <a:ea typeface="ＭＳ Ｐゴシック" pitchFamily="-60" charset="-128"/>
                <a:cs typeface="ＭＳ Ｐゴシック" pitchFamily="-60" charset="-128"/>
              </a:defRPr>
            </a:lvl1pPr>
            <a:lvl2pPr algn="l" rtl="0" eaLnBrk="1" fontAlgn="base" hangingPunct="1">
              <a:lnSpc>
                <a:spcPct val="95000"/>
              </a:lnSpc>
              <a:spcBef>
                <a:spcPct val="0"/>
              </a:spcBef>
              <a:spcAft>
                <a:spcPct val="0"/>
              </a:spcAft>
              <a:defRPr sz="2800">
                <a:solidFill>
                  <a:schemeClr val="tx1"/>
                </a:solidFill>
                <a:latin typeface="Arial" pitchFamily="124" charset="0"/>
                <a:ea typeface="ＭＳ Ｐゴシック" pitchFamily="-60" charset="-128"/>
                <a:cs typeface="ＭＳ Ｐゴシック" pitchFamily="-60" charset="-128"/>
              </a:defRPr>
            </a:lvl2pPr>
            <a:lvl3pPr algn="l" rtl="0" eaLnBrk="1" fontAlgn="base" hangingPunct="1">
              <a:lnSpc>
                <a:spcPct val="95000"/>
              </a:lnSpc>
              <a:spcBef>
                <a:spcPct val="0"/>
              </a:spcBef>
              <a:spcAft>
                <a:spcPct val="0"/>
              </a:spcAft>
              <a:defRPr sz="2800">
                <a:solidFill>
                  <a:schemeClr val="tx1"/>
                </a:solidFill>
                <a:latin typeface="Arial" pitchFamily="124" charset="0"/>
                <a:ea typeface="ＭＳ Ｐゴシック" pitchFamily="-60" charset="-128"/>
                <a:cs typeface="ＭＳ Ｐゴシック" pitchFamily="-60" charset="-128"/>
              </a:defRPr>
            </a:lvl3pPr>
            <a:lvl4pPr algn="l" rtl="0" eaLnBrk="1" fontAlgn="base" hangingPunct="1">
              <a:lnSpc>
                <a:spcPct val="95000"/>
              </a:lnSpc>
              <a:spcBef>
                <a:spcPct val="0"/>
              </a:spcBef>
              <a:spcAft>
                <a:spcPct val="0"/>
              </a:spcAft>
              <a:defRPr sz="2800">
                <a:solidFill>
                  <a:schemeClr val="tx1"/>
                </a:solidFill>
                <a:latin typeface="Arial" pitchFamily="124" charset="0"/>
                <a:ea typeface="ＭＳ Ｐゴシック" pitchFamily="-60" charset="-128"/>
                <a:cs typeface="ＭＳ Ｐゴシック" pitchFamily="-60" charset="-128"/>
              </a:defRPr>
            </a:lvl4pPr>
            <a:lvl5pPr algn="l" rtl="0" eaLnBrk="1" fontAlgn="base" hangingPunct="1">
              <a:lnSpc>
                <a:spcPct val="95000"/>
              </a:lnSpc>
              <a:spcBef>
                <a:spcPct val="0"/>
              </a:spcBef>
              <a:spcAft>
                <a:spcPct val="0"/>
              </a:spcAft>
              <a:defRPr sz="2800">
                <a:solidFill>
                  <a:schemeClr val="tx1"/>
                </a:solidFill>
                <a:latin typeface="Arial" pitchFamily="124" charset="0"/>
                <a:ea typeface="ＭＳ Ｐゴシック" pitchFamily="-60" charset="-128"/>
                <a:cs typeface="ＭＳ Ｐゴシック" pitchFamily="-60" charset="-128"/>
              </a:defRPr>
            </a:lvl5pPr>
            <a:lvl6pPr marL="457189" algn="l" rtl="0" eaLnBrk="1" fontAlgn="base" hangingPunct="1">
              <a:lnSpc>
                <a:spcPct val="95000"/>
              </a:lnSpc>
              <a:spcBef>
                <a:spcPct val="0"/>
              </a:spcBef>
              <a:spcAft>
                <a:spcPct val="0"/>
              </a:spcAft>
              <a:defRPr sz="2800">
                <a:solidFill>
                  <a:schemeClr val="tx1"/>
                </a:solidFill>
                <a:latin typeface="Arial" pitchFamily="124" charset="0"/>
              </a:defRPr>
            </a:lvl6pPr>
            <a:lvl7pPr marL="914377" algn="l" rtl="0" eaLnBrk="1" fontAlgn="base" hangingPunct="1">
              <a:lnSpc>
                <a:spcPct val="95000"/>
              </a:lnSpc>
              <a:spcBef>
                <a:spcPct val="0"/>
              </a:spcBef>
              <a:spcAft>
                <a:spcPct val="0"/>
              </a:spcAft>
              <a:defRPr sz="2800">
                <a:solidFill>
                  <a:schemeClr val="tx1"/>
                </a:solidFill>
                <a:latin typeface="Arial" pitchFamily="124" charset="0"/>
              </a:defRPr>
            </a:lvl7pPr>
            <a:lvl8pPr marL="1371566" algn="l" rtl="0" eaLnBrk="1" fontAlgn="base" hangingPunct="1">
              <a:lnSpc>
                <a:spcPct val="95000"/>
              </a:lnSpc>
              <a:spcBef>
                <a:spcPct val="0"/>
              </a:spcBef>
              <a:spcAft>
                <a:spcPct val="0"/>
              </a:spcAft>
              <a:defRPr sz="2800">
                <a:solidFill>
                  <a:schemeClr val="tx1"/>
                </a:solidFill>
                <a:latin typeface="Arial" pitchFamily="124" charset="0"/>
              </a:defRPr>
            </a:lvl8pPr>
            <a:lvl9pPr marL="1828754" algn="l" rtl="0" eaLnBrk="1" fontAlgn="base" hangingPunct="1">
              <a:lnSpc>
                <a:spcPct val="95000"/>
              </a:lnSpc>
              <a:spcBef>
                <a:spcPct val="0"/>
              </a:spcBef>
              <a:spcAft>
                <a:spcPct val="0"/>
              </a:spcAft>
              <a:defRPr sz="2800">
                <a:solidFill>
                  <a:schemeClr val="tx1"/>
                </a:solidFill>
                <a:latin typeface="Arial" pitchFamily="124" charset="0"/>
              </a:defRPr>
            </a:lvl9pPr>
          </a:lstStyle>
          <a:p>
            <a:pPr algn="ctr">
              <a:lnSpc>
                <a:spcPct val="110000"/>
              </a:lnSpc>
            </a:pPr>
            <a:r>
              <a:rPr lang="en-US" sz="900" b="0" kern="0">
                <a:solidFill>
                  <a:schemeClr val="bg1">
                    <a:lumMod val="65000"/>
                  </a:schemeClr>
                </a:solidFill>
              </a:rPr>
              <a:t>© 2017 Thermo Fisher Scientific Inc. All rights reserved. All trademarks are the property of Thermo Fisher Scientific </a:t>
            </a:r>
          </a:p>
          <a:p>
            <a:pPr algn="ctr">
              <a:lnSpc>
                <a:spcPct val="110000"/>
              </a:lnSpc>
            </a:pPr>
            <a:r>
              <a:rPr lang="en-US" sz="900" b="0" kern="0">
                <a:solidFill>
                  <a:schemeClr val="bg1">
                    <a:lumMod val="65000"/>
                  </a:schemeClr>
                </a:solidFill>
              </a:rPr>
              <a:t>and its subsidiaries unless otherwise specified. </a:t>
            </a:r>
            <a:endParaRPr lang="en-US" sz="900" b="1" kern="0">
              <a:solidFill>
                <a:schemeClr val="bg1">
                  <a:lumMod val="65000"/>
                </a:schemeClr>
              </a:solidFill>
            </a:endParaRPr>
          </a:p>
        </p:txBody>
      </p:sp>
    </p:spTree>
    <p:extLst>
      <p:ext uri="{BB962C8B-B14F-4D97-AF65-F5344CB8AC3E}">
        <p14:creationId xmlns:p14="http://schemas.microsoft.com/office/powerpoint/2010/main" val="71269431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23851" y="1065217"/>
            <a:ext cx="11569700" cy="4833937"/>
          </a:xfrm>
        </p:spPr>
        <p:txBody>
          <a:bodyPr/>
          <a:lstStyle>
            <a:lvl1pPr>
              <a:defRPr/>
            </a:lvl1pPr>
            <a:lvl2pPr>
              <a:defRPr baseline="0"/>
            </a:lvl2pPr>
            <a:lvl3pPr>
              <a:buClr>
                <a:schemeClr val="accent5">
                  <a:lumMod val="75000"/>
                </a:schemeClr>
              </a:buClr>
              <a:defRPr/>
            </a:lvl3pPr>
          </a:lstStyle>
          <a:p>
            <a:pPr lvl="0"/>
            <a:r>
              <a:rPr lang="en-US"/>
              <a:t>First level: Arial 20pt</a:t>
            </a:r>
          </a:p>
          <a:p>
            <a:pPr lvl="1"/>
            <a:r>
              <a:rPr lang="en-US"/>
              <a:t>Second level: Arial 18pt</a:t>
            </a:r>
          </a:p>
          <a:p>
            <a:pPr lvl="2"/>
            <a:r>
              <a:rPr lang="en-US"/>
              <a:t>Third level: Arial 16pt</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6765598"/>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Important Disclaimer">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0081F8D7-94E1-D14A-9B72-83893197CFDB}"/>
              </a:ext>
            </a:extLst>
          </p:cNvPr>
          <p:cNvSpPr/>
          <p:nvPr/>
        </p:nvSpPr>
        <p:spPr>
          <a:xfrm>
            <a:off x="304799" y="1447799"/>
            <a:ext cx="4876801" cy="234730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 Placeholder 9">
            <a:extLst>
              <a:ext uri="{FF2B5EF4-FFF2-40B4-BE49-F238E27FC236}">
                <a16:creationId xmlns:a16="http://schemas.microsoft.com/office/drawing/2014/main" id="{4DB97ED0-9771-E044-B63D-01D4F8A70AD0}"/>
              </a:ext>
            </a:extLst>
          </p:cNvPr>
          <p:cNvSpPr txBox="1">
            <a:spLocks/>
          </p:cNvSpPr>
          <p:nvPr/>
        </p:nvSpPr>
        <p:spPr>
          <a:xfrm>
            <a:off x="300227" y="3966983"/>
            <a:ext cx="4869914" cy="2586217"/>
          </a:xfrm>
          <a:prstGeom prst="rect">
            <a:avLst/>
          </a:prstGeom>
        </p:spPr>
        <p:txBody>
          <a:bodyPr vert="horz" lIns="0" tIns="0" rIns="0" bIns="0" numCol="1" rtlCol="0" anchor="t">
            <a:noAutofit/>
          </a:bodyPr>
          <a:lstStyle>
            <a:lvl1pPr marL="0" indent="0" algn="l" defTabSz="914400" rtl="0" eaLnBrk="1" latinLnBrk="0" hangingPunct="1">
              <a:lnSpc>
                <a:spcPct val="100000"/>
              </a:lnSpc>
              <a:spcBef>
                <a:spcPts val="400"/>
              </a:spcBef>
              <a:buClr>
                <a:schemeClr val="accent4"/>
              </a:buClr>
              <a:buSzPct val="100000"/>
              <a:buFont typeface="Arial" panose="020B0604020202020204" pitchFamily="34" charset="0"/>
              <a:buNone/>
              <a:tabLst/>
              <a:defRPr sz="2000" b="0" kern="1200">
                <a:solidFill>
                  <a:schemeClr val="tx1"/>
                </a:solidFill>
                <a:latin typeface="+mn-lt"/>
                <a:ea typeface="+mn-ea"/>
                <a:cs typeface="+mn-cs"/>
              </a:defRPr>
            </a:lvl1pPr>
            <a:lvl2pPr marL="236537" marR="0" indent="0" algn="l" defTabSz="914400" rtl="0" eaLnBrk="1" fontAlgn="auto" latinLnBrk="0" hangingPunct="1">
              <a:lnSpc>
                <a:spcPct val="100000"/>
              </a:lnSpc>
              <a:spcBef>
                <a:spcPts val="400"/>
              </a:spcBef>
              <a:spcAft>
                <a:spcPts val="0"/>
              </a:spcAft>
              <a:buClrTx/>
              <a:buSzPct val="76000"/>
              <a:buFont typeface="Arial" panose="020B0604020202020204" pitchFamily="34" charset="0"/>
              <a:buNone/>
              <a:tabLst/>
              <a:defRPr sz="1800" b="0" kern="1200">
                <a:solidFill>
                  <a:schemeClr val="tx1"/>
                </a:solidFill>
                <a:latin typeface="+mn-lt"/>
                <a:ea typeface="+mn-ea"/>
                <a:cs typeface="+mn-cs"/>
              </a:defRPr>
            </a:lvl2pPr>
            <a:lvl3pPr marL="749300" marR="0" indent="-285750" algn="l" defTabSz="914400" rtl="0" eaLnBrk="1" fontAlgn="auto" latinLnBrk="0" hangingPunct="1">
              <a:lnSpc>
                <a:spcPct val="100000"/>
              </a:lnSpc>
              <a:spcBef>
                <a:spcPts val="400"/>
              </a:spcBef>
              <a:spcAft>
                <a:spcPts val="0"/>
              </a:spcAft>
              <a:buClrTx/>
              <a:buSzPct val="80000"/>
              <a:buFont typeface="System Font Regular"/>
              <a:buChar char="-"/>
              <a:tabLst/>
              <a:defRPr sz="1400" b="0" kern="1200">
                <a:solidFill>
                  <a:schemeClr val="tx1"/>
                </a:solidFill>
                <a:latin typeface="+mn-lt"/>
                <a:ea typeface="+mn-ea"/>
                <a:cs typeface="+mn-cs"/>
              </a:defRPr>
            </a:lvl3pPr>
            <a:lvl4pPr marL="690563" marR="0" indent="0" algn="l" defTabSz="914400" rtl="0" eaLnBrk="1" fontAlgn="auto" latinLnBrk="0" hangingPunct="1">
              <a:lnSpc>
                <a:spcPct val="100000"/>
              </a:lnSpc>
              <a:spcBef>
                <a:spcPts val="400"/>
              </a:spcBef>
              <a:spcAft>
                <a:spcPts val="0"/>
              </a:spcAft>
              <a:buClrTx/>
              <a:buSzPct val="80000"/>
              <a:buFont typeface="Arial" panose="020B0604020202020204" pitchFamily="34" charset="0"/>
              <a:buNone/>
              <a:tabLst/>
              <a:defRPr sz="1200" b="0" kern="1200">
                <a:solidFill>
                  <a:schemeClr val="tx1"/>
                </a:solidFill>
                <a:latin typeface="+mn-lt"/>
                <a:ea typeface="+mn-ea"/>
                <a:cs typeface="+mn-cs"/>
              </a:defRPr>
            </a:lvl4pPr>
            <a:lvl5pPr marL="909637" marR="0" indent="0" algn="l" defTabSz="914400" rtl="0" eaLnBrk="1" fontAlgn="auto" latinLnBrk="0" hangingPunct="1">
              <a:lnSpc>
                <a:spcPct val="100000"/>
              </a:lnSpc>
              <a:spcBef>
                <a:spcPts val="400"/>
              </a:spcBef>
              <a:spcAft>
                <a:spcPts val="0"/>
              </a:spcAft>
              <a:buClrTx/>
              <a:buSzPct val="80000"/>
              <a:buFont typeface="Arial" panose="020B0604020202020204" pitchFamily="34" charset="0"/>
              <a:buNone/>
              <a:tabLst/>
              <a:defRPr sz="11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40000"/>
              </a:lnSpc>
            </a:pPr>
            <a:r>
              <a:rPr lang="en-US" sz="1200" b="1"/>
              <a:t>External disclaimer criteria:</a:t>
            </a:r>
          </a:p>
          <a:p>
            <a:pPr marL="171450" indent="-171450">
              <a:lnSpc>
                <a:spcPct val="140000"/>
              </a:lnSpc>
              <a:buFont typeface="Arial" panose="020B0604020202020204" pitchFamily="34" charset="0"/>
              <a:buChar char="•"/>
            </a:pPr>
            <a:r>
              <a:rPr lang="en-US" sz="900"/>
              <a:t>Before sharing confidential information externally, ensure you have a confidential disclosure agreement (CDA) in place. The </a:t>
            </a:r>
            <a:r>
              <a:rPr lang="en-US" sz="900" b="1"/>
              <a:t>“Proprietary &amp; Confidential” </a:t>
            </a:r>
            <a:r>
              <a:rPr lang="en-US" sz="900"/>
              <a:t>disclaimer does not replace a CDA.</a:t>
            </a:r>
          </a:p>
          <a:p>
            <a:pPr marL="171450" indent="-171450">
              <a:lnSpc>
                <a:spcPct val="140000"/>
              </a:lnSpc>
              <a:buFont typeface="Arial" panose="020B0604020202020204" pitchFamily="34" charset="0"/>
              <a:buChar char="•"/>
            </a:pPr>
            <a:r>
              <a:rPr lang="en-US" sz="900"/>
              <a:t>Before removing the </a:t>
            </a:r>
            <a:r>
              <a:rPr lang="en-US" sz="900" b="1"/>
              <a:t>“Proprietary &amp; Confidential” </a:t>
            </a:r>
            <a:r>
              <a:rPr lang="en-US" sz="900"/>
              <a:t>disclaimer to exhibit content externally, you must ensure the content is appropriate from a Business, Division or Group entity; Legal; and Regulatory Affairs perspective. This means following your business’s, division’s or group’s process for obtaining Legal and Regulatory Affairs approval.</a:t>
            </a:r>
          </a:p>
          <a:p>
            <a:pPr marL="171450" indent="-171450">
              <a:lnSpc>
                <a:spcPct val="140000"/>
              </a:lnSpc>
              <a:buFont typeface="Arial" panose="020B0604020202020204" pitchFamily="34" charset="0"/>
              <a:buChar char="•"/>
            </a:pPr>
            <a:r>
              <a:rPr lang="en-US" sz="900"/>
              <a:t>If you’re importing slides from the </a:t>
            </a:r>
            <a:r>
              <a:rPr lang="en-US" sz="900">
                <a:hlinkClick r:id="rId2">
                  <a:extLst>
                    <a:ext uri="{A12FA001-AC4F-418D-AE19-62706E023703}">
                      <ahyp:hlinkClr xmlns:ahyp="http://schemas.microsoft.com/office/drawing/2018/hyperlinkcolor" val="tx"/>
                    </a:ext>
                  </a:extLst>
                </a:hlinkClick>
              </a:rPr>
              <a:t>Customer Value Proposition</a:t>
            </a:r>
            <a:r>
              <a:rPr lang="en-US" sz="900"/>
              <a:t> deck, which is cleared for external use and not considered Proprietary &amp; Confidential, you can leave a disclaimer off those slides and simply list the author’s email and date published on those slides.</a:t>
            </a:r>
          </a:p>
        </p:txBody>
      </p:sp>
      <p:pic>
        <p:nvPicPr>
          <p:cNvPr id="47" name="Graphic 46">
            <a:extLst>
              <a:ext uri="{FF2B5EF4-FFF2-40B4-BE49-F238E27FC236}">
                <a16:creationId xmlns:a16="http://schemas.microsoft.com/office/drawing/2014/main" id="{5957BB70-3758-2241-95DE-E49DED9F761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44034" y="1665184"/>
            <a:ext cx="356616" cy="365760"/>
          </a:xfrm>
          <a:prstGeom prst="rect">
            <a:avLst/>
          </a:prstGeom>
        </p:spPr>
      </p:pic>
      <p:cxnSp>
        <p:nvCxnSpPr>
          <p:cNvPr id="48" name="Straight Connector 47">
            <a:extLst>
              <a:ext uri="{FF2B5EF4-FFF2-40B4-BE49-F238E27FC236}">
                <a16:creationId xmlns:a16="http://schemas.microsoft.com/office/drawing/2014/main" id="{63783495-6D28-834A-90D4-F810D049B150}"/>
              </a:ext>
            </a:extLst>
          </p:cNvPr>
          <p:cNvCxnSpPr>
            <a:cxnSpLocks/>
          </p:cNvCxnSpPr>
          <p:nvPr/>
        </p:nvCxnSpPr>
        <p:spPr>
          <a:xfrm>
            <a:off x="5505901" y="1481339"/>
            <a:ext cx="0" cy="472440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23692791-F43E-EE45-B104-207B0D8D1E5C}"/>
              </a:ext>
            </a:extLst>
          </p:cNvPr>
          <p:cNvSpPr txBox="1"/>
          <p:nvPr/>
        </p:nvSpPr>
        <p:spPr>
          <a:xfrm>
            <a:off x="1143000" y="1667690"/>
            <a:ext cx="3807135" cy="1873031"/>
          </a:xfrm>
          <a:prstGeom prst="rect">
            <a:avLst/>
          </a:prstGeom>
          <a:noFill/>
        </p:spPr>
        <p:txBody>
          <a:bodyPr wrap="square" lIns="0" tIns="0" rIns="0" bIns="0" rtlCol="0">
            <a:normAutofit lnSpcReduction="10000"/>
          </a:bodyPr>
          <a:lstStyle/>
          <a:p>
            <a:pPr defTabSz="914400">
              <a:lnSpc>
                <a:spcPct val="120000"/>
              </a:lnSpc>
              <a:spcBef>
                <a:spcPts val="200"/>
              </a:spcBef>
              <a:buClr>
                <a:schemeClr val="tx2"/>
              </a:buClr>
              <a:buSzPct val="100000"/>
            </a:pPr>
            <a:r>
              <a:rPr lang="en-US" sz="1100" b="1">
                <a:solidFill>
                  <a:schemeClr val="bg1"/>
                </a:solidFill>
              </a:rPr>
              <a:t>Important:</a:t>
            </a:r>
            <a:r>
              <a:rPr lang="en-US" sz="1100">
                <a:solidFill>
                  <a:schemeClr val="bg1"/>
                </a:solidFill>
              </a:rPr>
              <a:t> This template contains a default </a:t>
            </a:r>
            <a:r>
              <a:rPr lang="en-US" sz="1100" b="1">
                <a:solidFill>
                  <a:schemeClr val="bg1"/>
                </a:solidFill>
              </a:rPr>
              <a:t>“Proprietary &amp; Confidential” </a:t>
            </a:r>
            <a:r>
              <a:rPr lang="en-US" sz="1100">
                <a:solidFill>
                  <a:schemeClr val="bg1"/>
                </a:solidFill>
              </a:rPr>
              <a:t>disclaimer in the footer. It is designed to protect information that we want to protect as </a:t>
            </a:r>
            <a:r>
              <a:rPr lang="en-US" sz="1100" b="1">
                <a:solidFill>
                  <a:schemeClr val="bg1"/>
                </a:solidFill>
              </a:rPr>
              <a:t>internal use only </a:t>
            </a:r>
            <a:r>
              <a:rPr lang="en-US" sz="1100">
                <a:solidFill>
                  <a:schemeClr val="bg1"/>
                </a:solidFill>
              </a:rPr>
              <a:t>and don't want to share with third parties.  You should use this unless your material meets criteria that would allow it be shared externally.</a:t>
            </a:r>
            <a:br>
              <a:rPr lang="en-US" sz="1100">
                <a:solidFill>
                  <a:schemeClr val="bg1"/>
                </a:solidFill>
              </a:rPr>
            </a:br>
            <a:endParaRPr lang="en-US" sz="1100">
              <a:solidFill>
                <a:schemeClr val="bg1"/>
              </a:solidFill>
            </a:endParaRPr>
          </a:p>
          <a:p>
            <a:pPr defTabSz="914400">
              <a:lnSpc>
                <a:spcPct val="120000"/>
              </a:lnSpc>
              <a:spcBef>
                <a:spcPts val="200"/>
              </a:spcBef>
              <a:buClr>
                <a:schemeClr val="tx2"/>
              </a:buClr>
              <a:buSzPct val="100000"/>
            </a:pPr>
            <a:r>
              <a:rPr lang="en-US" sz="1100">
                <a:solidFill>
                  <a:schemeClr val="bg1"/>
                </a:solidFill>
              </a:rPr>
              <a:t>To edit the footer, click Insert &gt; Header &amp; Footer, make the change in the pop-up window, and then choose “Apply” for one slide or “Apply to all” for the entire deck.</a:t>
            </a:r>
          </a:p>
        </p:txBody>
      </p:sp>
      <p:sp>
        <p:nvSpPr>
          <p:cNvPr id="55" name="Rectangle 54">
            <a:extLst>
              <a:ext uri="{FF2B5EF4-FFF2-40B4-BE49-F238E27FC236}">
                <a16:creationId xmlns:a16="http://schemas.microsoft.com/office/drawing/2014/main" id="{E6B688F3-C9F4-2446-9F51-2EF949ECB180}"/>
              </a:ext>
            </a:extLst>
          </p:cNvPr>
          <p:cNvSpPr/>
          <p:nvPr/>
        </p:nvSpPr>
        <p:spPr>
          <a:xfrm>
            <a:off x="5788336" y="2637630"/>
            <a:ext cx="1952553" cy="184666"/>
          </a:xfrm>
          <a:prstGeom prst="rect">
            <a:avLst/>
          </a:prstGeom>
        </p:spPr>
        <p:txBody>
          <a:bodyPr wrap="square" lIns="0" tIns="0" rIns="0" bIns="0">
            <a:spAutoFit/>
          </a:bodyPr>
          <a:lstStyle/>
          <a:p>
            <a:r>
              <a:rPr lang="en-US" sz="1200" b="1"/>
              <a:t>Footer examples</a:t>
            </a:r>
            <a:endParaRPr lang="en-US" sz="1200"/>
          </a:p>
        </p:txBody>
      </p:sp>
      <p:sp>
        <p:nvSpPr>
          <p:cNvPr id="79" name="Footer Placeholder 1">
            <a:extLst>
              <a:ext uri="{FF2B5EF4-FFF2-40B4-BE49-F238E27FC236}">
                <a16:creationId xmlns:a16="http://schemas.microsoft.com/office/drawing/2014/main" id="{555EAE1F-5676-C34A-8CF6-B38C31AF80D9}"/>
              </a:ext>
            </a:extLst>
          </p:cNvPr>
          <p:cNvSpPr>
            <a:spLocks noGrp="1"/>
          </p:cNvSpPr>
          <p:nvPr>
            <p:ph type="ftr" sz="quarter" idx="11"/>
          </p:nvPr>
        </p:nvSpPr>
        <p:spPr>
          <a:xfrm>
            <a:off x="304800" y="6553200"/>
            <a:ext cx="5791200" cy="304799"/>
          </a:xfrm>
        </p:spPr>
        <p:txBody>
          <a:bodyPr/>
          <a:lstStyle/>
          <a:p>
            <a:r>
              <a:rPr lang="en-US"/>
              <a:t>Proprietary &amp; Confidential |  authoremail@thermofisher.com | 12-April-2021</a:t>
            </a:r>
          </a:p>
        </p:txBody>
      </p:sp>
      <p:sp>
        <p:nvSpPr>
          <p:cNvPr id="80" name="Slide Number Placeholder 2">
            <a:extLst>
              <a:ext uri="{FF2B5EF4-FFF2-40B4-BE49-F238E27FC236}">
                <a16:creationId xmlns:a16="http://schemas.microsoft.com/office/drawing/2014/main" id="{B2F62D11-9A5D-6545-93AD-739D274B4BC5}"/>
              </a:ext>
            </a:extLst>
          </p:cNvPr>
          <p:cNvSpPr>
            <a:spLocks noGrp="1"/>
          </p:cNvSpPr>
          <p:nvPr>
            <p:ph type="sldNum" sz="quarter" idx="13"/>
          </p:nvPr>
        </p:nvSpPr>
        <p:spPr>
          <a:xfrm>
            <a:off x="1" y="6553200"/>
            <a:ext cx="304799" cy="304799"/>
          </a:xfrm>
        </p:spPr>
        <p:txBody>
          <a:bodyPr/>
          <a:lstStyle/>
          <a:p>
            <a:fld id="{89006F1E-66CD-4A4B-9370-B4A3080F0E6C}" type="slidenum">
              <a:rPr lang="en-US" smtClean="0"/>
              <a:pPr/>
              <a:t>‹#›</a:t>
            </a:fld>
            <a:endParaRPr lang="en-US"/>
          </a:p>
        </p:txBody>
      </p:sp>
      <p:sp>
        <p:nvSpPr>
          <p:cNvPr id="82" name="Title 6">
            <a:extLst>
              <a:ext uri="{FF2B5EF4-FFF2-40B4-BE49-F238E27FC236}">
                <a16:creationId xmlns:a16="http://schemas.microsoft.com/office/drawing/2014/main" id="{E671D4F8-A815-C84C-8B84-2BC0FD804D52}"/>
              </a:ext>
            </a:extLst>
          </p:cNvPr>
          <p:cNvSpPr txBox="1">
            <a:spLocks/>
          </p:cNvSpPr>
          <p:nvPr/>
        </p:nvSpPr>
        <p:spPr>
          <a:xfrm>
            <a:off x="304801" y="304799"/>
            <a:ext cx="9753600" cy="381001"/>
          </a:xfrm>
          <a:prstGeom prst="rect">
            <a:avLst/>
          </a:prstGeom>
        </p:spPr>
        <p:txBody>
          <a:bodyPr lIns="0" tIns="0" rIns="0" bIns="0"/>
          <a:lst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a:lstStyle>
          <a:p>
            <a:r>
              <a:rPr lang="en-US"/>
              <a:t>Footer content</a:t>
            </a:r>
          </a:p>
        </p:txBody>
      </p:sp>
      <p:sp>
        <p:nvSpPr>
          <p:cNvPr id="83" name="Text Placeholder 9">
            <a:extLst>
              <a:ext uri="{FF2B5EF4-FFF2-40B4-BE49-F238E27FC236}">
                <a16:creationId xmlns:a16="http://schemas.microsoft.com/office/drawing/2014/main" id="{B9D80A7B-7EE9-C344-B667-9AC3E29BB508}"/>
              </a:ext>
            </a:extLst>
          </p:cNvPr>
          <p:cNvSpPr txBox="1">
            <a:spLocks/>
          </p:cNvSpPr>
          <p:nvPr/>
        </p:nvSpPr>
        <p:spPr>
          <a:xfrm>
            <a:off x="300226" y="893063"/>
            <a:ext cx="11591547" cy="381001"/>
          </a:xfrm>
          <a:prstGeom prst="rect">
            <a:avLst/>
          </a:prstGeom>
        </p:spPr>
        <p:txBody>
          <a:bodyPr vert="horz" lIns="0" tIns="0" rIns="0" bIns="0" rtlCol="0" anchor="t">
            <a:noAutofit/>
          </a:bodyPr>
          <a:lstStyle>
            <a:defPPr>
              <a:defRPr lang="en-US"/>
            </a:defPPr>
            <a:lvl1pPr marL="0" algn="l" defTabSz="457200" rtl="0" eaLnBrk="1" latinLnBrk="0" hangingPunct="1">
              <a:defRPr lang="en-US" sz="800" kern="1200">
                <a:solidFill>
                  <a:schemeClr val="accent5"/>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2000" b="0">
                <a:solidFill>
                  <a:schemeClr val="tx1"/>
                </a:solidFill>
              </a:rPr>
              <a:t>Including confidentiality, product-use disclaimers, author, and date</a:t>
            </a:r>
          </a:p>
        </p:txBody>
      </p:sp>
      <p:sp>
        <p:nvSpPr>
          <p:cNvPr id="38" name="Rectangle 37">
            <a:extLst>
              <a:ext uri="{FF2B5EF4-FFF2-40B4-BE49-F238E27FC236}">
                <a16:creationId xmlns:a16="http://schemas.microsoft.com/office/drawing/2014/main" id="{6FB8D2FA-59F0-460A-99A9-F06354EC3F07}"/>
              </a:ext>
            </a:extLst>
          </p:cNvPr>
          <p:cNvSpPr/>
          <p:nvPr/>
        </p:nvSpPr>
        <p:spPr>
          <a:xfrm>
            <a:off x="5788336" y="1447800"/>
            <a:ext cx="6098864" cy="1135775"/>
          </a:xfrm>
          <a:prstGeom prst="rect">
            <a:avLst/>
          </a:prstGeom>
          <a:noFill/>
        </p:spPr>
        <p:txBody>
          <a:bodyPr wrap="square" lIns="0" tIns="0" rIns="0" bIns="0" rtlCol="0">
            <a:noAutofit/>
          </a:bodyPr>
          <a:lstStyle/>
          <a:p>
            <a:pPr defTabSz="914400">
              <a:lnSpc>
                <a:spcPct val="120000"/>
              </a:lnSpc>
              <a:spcBef>
                <a:spcPts val="200"/>
              </a:spcBef>
              <a:buClr>
                <a:schemeClr val="tx2"/>
              </a:buClr>
              <a:buSzPct val="100000"/>
            </a:pPr>
            <a:r>
              <a:rPr lang="en-US" sz="1200" b="1"/>
              <a:t>All footers should contain an author’s or group’s email address and publication date for future reference.  </a:t>
            </a:r>
            <a:r>
              <a:rPr lang="en-US" sz="1100" b="0"/>
              <a:t>Always use four digits for the year.</a:t>
            </a:r>
          </a:p>
          <a:p>
            <a:pPr marL="0" marR="0" lvl="0" indent="0" algn="l" defTabSz="914400" rtl="0" eaLnBrk="1" fontAlgn="auto" latinLnBrk="0" hangingPunct="1">
              <a:lnSpc>
                <a:spcPct val="120000"/>
              </a:lnSpc>
              <a:spcBef>
                <a:spcPts val="200"/>
              </a:spcBef>
              <a:spcAft>
                <a:spcPts val="0"/>
              </a:spcAft>
              <a:buClr>
                <a:schemeClr val="tx2"/>
              </a:buClr>
              <a:buSzPct val="100000"/>
              <a:buFontTx/>
              <a:buNone/>
              <a:tabLst/>
              <a:defRPr/>
            </a:pPr>
            <a:r>
              <a:rPr lang="en-US" sz="1100"/>
              <a:t>A </a:t>
            </a:r>
            <a:r>
              <a:rPr lang="en-US" sz="1100" b="1"/>
              <a:t>“</a:t>
            </a:r>
            <a:r>
              <a:rPr lang="en-US" sz="1100" b="1" kern="1200">
                <a:solidFill>
                  <a:schemeClr val="tx1"/>
                </a:solidFill>
                <a:latin typeface="+mn-lt"/>
                <a:ea typeface="+mn-ea"/>
                <a:cs typeface="+mn-cs"/>
              </a:rPr>
              <a:t>For Research Use Only</a:t>
            </a:r>
            <a:r>
              <a:rPr lang="en-US" sz="1100" b="1"/>
              <a:t>” </a:t>
            </a:r>
            <a:r>
              <a:rPr lang="en-US" sz="1100"/>
              <a:t>or similar product-use disclaimer should appear on select slides as directed by Regulatory Affairs or Legal only. It should be added on appropriate slides as directed vs being added across the entire deck.</a:t>
            </a:r>
          </a:p>
          <a:p>
            <a:pPr defTabSz="914400">
              <a:lnSpc>
                <a:spcPct val="120000"/>
              </a:lnSpc>
              <a:spcBef>
                <a:spcPts val="200"/>
              </a:spcBef>
              <a:buClr>
                <a:schemeClr val="tx2"/>
              </a:buClr>
              <a:buSzPct val="100000"/>
            </a:pPr>
            <a:endParaRPr lang="en-US" sz="1100" b="1"/>
          </a:p>
        </p:txBody>
      </p:sp>
      <p:sp>
        <p:nvSpPr>
          <p:cNvPr id="40" name="TextBox 39">
            <a:extLst>
              <a:ext uri="{FF2B5EF4-FFF2-40B4-BE49-F238E27FC236}">
                <a16:creationId xmlns:a16="http://schemas.microsoft.com/office/drawing/2014/main" id="{0EA872B5-983E-40B7-B51D-F6388C360F37}"/>
              </a:ext>
            </a:extLst>
          </p:cNvPr>
          <p:cNvSpPr txBox="1"/>
          <p:nvPr/>
        </p:nvSpPr>
        <p:spPr>
          <a:xfrm>
            <a:off x="9038023" y="6553200"/>
            <a:ext cx="2849177" cy="304800"/>
          </a:xfrm>
          <a:prstGeom prst="rect">
            <a:avLst/>
          </a:prstGeom>
          <a:noFill/>
        </p:spPr>
        <p:txBody>
          <a:bodyPr wrap="square" lIns="0" tIns="0" rIns="0" bIns="0" rtlCol="0" anchor="ctr">
            <a:noAutofit/>
          </a:bodyPr>
          <a:lstStyle/>
          <a:p>
            <a:pPr marL="0" indent="0" algn="r" defTabSz="914400">
              <a:lnSpc>
                <a:spcPct val="120000"/>
              </a:lnSpc>
              <a:spcBef>
                <a:spcPts val="200"/>
              </a:spcBef>
              <a:buClr>
                <a:schemeClr val="tx2"/>
              </a:buClr>
              <a:buSzPct val="100000"/>
              <a:buFont typeface="Arial" panose="020B0604020202020204" pitchFamily="34" charset="0"/>
              <a:buNone/>
            </a:pPr>
            <a:r>
              <a:rPr lang="en-US" sz="800" kern="1200">
                <a:solidFill>
                  <a:schemeClr val="accent5"/>
                </a:solidFill>
                <a:latin typeface="+mn-lt"/>
                <a:ea typeface="+mn-ea"/>
                <a:cs typeface="+mn-cs"/>
              </a:rPr>
              <a:t>2020 Template V1 published 5-August-2020</a:t>
            </a:r>
          </a:p>
        </p:txBody>
      </p:sp>
      <p:grpSp>
        <p:nvGrpSpPr>
          <p:cNvPr id="7" name="Group 6">
            <a:extLst>
              <a:ext uri="{FF2B5EF4-FFF2-40B4-BE49-F238E27FC236}">
                <a16:creationId xmlns:a16="http://schemas.microsoft.com/office/drawing/2014/main" id="{B0B1E50A-3432-A641-BCCD-ACF714BEB8A1}"/>
              </a:ext>
            </a:extLst>
          </p:cNvPr>
          <p:cNvGrpSpPr/>
          <p:nvPr/>
        </p:nvGrpSpPr>
        <p:grpSpPr>
          <a:xfrm>
            <a:off x="5788335" y="2980949"/>
            <a:ext cx="6055419" cy="592961"/>
            <a:chOff x="5788335" y="3097907"/>
            <a:chExt cx="6055419" cy="592961"/>
          </a:xfrm>
        </p:grpSpPr>
        <p:sp>
          <p:nvSpPr>
            <p:cNvPr id="63" name="Rectangle 62">
              <a:extLst>
                <a:ext uri="{FF2B5EF4-FFF2-40B4-BE49-F238E27FC236}">
                  <a16:creationId xmlns:a16="http://schemas.microsoft.com/office/drawing/2014/main" id="{44FC36BA-981A-8040-9AD4-2C91026E0E7E}"/>
                </a:ext>
              </a:extLst>
            </p:cNvPr>
            <p:cNvSpPr/>
            <p:nvPr/>
          </p:nvSpPr>
          <p:spPr>
            <a:xfrm>
              <a:off x="5826081" y="3529285"/>
              <a:ext cx="6017673" cy="161583"/>
            </a:xfrm>
            <a:prstGeom prst="rect">
              <a:avLst/>
            </a:prstGeom>
          </p:spPr>
          <p:txBody>
            <a:bodyPr wrap="none" lIns="0" tIns="0" rIns="0" bIns="0">
              <a:spAutoFit/>
            </a:bodyPr>
            <a:lstStyle/>
            <a:p>
              <a:r>
                <a:rPr lang="en-US" sz="1050"/>
                <a:t>Proprietary &amp; Confidential | For Research Use Only | authoremail@thermofisher.com | 5-August-2020</a:t>
              </a:r>
            </a:p>
          </p:txBody>
        </p:sp>
        <p:sp>
          <p:nvSpPr>
            <p:cNvPr id="64" name="Rectangle 63">
              <a:extLst>
                <a:ext uri="{FF2B5EF4-FFF2-40B4-BE49-F238E27FC236}">
                  <a16:creationId xmlns:a16="http://schemas.microsoft.com/office/drawing/2014/main" id="{E2A130EC-B68F-B445-B64A-32B5ED358BF4}"/>
                </a:ext>
              </a:extLst>
            </p:cNvPr>
            <p:cNvSpPr/>
            <p:nvPr/>
          </p:nvSpPr>
          <p:spPr>
            <a:xfrm>
              <a:off x="6938635" y="3097910"/>
              <a:ext cx="764953" cy="215444"/>
            </a:xfrm>
            <a:prstGeom prst="rect">
              <a:avLst/>
            </a:prstGeom>
          </p:spPr>
          <p:txBody>
            <a:bodyPr wrap="none">
              <a:spAutoFit/>
            </a:bodyPr>
            <a:lstStyle/>
            <a:p>
              <a:pPr algn="ctr"/>
              <a:r>
                <a:rPr lang="en-US" sz="800" b="1"/>
                <a:t>Disclaimers</a:t>
              </a:r>
            </a:p>
          </p:txBody>
        </p:sp>
        <p:sp>
          <p:nvSpPr>
            <p:cNvPr id="65" name="Rectangle 64">
              <a:extLst>
                <a:ext uri="{FF2B5EF4-FFF2-40B4-BE49-F238E27FC236}">
                  <a16:creationId xmlns:a16="http://schemas.microsoft.com/office/drawing/2014/main" id="{A268EC47-4888-C147-936E-C2DFB656768D}"/>
                </a:ext>
              </a:extLst>
            </p:cNvPr>
            <p:cNvSpPr/>
            <p:nvPr/>
          </p:nvSpPr>
          <p:spPr>
            <a:xfrm>
              <a:off x="9447833" y="3097908"/>
              <a:ext cx="899605" cy="215444"/>
            </a:xfrm>
            <a:prstGeom prst="rect">
              <a:avLst/>
            </a:prstGeom>
          </p:spPr>
          <p:txBody>
            <a:bodyPr wrap="none">
              <a:spAutoFit/>
            </a:bodyPr>
            <a:lstStyle/>
            <a:p>
              <a:pPr algn="ctr"/>
              <a:r>
                <a:rPr lang="en-US" sz="800" b="1"/>
                <a:t>Author’s email</a:t>
              </a:r>
            </a:p>
          </p:txBody>
        </p:sp>
        <p:sp>
          <p:nvSpPr>
            <p:cNvPr id="66" name="Rectangle 65">
              <a:extLst>
                <a:ext uri="{FF2B5EF4-FFF2-40B4-BE49-F238E27FC236}">
                  <a16:creationId xmlns:a16="http://schemas.microsoft.com/office/drawing/2014/main" id="{12AFD803-CD3C-B640-909F-2ABD27360115}"/>
                </a:ext>
              </a:extLst>
            </p:cNvPr>
            <p:cNvSpPr/>
            <p:nvPr/>
          </p:nvSpPr>
          <p:spPr>
            <a:xfrm>
              <a:off x="10907268" y="3097907"/>
              <a:ext cx="922047" cy="215444"/>
            </a:xfrm>
            <a:prstGeom prst="rect">
              <a:avLst/>
            </a:prstGeom>
          </p:spPr>
          <p:txBody>
            <a:bodyPr wrap="none">
              <a:spAutoFit/>
            </a:bodyPr>
            <a:lstStyle/>
            <a:p>
              <a:pPr algn="ctr"/>
              <a:r>
                <a:rPr lang="en-US" sz="800" b="1"/>
                <a:t>Date published</a:t>
              </a:r>
            </a:p>
          </p:txBody>
        </p:sp>
        <p:sp>
          <p:nvSpPr>
            <p:cNvPr id="67" name="Left Brace 66">
              <a:extLst>
                <a:ext uri="{FF2B5EF4-FFF2-40B4-BE49-F238E27FC236}">
                  <a16:creationId xmlns:a16="http://schemas.microsoft.com/office/drawing/2014/main" id="{D4EB443D-82BE-E344-B5A3-2F86AFEAC7AC}"/>
                </a:ext>
              </a:extLst>
            </p:cNvPr>
            <p:cNvSpPr/>
            <p:nvPr/>
          </p:nvSpPr>
          <p:spPr>
            <a:xfrm rot="5400000">
              <a:off x="7252434" y="1882734"/>
              <a:ext cx="137356" cy="3065553"/>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8" name="Left Brace 67">
              <a:extLst>
                <a:ext uri="{FF2B5EF4-FFF2-40B4-BE49-F238E27FC236}">
                  <a16:creationId xmlns:a16="http://schemas.microsoft.com/office/drawing/2014/main" id="{2B4BC0EB-F12B-7043-BF8F-40852B335856}"/>
                </a:ext>
              </a:extLst>
            </p:cNvPr>
            <p:cNvSpPr/>
            <p:nvPr/>
          </p:nvSpPr>
          <p:spPr>
            <a:xfrm rot="5400000">
              <a:off x="9824590" y="2447952"/>
              <a:ext cx="137355" cy="193512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4" name="Left Brace 83">
              <a:extLst>
                <a:ext uri="{FF2B5EF4-FFF2-40B4-BE49-F238E27FC236}">
                  <a16:creationId xmlns:a16="http://schemas.microsoft.com/office/drawing/2014/main" id="{F99E05C5-33FF-2C41-8C38-CD5A5ABAF438}"/>
                </a:ext>
              </a:extLst>
            </p:cNvPr>
            <p:cNvSpPr/>
            <p:nvPr/>
          </p:nvSpPr>
          <p:spPr>
            <a:xfrm rot="5400000">
              <a:off x="11295692" y="2963632"/>
              <a:ext cx="137354" cy="90376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6" name="Group 5">
            <a:extLst>
              <a:ext uri="{FF2B5EF4-FFF2-40B4-BE49-F238E27FC236}">
                <a16:creationId xmlns:a16="http://schemas.microsoft.com/office/drawing/2014/main" id="{2DC07A68-BCDB-2843-B8A2-AEB2604FB5C9}"/>
              </a:ext>
            </a:extLst>
          </p:cNvPr>
          <p:cNvGrpSpPr/>
          <p:nvPr/>
        </p:nvGrpSpPr>
        <p:grpSpPr>
          <a:xfrm>
            <a:off x="5788334" y="3890006"/>
            <a:ext cx="4436386" cy="582033"/>
            <a:chOff x="5788335" y="3923409"/>
            <a:chExt cx="4436386" cy="582033"/>
          </a:xfrm>
        </p:grpSpPr>
        <p:sp>
          <p:nvSpPr>
            <p:cNvPr id="39" name="Rectangle 38">
              <a:extLst>
                <a:ext uri="{FF2B5EF4-FFF2-40B4-BE49-F238E27FC236}">
                  <a16:creationId xmlns:a16="http://schemas.microsoft.com/office/drawing/2014/main" id="{2D253AE8-30D4-4225-8030-6894D59F21AC}"/>
                </a:ext>
              </a:extLst>
            </p:cNvPr>
            <p:cNvSpPr/>
            <p:nvPr/>
          </p:nvSpPr>
          <p:spPr>
            <a:xfrm>
              <a:off x="5826081" y="4343859"/>
              <a:ext cx="4398640" cy="161583"/>
            </a:xfrm>
            <a:prstGeom prst="rect">
              <a:avLst/>
            </a:prstGeom>
          </p:spPr>
          <p:txBody>
            <a:bodyPr wrap="none" lIns="0" tIns="0" rIns="0" bIns="0">
              <a:spAutoFit/>
            </a:bodyPr>
            <a:lstStyle/>
            <a:p>
              <a:r>
                <a:rPr lang="en-US" sz="1050"/>
                <a:t>For Research Use Only | authoremail@thermofisher.com | 5-August-2020</a:t>
              </a:r>
            </a:p>
          </p:txBody>
        </p:sp>
        <p:sp>
          <p:nvSpPr>
            <p:cNvPr id="87" name="Rectangle 86">
              <a:extLst>
                <a:ext uri="{FF2B5EF4-FFF2-40B4-BE49-F238E27FC236}">
                  <a16:creationId xmlns:a16="http://schemas.microsoft.com/office/drawing/2014/main" id="{220D7651-D269-A54E-BCE1-39173FB1F79F}"/>
                </a:ext>
              </a:extLst>
            </p:cNvPr>
            <p:cNvSpPr/>
            <p:nvPr/>
          </p:nvSpPr>
          <p:spPr>
            <a:xfrm>
              <a:off x="6138216" y="3923412"/>
              <a:ext cx="764953" cy="215444"/>
            </a:xfrm>
            <a:prstGeom prst="rect">
              <a:avLst/>
            </a:prstGeom>
          </p:spPr>
          <p:txBody>
            <a:bodyPr wrap="none">
              <a:spAutoFit/>
            </a:bodyPr>
            <a:lstStyle/>
            <a:p>
              <a:pPr algn="ctr"/>
              <a:r>
                <a:rPr lang="en-US" sz="800" b="1"/>
                <a:t>Disclaimers</a:t>
              </a:r>
            </a:p>
          </p:txBody>
        </p:sp>
        <p:sp>
          <p:nvSpPr>
            <p:cNvPr id="88" name="Rectangle 87">
              <a:extLst>
                <a:ext uri="{FF2B5EF4-FFF2-40B4-BE49-F238E27FC236}">
                  <a16:creationId xmlns:a16="http://schemas.microsoft.com/office/drawing/2014/main" id="{20E99F6E-6B65-1E43-8606-EC8AA34E2356}"/>
                </a:ext>
              </a:extLst>
            </p:cNvPr>
            <p:cNvSpPr/>
            <p:nvPr/>
          </p:nvSpPr>
          <p:spPr>
            <a:xfrm>
              <a:off x="7824103" y="3923410"/>
              <a:ext cx="899605" cy="215444"/>
            </a:xfrm>
            <a:prstGeom prst="rect">
              <a:avLst/>
            </a:prstGeom>
          </p:spPr>
          <p:txBody>
            <a:bodyPr wrap="none">
              <a:spAutoFit/>
            </a:bodyPr>
            <a:lstStyle/>
            <a:p>
              <a:pPr algn="ctr"/>
              <a:r>
                <a:rPr lang="en-US" sz="800" b="1"/>
                <a:t>Author’s email</a:t>
              </a:r>
            </a:p>
          </p:txBody>
        </p:sp>
        <p:sp>
          <p:nvSpPr>
            <p:cNvPr id="89" name="Rectangle 88">
              <a:extLst>
                <a:ext uri="{FF2B5EF4-FFF2-40B4-BE49-F238E27FC236}">
                  <a16:creationId xmlns:a16="http://schemas.microsoft.com/office/drawing/2014/main" id="{11DDA901-77B4-C14D-A259-991F339BCE31}"/>
                </a:ext>
              </a:extLst>
            </p:cNvPr>
            <p:cNvSpPr/>
            <p:nvPr/>
          </p:nvSpPr>
          <p:spPr>
            <a:xfrm>
              <a:off x="9269099" y="3923409"/>
              <a:ext cx="922047" cy="215444"/>
            </a:xfrm>
            <a:prstGeom prst="rect">
              <a:avLst/>
            </a:prstGeom>
          </p:spPr>
          <p:txBody>
            <a:bodyPr wrap="none">
              <a:spAutoFit/>
            </a:bodyPr>
            <a:lstStyle/>
            <a:p>
              <a:pPr algn="ctr"/>
              <a:r>
                <a:rPr lang="en-US" sz="800" b="1"/>
                <a:t>Date published</a:t>
              </a:r>
            </a:p>
          </p:txBody>
        </p:sp>
        <p:sp>
          <p:nvSpPr>
            <p:cNvPr id="90" name="Left Brace 89">
              <a:extLst>
                <a:ext uri="{FF2B5EF4-FFF2-40B4-BE49-F238E27FC236}">
                  <a16:creationId xmlns:a16="http://schemas.microsoft.com/office/drawing/2014/main" id="{CF3AA15B-0D57-184C-A86A-FEB4A0B54E61}"/>
                </a:ext>
              </a:extLst>
            </p:cNvPr>
            <p:cNvSpPr/>
            <p:nvPr/>
          </p:nvSpPr>
          <p:spPr>
            <a:xfrm rot="5400000">
              <a:off x="6449400" y="3511270"/>
              <a:ext cx="137356" cy="1459485"/>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1" name="Left Brace 90">
              <a:extLst>
                <a:ext uri="{FF2B5EF4-FFF2-40B4-BE49-F238E27FC236}">
                  <a16:creationId xmlns:a16="http://schemas.microsoft.com/office/drawing/2014/main" id="{91627E8E-568F-1747-A212-4664A2213D18}"/>
                </a:ext>
              </a:extLst>
            </p:cNvPr>
            <p:cNvSpPr/>
            <p:nvPr/>
          </p:nvSpPr>
          <p:spPr>
            <a:xfrm rot="5400000">
              <a:off x="8200860" y="3273454"/>
              <a:ext cx="137355" cy="193512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2" name="Left Brace 91">
              <a:extLst>
                <a:ext uri="{FF2B5EF4-FFF2-40B4-BE49-F238E27FC236}">
                  <a16:creationId xmlns:a16="http://schemas.microsoft.com/office/drawing/2014/main" id="{B0909EE3-0761-E34E-81D3-9D5CC6CCA561}"/>
                </a:ext>
              </a:extLst>
            </p:cNvPr>
            <p:cNvSpPr/>
            <p:nvPr/>
          </p:nvSpPr>
          <p:spPr>
            <a:xfrm rot="5400000">
              <a:off x="9657523" y="3789134"/>
              <a:ext cx="137354" cy="90376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5" name="Group 4">
            <a:extLst>
              <a:ext uri="{FF2B5EF4-FFF2-40B4-BE49-F238E27FC236}">
                <a16:creationId xmlns:a16="http://schemas.microsoft.com/office/drawing/2014/main" id="{5547D4DB-A88D-5049-9C5B-32D0C1262519}"/>
              </a:ext>
            </a:extLst>
          </p:cNvPr>
          <p:cNvGrpSpPr/>
          <p:nvPr/>
        </p:nvGrpSpPr>
        <p:grpSpPr>
          <a:xfrm>
            <a:off x="5788335" y="4788135"/>
            <a:ext cx="4582251" cy="587731"/>
            <a:chOff x="5788336" y="4908696"/>
            <a:chExt cx="4582251" cy="587731"/>
          </a:xfrm>
        </p:grpSpPr>
        <p:sp>
          <p:nvSpPr>
            <p:cNvPr id="70" name="Rectangle 69">
              <a:extLst>
                <a:ext uri="{FF2B5EF4-FFF2-40B4-BE49-F238E27FC236}">
                  <a16:creationId xmlns:a16="http://schemas.microsoft.com/office/drawing/2014/main" id="{DA3765F3-2DE6-184B-9871-C97E4EA7B993}"/>
                </a:ext>
              </a:extLst>
            </p:cNvPr>
            <p:cNvSpPr/>
            <p:nvPr/>
          </p:nvSpPr>
          <p:spPr>
            <a:xfrm>
              <a:off x="5842103" y="5334844"/>
              <a:ext cx="4528484" cy="161583"/>
            </a:xfrm>
            <a:prstGeom prst="rect">
              <a:avLst/>
            </a:prstGeom>
          </p:spPr>
          <p:txBody>
            <a:bodyPr wrap="none" lIns="0" tIns="0" rIns="0" bIns="0">
              <a:spAutoFit/>
            </a:bodyPr>
            <a:lstStyle/>
            <a:p>
              <a:r>
                <a:rPr lang="en-US" sz="1050"/>
                <a:t>Proprietary &amp; Confidential | authoremail@thermofisher.com | 5-August-2020</a:t>
              </a:r>
            </a:p>
          </p:txBody>
        </p:sp>
        <p:sp>
          <p:nvSpPr>
            <p:cNvPr id="93" name="Rectangle 92">
              <a:extLst>
                <a:ext uri="{FF2B5EF4-FFF2-40B4-BE49-F238E27FC236}">
                  <a16:creationId xmlns:a16="http://schemas.microsoft.com/office/drawing/2014/main" id="{0662301A-4740-1E4A-99D4-4C7CDFD8B49B}"/>
                </a:ext>
              </a:extLst>
            </p:cNvPr>
            <p:cNvSpPr/>
            <p:nvPr/>
          </p:nvSpPr>
          <p:spPr>
            <a:xfrm>
              <a:off x="6205057" y="4908699"/>
              <a:ext cx="764953" cy="215444"/>
            </a:xfrm>
            <a:prstGeom prst="rect">
              <a:avLst/>
            </a:prstGeom>
          </p:spPr>
          <p:txBody>
            <a:bodyPr wrap="none">
              <a:spAutoFit/>
            </a:bodyPr>
            <a:lstStyle/>
            <a:p>
              <a:pPr algn="ctr"/>
              <a:r>
                <a:rPr lang="en-US" sz="800" b="1"/>
                <a:t>Disclaimers</a:t>
              </a:r>
            </a:p>
          </p:txBody>
        </p:sp>
        <p:sp>
          <p:nvSpPr>
            <p:cNvPr id="94" name="Rectangle 93">
              <a:extLst>
                <a:ext uri="{FF2B5EF4-FFF2-40B4-BE49-F238E27FC236}">
                  <a16:creationId xmlns:a16="http://schemas.microsoft.com/office/drawing/2014/main" id="{04C7B6C7-EC70-7D40-A4C5-05A267DCD6DA}"/>
                </a:ext>
              </a:extLst>
            </p:cNvPr>
            <p:cNvSpPr/>
            <p:nvPr/>
          </p:nvSpPr>
          <p:spPr>
            <a:xfrm>
              <a:off x="7954285" y="4908697"/>
              <a:ext cx="899605" cy="215444"/>
            </a:xfrm>
            <a:prstGeom prst="rect">
              <a:avLst/>
            </a:prstGeom>
          </p:spPr>
          <p:txBody>
            <a:bodyPr wrap="none">
              <a:spAutoFit/>
            </a:bodyPr>
            <a:lstStyle/>
            <a:p>
              <a:pPr algn="ctr"/>
              <a:r>
                <a:rPr lang="en-US" sz="800" b="1"/>
                <a:t>Author’s email</a:t>
              </a:r>
            </a:p>
          </p:txBody>
        </p:sp>
        <p:sp>
          <p:nvSpPr>
            <p:cNvPr id="95" name="Rectangle 94">
              <a:extLst>
                <a:ext uri="{FF2B5EF4-FFF2-40B4-BE49-F238E27FC236}">
                  <a16:creationId xmlns:a16="http://schemas.microsoft.com/office/drawing/2014/main" id="{DDFAB2D7-0A5B-724F-99BA-4E89383C2B34}"/>
                </a:ext>
              </a:extLst>
            </p:cNvPr>
            <p:cNvSpPr/>
            <p:nvPr/>
          </p:nvSpPr>
          <p:spPr>
            <a:xfrm>
              <a:off x="9399281" y="4908696"/>
              <a:ext cx="922047" cy="215444"/>
            </a:xfrm>
            <a:prstGeom prst="rect">
              <a:avLst/>
            </a:prstGeom>
          </p:spPr>
          <p:txBody>
            <a:bodyPr wrap="none">
              <a:spAutoFit/>
            </a:bodyPr>
            <a:lstStyle/>
            <a:p>
              <a:pPr algn="ctr"/>
              <a:r>
                <a:rPr lang="en-US" sz="800" b="1"/>
                <a:t>Date published</a:t>
              </a:r>
            </a:p>
          </p:txBody>
        </p:sp>
        <p:sp>
          <p:nvSpPr>
            <p:cNvPr id="96" name="Left Brace 95">
              <a:extLst>
                <a:ext uri="{FF2B5EF4-FFF2-40B4-BE49-F238E27FC236}">
                  <a16:creationId xmlns:a16="http://schemas.microsoft.com/office/drawing/2014/main" id="{544F13B6-76EE-CC4D-A7CA-B63CCE7DC774}"/>
                </a:ext>
              </a:extLst>
            </p:cNvPr>
            <p:cNvSpPr/>
            <p:nvPr/>
          </p:nvSpPr>
          <p:spPr>
            <a:xfrm rot="5400000">
              <a:off x="6520304" y="4425654"/>
              <a:ext cx="137356" cy="1601292"/>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7" name="Left Brace 96">
              <a:extLst>
                <a:ext uri="{FF2B5EF4-FFF2-40B4-BE49-F238E27FC236}">
                  <a16:creationId xmlns:a16="http://schemas.microsoft.com/office/drawing/2014/main" id="{CE8E6BC8-A00E-F748-BAB1-06B8485A72AA}"/>
                </a:ext>
              </a:extLst>
            </p:cNvPr>
            <p:cNvSpPr/>
            <p:nvPr/>
          </p:nvSpPr>
          <p:spPr>
            <a:xfrm rot="5400000">
              <a:off x="8331042" y="4258741"/>
              <a:ext cx="137355" cy="193512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8" name="Left Brace 97">
              <a:extLst>
                <a:ext uri="{FF2B5EF4-FFF2-40B4-BE49-F238E27FC236}">
                  <a16:creationId xmlns:a16="http://schemas.microsoft.com/office/drawing/2014/main" id="{889E3AE0-344F-1641-902E-B7F3805E81B1}"/>
                </a:ext>
              </a:extLst>
            </p:cNvPr>
            <p:cNvSpPr/>
            <p:nvPr/>
          </p:nvSpPr>
          <p:spPr>
            <a:xfrm rot="5400000">
              <a:off x="9787705" y="4774421"/>
              <a:ext cx="137354" cy="90376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4" name="Group 3">
            <a:extLst>
              <a:ext uri="{FF2B5EF4-FFF2-40B4-BE49-F238E27FC236}">
                <a16:creationId xmlns:a16="http://schemas.microsoft.com/office/drawing/2014/main" id="{E9C94B1B-22EB-0F46-8139-CF807DB87CC2}"/>
              </a:ext>
            </a:extLst>
          </p:cNvPr>
          <p:cNvGrpSpPr/>
          <p:nvPr/>
        </p:nvGrpSpPr>
        <p:grpSpPr>
          <a:xfrm>
            <a:off x="5788335" y="5691963"/>
            <a:ext cx="2917465" cy="566939"/>
            <a:chOff x="5826081" y="5638800"/>
            <a:chExt cx="2917465" cy="566939"/>
          </a:xfrm>
        </p:grpSpPr>
        <p:sp>
          <p:nvSpPr>
            <p:cNvPr id="58" name="Rectangle 57">
              <a:extLst>
                <a:ext uri="{FF2B5EF4-FFF2-40B4-BE49-F238E27FC236}">
                  <a16:creationId xmlns:a16="http://schemas.microsoft.com/office/drawing/2014/main" id="{46FD419A-E86C-1745-9E7B-C8DF02B5FD90}"/>
                </a:ext>
              </a:extLst>
            </p:cNvPr>
            <p:cNvSpPr/>
            <p:nvPr/>
          </p:nvSpPr>
          <p:spPr>
            <a:xfrm>
              <a:off x="5826081" y="6068384"/>
              <a:ext cx="2917465" cy="137355"/>
            </a:xfrm>
            <a:prstGeom prst="rect">
              <a:avLst/>
            </a:prstGeom>
          </p:spPr>
          <p:txBody>
            <a:bodyPr wrap="none" lIns="0" tIns="0" rIns="0" bIns="0">
              <a:sp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50"/>
                <a:t> authoremail@thermofisher.com | 5-August-2020</a:t>
              </a:r>
            </a:p>
          </p:txBody>
        </p:sp>
        <p:sp>
          <p:nvSpPr>
            <p:cNvPr id="99" name="Rectangle 98">
              <a:extLst>
                <a:ext uri="{FF2B5EF4-FFF2-40B4-BE49-F238E27FC236}">
                  <a16:creationId xmlns:a16="http://schemas.microsoft.com/office/drawing/2014/main" id="{D4600AD8-6C66-E84E-AD96-C01F836DD7B4}"/>
                </a:ext>
              </a:extLst>
            </p:cNvPr>
            <p:cNvSpPr/>
            <p:nvPr/>
          </p:nvSpPr>
          <p:spPr>
            <a:xfrm>
              <a:off x="6348769" y="5638801"/>
              <a:ext cx="899605" cy="215444"/>
            </a:xfrm>
            <a:prstGeom prst="rect">
              <a:avLst/>
            </a:prstGeom>
          </p:spPr>
          <p:txBody>
            <a:bodyPr wrap="none">
              <a:spAutoFit/>
            </a:bodyPr>
            <a:lstStyle/>
            <a:p>
              <a:pPr algn="ctr"/>
              <a:r>
                <a:rPr lang="en-US" sz="800" b="1"/>
                <a:t>Author’s email</a:t>
              </a:r>
            </a:p>
          </p:txBody>
        </p:sp>
        <p:sp>
          <p:nvSpPr>
            <p:cNvPr id="100" name="Rectangle 99">
              <a:extLst>
                <a:ext uri="{FF2B5EF4-FFF2-40B4-BE49-F238E27FC236}">
                  <a16:creationId xmlns:a16="http://schemas.microsoft.com/office/drawing/2014/main" id="{6D59122D-D94B-A440-B8CF-8558F9A1E3D1}"/>
                </a:ext>
              </a:extLst>
            </p:cNvPr>
            <p:cNvSpPr/>
            <p:nvPr/>
          </p:nvSpPr>
          <p:spPr>
            <a:xfrm>
              <a:off x="7793765" y="5638800"/>
              <a:ext cx="922047" cy="215444"/>
            </a:xfrm>
            <a:prstGeom prst="rect">
              <a:avLst/>
            </a:prstGeom>
          </p:spPr>
          <p:txBody>
            <a:bodyPr wrap="none">
              <a:spAutoFit/>
            </a:bodyPr>
            <a:lstStyle/>
            <a:p>
              <a:pPr algn="ctr"/>
              <a:r>
                <a:rPr lang="en-US" sz="800" b="1"/>
                <a:t>Date published</a:t>
              </a:r>
            </a:p>
          </p:txBody>
        </p:sp>
        <p:sp>
          <p:nvSpPr>
            <p:cNvPr id="101" name="Left Brace 100">
              <a:extLst>
                <a:ext uri="{FF2B5EF4-FFF2-40B4-BE49-F238E27FC236}">
                  <a16:creationId xmlns:a16="http://schemas.microsoft.com/office/drawing/2014/main" id="{AEE82C77-552E-364A-81F1-E9B9FCA2D6FD}"/>
                </a:ext>
              </a:extLst>
            </p:cNvPr>
            <p:cNvSpPr/>
            <p:nvPr/>
          </p:nvSpPr>
          <p:spPr>
            <a:xfrm rot="5400000">
              <a:off x="6725526" y="4988845"/>
              <a:ext cx="137355" cy="193512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2" name="Left Brace 101">
              <a:extLst>
                <a:ext uri="{FF2B5EF4-FFF2-40B4-BE49-F238E27FC236}">
                  <a16:creationId xmlns:a16="http://schemas.microsoft.com/office/drawing/2014/main" id="{10100607-49A2-2D47-BA45-46A4B8279F34}"/>
                </a:ext>
              </a:extLst>
            </p:cNvPr>
            <p:cNvSpPr/>
            <p:nvPr/>
          </p:nvSpPr>
          <p:spPr>
            <a:xfrm rot="5400000">
              <a:off x="8182189" y="5504525"/>
              <a:ext cx="137354" cy="90376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289717324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Default title slide 1">
    <p:bg>
      <p:bgPr>
        <a:gradFill>
          <a:gsLst>
            <a:gs pos="0">
              <a:schemeClr val="bg1"/>
            </a:gs>
            <a:gs pos="41000">
              <a:schemeClr val="bg1"/>
            </a:gs>
            <a:gs pos="63000">
              <a:schemeClr val="bg2"/>
            </a:gs>
          </a:gsLst>
          <a:lin ang="1080000" scaled="0"/>
        </a:gra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77DF418-A9B4-B748-8DE9-21DBD7EA3747}"/>
              </a:ext>
            </a:extLst>
          </p:cNvPr>
          <p:cNvPicPr>
            <a:picLocks noChangeAspect="1"/>
          </p:cNvPicPr>
          <p:nvPr/>
        </p:nvPicPr>
        <p:blipFill>
          <a:blip r:embed="rId2" cstate="screen">
            <a:extLst>
              <a:ext uri="{28A0092B-C50C-407E-A947-70E740481C1C}">
                <a14:useLocalDpi xmlns:a14="http://schemas.microsoft.com/office/drawing/2010/main"/>
              </a:ext>
            </a:extLst>
          </a:blip>
          <a:srcRect l="2177" r="2177"/>
          <a:stretch>
            <a:fillRect/>
          </a:stretch>
        </p:blipFill>
        <p:spPr>
          <a:xfrm>
            <a:off x="5560459" y="1"/>
            <a:ext cx="6631541" cy="6857999"/>
          </a:xfrm>
          <a:custGeom>
            <a:avLst/>
            <a:gdLst>
              <a:gd name="connsiteX0" fmla="*/ 2183862 w 6631541"/>
              <a:gd name="connsiteY0" fmla="*/ 0 h 6857999"/>
              <a:gd name="connsiteX1" fmla="*/ 6631541 w 6631541"/>
              <a:gd name="connsiteY1" fmla="*/ 0 h 6857999"/>
              <a:gd name="connsiteX2" fmla="*/ 6631541 w 6631541"/>
              <a:gd name="connsiteY2" fmla="*/ 6857999 h 6857999"/>
              <a:gd name="connsiteX3" fmla="*/ 0 w 66315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6631541" h="6857999">
                <a:moveTo>
                  <a:pt x="2183862" y="0"/>
                </a:moveTo>
                <a:lnTo>
                  <a:pt x="6631541" y="0"/>
                </a:lnTo>
                <a:lnTo>
                  <a:pt x="6631541" y="6857999"/>
                </a:lnTo>
                <a:lnTo>
                  <a:pt x="0" y="6857999"/>
                </a:lnTo>
                <a:close/>
              </a:path>
            </a:pathLst>
          </a:custGeom>
        </p:spPr>
      </p:pic>
      <p:grpSp>
        <p:nvGrpSpPr>
          <p:cNvPr id="7" name="Group 6">
            <a:extLst>
              <a:ext uri="{FF2B5EF4-FFF2-40B4-BE49-F238E27FC236}">
                <a16:creationId xmlns:a16="http://schemas.microsoft.com/office/drawing/2014/main" id="{B1F511C6-A535-A245-B123-CC04435D2DAF}"/>
              </a:ext>
            </a:extLst>
          </p:cNvPr>
          <p:cNvGrpSpPr/>
          <p:nvPr/>
        </p:nvGrpSpPr>
        <p:grpSpPr>
          <a:xfrm>
            <a:off x="304799" y="0"/>
            <a:ext cx="2427681" cy="1044934"/>
            <a:chOff x="0" y="0"/>
            <a:chExt cx="2447693" cy="1053548"/>
          </a:xfrm>
        </p:grpSpPr>
        <p:sp>
          <p:nvSpPr>
            <p:cNvPr id="8" name="Parallelogram 7">
              <a:extLst>
                <a:ext uri="{FF2B5EF4-FFF2-40B4-BE49-F238E27FC236}">
                  <a16:creationId xmlns:a16="http://schemas.microsoft.com/office/drawing/2014/main" id="{6399281C-FD14-2942-9A9B-13B5E50B7517}"/>
                </a:ext>
              </a:extLst>
            </p:cNvPr>
            <p:cNvSpPr/>
            <p:nvPr/>
          </p:nvSpPr>
          <p:spPr bwMode="auto">
            <a:xfrm>
              <a:off x="0" y="0"/>
              <a:ext cx="2447693" cy="1053548"/>
            </a:xfrm>
            <a:prstGeom prst="parallelogram">
              <a:avLst>
                <a:gd name="adj" fmla="val 0"/>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a:latin typeface="Arial" pitchFamily="124" charset="0"/>
                </a:rPr>
                <a:t>               </a:t>
              </a:r>
            </a:p>
          </p:txBody>
        </p:sp>
        <p:pic>
          <p:nvPicPr>
            <p:cNvPr id="9" name="Picture 8">
              <a:extLst>
                <a:ext uri="{FF2B5EF4-FFF2-40B4-BE49-F238E27FC236}">
                  <a16:creationId xmlns:a16="http://schemas.microsoft.com/office/drawing/2014/main" id="{7D60AD95-BD80-6049-9976-D024EC4ECDE8}"/>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35820" y="154984"/>
              <a:ext cx="2178058" cy="756021"/>
            </a:xfrm>
            <a:prstGeom prst="rect">
              <a:avLst/>
            </a:prstGeom>
          </p:spPr>
        </p:pic>
      </p:grpSp>
      <p:grpSp>
        <p:nvGrpSpPr>
          <p:cNvPr id="29" name="Group 28" hidden="1">
            <a:extLst>
              <a:ext uri="{FF2B5EF4-FFF2-40B4-BE49-F238E27FC236}">
                <a16:creationId xmlns:a16="http://schemas.microsoft.com/office/drawing/2014/main" id="{C22F9FBA-8765-F543-9501-7F99893993AB}"/>
              </a:ext>
            </a:extLst>
          </p:cNvPr>
          <p:cNvGrpSpPr/>
          <p:nvPr/>
        </p:nvGrpSpPr>
        <p:grpSpPr>
          <a:xfrm>
            <a:off x="283193" y="5970590"/>
            <a:ext cx="5053203" cy="441233"/>
            <a:chOff x="5155556" y="6168462"/>
            <a:chExt cx="5053203" cy="441233"/>
          </a:xfrm>
        </p:grpSpPr>
        <p:sp>
          <p:nvSpPr>
            <p:cNvPr id="30" name="TextBox 29">
              <a:extLst>
                <a:ext uri="{FF2B5EF4-FFF2-40B4-BE49-F238E27FC236}">
                  <a16:creationId xmlns:a16="http://schemas.microsoft.com/office/drawing/2014/main" id="{AA7B3D6A-876F-BF4D-9180-BC91EE9697B0}"/>
                </a:ext>
              </a:extLst>
            </p:cNvPr>
            <p:cNvSpPr txBox="1"/>
            <p:nvPr/>
          </p:nvSpPr>
          <p:spPr>
            <a:xfrm>
              <a:off x="5656050" y="6168462"/>
              <a:ext cx="4552709" cy="441233"/>
            </a:xfrm>
            <a:prstGeom prst="rect">
              <a:avLst/>
            </a:prstGeom>
            <a:noFill/>
          </p:spPr>
          <p:txBody>
            <a:bodyPr vert="horz" wrap="square" lIns="0" tIns="0" rIns="0" bIns="0" rtlCol="0" anchor="ctr" anchorCtr="0">
              <a:noAutofit/>
            </a:bodyPr>
            <a:lstStyle/>
            <a:p>
              <a:pPr algn="l"/>
              <a:r>
                <a:rPr lang="en-US" sz="2000">
                  <a:solidFill>
                    <a:schemeClr val="tx1"/>
                  </a:solidFill>
                  <a:latin typeface="Arial"/>
                </a:rPr>
                <a:t>The world leader in serving science</a:t>
              </a:r>
            </a:p>
          </p:txBody>
        </p:sp>
        <p:sp>
          <p:nvSpPr>
            <p:cNvPr id="31" name="Parallelogram 30">
              <a:extLst>
                <a:ext uri="{FF2B5EF4-FFF2-40B4-BE49-F238E27FC236}">
                  <a16:creationId xmlns:a16="http://schemas.microsoft.com/office/drawing/2014/main" id="{05D00626-6EB1-244B-9ADB-13C2AE5E1907}"/>
                </a:ext>
              </a:extLst>
            </p:cNvPr>
            <p:cNvSpPr/>
            <p:nvPr/>
          </p:nvSpPr>
          <p:spPr bwMode="auto">
            <a:xfrm>
              <a:off x="5155556" y="6302295"/>
              <a:ext cx="310510" cy="188737"/>
            </a:xfrm>
            <a:prstGeom prst="parallelogram">
              <a:avLst>
                <a:gd name="adj" fmla="val 31844"/>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a:latin typeface="Arial" pitchFamily="124" charset="0"/>
                </a:rPr>
                <a:t>               </a:t>
              </a:r>
            </a:p>
          </p:txBody>
        </p:sp>
      </p:grpSp>
      <p:sp>
        <p:nvSpPr>
          <p:cNvPr id="2" name="Footer Placeholder 1">
            <a:extLst>
              <a:ext uri="{FF2B5EF4-FFF2-40B4-BE49-F238E27FC236}">
                <a16:creationId xmlns:a16="http://schemas.microsoft.com/office/drawing/2014/main" id="{BA129332-E471-D44D-8711-996E85A9EE29}"/>
              </a:ext>
            </a:extLst>
          </p:cNvPr>
          <p:cNvSpPr>
            <a:spLocks noGrp="1"/>
          </p:cNvSpPr>
          <p:nvPr>
            <p:ph type="ftr" sz="quarter" idx="11"/>
          </p:nvPr>
        </p:nvSpPr>
        <p:spPr>
          <a:xfrm>
            <a:off x="304800" y="6553200"/>
            <a:ext cx="5791200" cy="304799"/>
          </a:xfrm>
        </p:spPr>
        <p:txBody>
          <a:bodyPr/>
          <a:lstStyle/>
          <a:p>
            <a:r>
              <a:rPr lang="en-US"/>
              <a:t>Proprietary &amp; Confidential |  authoremail@thermofisher.com | 12-April-2021</a:t>
            </a:r>
          </a:p>
        </p:txBody>
      </p:sp>
      <p:sp>
        <p:nvSpPr>
          <p:cNvPr id="3" name="Slide Number Placeholder 2">
            <a:extLst>
              <a:ext uri="{FF2B5EF4-FFF2-40B4-BE49-F238E27FC236}">
                <a16:creationId xmlns:a16="http://schemas.microsoft.com/office/drawing/2014/main" id="{B4F77913-5D2C-C141-AB22-388096EB8230}"/>
              </a:ext>
            </a:extLst>
          </p:cNvPr>
          <p:cNvSpPr>
            <a:spLocks noGrp="1"/>
          </p:cNvSpPr>
          <p:nvPr>
            <p:ph type="sldNum" sz="quarter" idx="12"/>
          </p:nvPr>
        </p:nvSpPr>
        <p:spPr/>
        <p:txBody>
          <a:bodyPr/>
          <a:lstStyle/>
          <a:p>
            <a:fld id="{89006F1E-66CD-4A4B-9370-B4A3080F0E6C}" type="slidenum">
              <a:rPr lang="en-US" smtClean="0"/>
              <a:pPr/>
              <a:t>‹#›</a:t>
            </a:fld>
            <a:endParaRPr lang="en-US"/>
          </a:p>
        </p:txBody>
      </p:sp>
      <p:sp>
        <p:nvSpPr>
          <p:cNvPr id="15" name="Text Placeholder 15">
            <a:extLst>
              <a:ext uri="{FF2B5EF4-FFF2-40B4-BE49-F238E27FC236}">
                <a16:creationId xmlns:a16="http://schemas.microsoft.com/office/drawing/2014/main" id="{8209BE38-5C75-4E48-AACA-BEDC106131D5}"/>
              </a:ext>
            </a:extLst>
          </p:cNvPr>
          <p:cNvSpPr>
            <a:spLocks noGrp="1"/>
          </p:cNvSpPr>
          <p:nvPr>
            <p:ph type="body" sz="quarter" idx="10" hasCustomPrompt="1"/>
          </p:nvPr>
        </p:nvSpPr>
        <p:spPr>
          <a:xfrm>
            <a:off x="304800" y="3986729"/>
            <a:ext cx="5791199" cy="308120"/>
          </a:xfrm>
          <a:prstGeom prst="rect">
            <a:avLst/>
          </a:prstGeom>
        </p:spPr>
        <p:txBody>
          <a:bodyPr lIns="0" tIns="0" rIns="0" bIns="0" anchor="b">
            <a:normAutofit/>
          </a:bodyPr>
          <a:lstStyle>
            <a:lvl1pPr marL="0" indent="0">
              <a:spcBef>
                <a:spcPts val="0"/>
              </a:spcBef>
              <a:spcAft>
                <a:spcPts val="0"/>
              </a:spcAft>
              <a:buFontTx/>
              <a:buNone/>
              <a:defRPr lang="en-US" sz="1600" b="1" kern="1200" baseline="0" dirty="0">
                <a:solidFill>
                  <a:schemeClr val="tx2"/>
                </a:solidFill>
                <a:latin typeface="+mn-lt"/>
                <a:ea typeface="+mn-ea"/>
                <a:cs typeface="+mn-cs"/>
              </a:defRPr>
            </a:lvl1pPr>
            <a:lvl2pPr marL="114300" indent="4763">
              <a:spcAft>
                <a:spcPts val="0"/>
              </a:spcAft>
              <a:buFontTx/>
              <a:buNone/>
              <a:defRPr sz="1400" i="1" baseline="0">
                <a:solidFill>
                  <a:schemeClr val="tx1"/>
                </a:solidFill>
              </a:defRPr>
            </a:lvl2pPr>
          </a:lstStyle>
          <a:p>
            <a:pPr marL="287338" lvl="0" indent="-287338" algn="l" defTabSz="914400" rtl="0" eaLnBrk="1" latinLnBrk="0" hangingPunct="1">
              <a:lnSpc>
                <a:spcPct val="120000"/>
              </a:lnSpc>
              <a:spcBef>
                <a:spcPts val="0"/>
              </a:spcBef>
              <a:spcAft>
                <a:spcPts val="0"/>
              </a:spcAft>
              <a:buClr>
                <a:schemeClr val="tx2"/>
              </a:buClr>
              <a:buSzPct val="100000"/>
              <a:buFontTx/>
              <a:buNone/>
              <a:tabLst/>
            </a:pPr>
            <a:r>
              <a:rPr lang="en-US"/>
              <a:t>Presenter name [16pt Arial] </a:t>
            </a:r>
          </a:p>
        </p:txBody>
      </p:sp>
      <p:sp>
        <p:nvSpPr>
          <p:cNvPr id="16" name="Title 16">
            <a:extLst>
              <a:ext uri="{FF2B5EF4-FFF2-40B4-BE49-F238E27FC236}">
                <a16:creationId xmlns:a16="http://schemas.microsoft.com/office/drawing/2014/main" id="{B2B8D3D1-6FA6-C04D-951C-FD0E7458C808}"/>
              </a:ext>
            </a:extLst>
          </p:cNvPr>
          <p:cNvSpPr>
            <a:spLocks noGrp="1"/>
          </p:cNvSpPr>
          <p:nvPr>
            <p:ph type="title" hasCustomPrompt="1"/>
          </p:nvPr>
        </p:nvSpPr>
        <p:spPr>
          <a:xfrm>
            <a:off x="304801" y="1269531"/>
            <a:ext cx="5791199" cy="2071868"/>
          </a:xfrm>
          <a:prstGeom prst="rect">
            <a:avLst/>
          </a:prstGeom>
          <a:noFill/>
        </p:spPr>
        <p:txBody>
          <a:bodyPr wrap="square" lIns="0" tIns="0" rIns="0" bIns="0" anchor="b">
            <a:noAutofit/>
          </a:bodyPr>
          <a:lstStyle>
            <a:lvl1pPr algn="l" defTabSz="914400" rtl="0" eaLnBrk="1" latinLnBrk="0" hangingPunct="1">
              <a:lnSpc>
                <a:spcPts val="3100"/>
              </a:lnSpc>
              <a:spcBef>
                <a:spcPct val="0"/>
              </a:spcBef>
              <a:buNone/>
              <a:defRPr lang="en-US" sz="2800" b="1" kern="1200" dirty="0">
                <a:solidFill>
                  <a:schemeClr val="accent5"/>
                </a:solidFill>
                <a:latin typeface="+mj-lt"/>
                <a:ea typeface="+mj-ea"/>
                <a:cs typeface="+mj-cs"/>
              </a:defRPr>
            </a:lvl1pPr>
          </a:lstStyle>
          <a:p>
            <a:r>
              <a:rPr lang="en-US"/>
              <a:t>Title [28pt Arial Bold] </a:t>
            </a:r>
          </a:p>
        </p:txBody>
      </p:sp>
      <p:sp>
        <p:nvSpPr>
          <p:cNvPr id="21" name="Text Placeholder 15">
            <a:extLst>
              <a:ext uri="{FF2B5EF4-FFF2-40B4-BE49-F238E27FC236}">
                <a16:creationId xmlns:a16="http://schemas.microsoft.com/office/drawing/2014/main" id="{046B4CC3-134E-7548-B9F5-FA5784CFD5AE}"/>
              </a:ext>
            </a:extLst>
          </p:cNvPr>
          <p:cNvSpPr>
            <a:spLocks noGrp="1"/>
          </p:cNvSpPr>
          <p:nvPr>
            <p:ph type="body" sz="quarter" idx="14" hasCustomPrompt="1"/>
          </p:nvPr>
        </p:nvSpPr>
        <p:spPr>
          <a:xfrm>
            <a:off x="304800" y="4338667"/>
            <a:ext cx="5791199" cy="678473"/>
          </a:xfrm>
          <a:prstGeom prst="rect">
            <a:avLst/>
          </a:prstGeom>
        </p:spPr>
        <p:txBody>
          <a:bodyPr lIns="0" tIns="0" rIns="0" bIns="0" anchor="t">
            <a:normAutofit/>
          </a:bodyPr>
          <a:lstStyle>
            <a:lvl1pPr marL="0" marR="0" indent="0" algn="l" defTabSz="914400" rtl="0" eaLnBrk="1" fontAlgn="auto" latinLnBrk="0" hangingPunct="1">
              <a:lnSpc>
                <a:spcPct val="120000"/>
              </a:lnSpc>
              <a:spcBef>
                <a:spcPts val="0"/>
              </a:spcBef>
              <a:spcAft>
                <a:spcPts val="0"/>
              </a:spcAft>
              <a:buClr>
                <a:schemeClr val="accent4"/>
              </a:buClr>
              <a:buSzPct val="100000"/>
              <a:buFontTx/>
              <a:buNone/>
              <a:tabLst/>
              <a:defRPr lang="en-US" sz="1400" b="0" kern="1200" baseline="0" dirty="0">
                <a:solidFill>
                  <a:schemeClr val="accent5"/>
                </a:solidFill>
                <a:latin typeface="+mn-lt"/>
                <a:ea typeface="+mn-ea"/>
                <a:cs typeface="+mn-cs"/>
              </a:defRPr>
            </a:lvl1pPr>
            <a:lvl2pPr marL="114300" indent="4763">
              <a:spcAft>
                <a:spcPts val="0"/>
              </a:spcAft>
              <a:buFontTx/>
              <a:buNone/>
              <a:defRPr sz="1400" i="1" baseline="0">
                <a:solidFill>
                  <a:schemeClr val="tx1"/>
                </a:solidFill>
              </a:defRPr>
            </a:lvl2pPr>
          </a:lstStyle>
          <a:p>
            <a:pPr marL="411480" marR="0" lvl="0" indent="-411480" algn="l" defTabSz="914400" rtl="0" eaLnBrk="1" fontAlgn="auto" latinLnBrk="0" hangingPunct="1">
              <a:lnSpc>
                <a:spcPct val="120000"/>
              </a:lnSpc>
              <a:spcBef>
                <a:spcPts val="0"/>
              </a:spcBef>
              <a:spcAft>
                <a:spcPts val="0"/>
              </a:spcAft>
              <a:buClr>
                <a:schemeClr val="accent4"/>
              </a:buClr>
              <a:buSzPct val="100000"/>
              <a:buFontTx/>
              <a:buNone/>
              <a:tabLst/>
              <a:defRPr/>
            </a:pPr>
            <a:r>
              <a:rPr lang="en-US"/>
              <a:t>Presenter Title [14pt Arial]</a:t>
            </a:r>
            <a:br>
              <a:rPr lang="en-US"/>
            </a:br>
            <a:endParaRPr lang="en-US"/>
          </a:p>
        </p:txBody>
      </p:sp>
      <p:sp>
        <p:nvSpPr>
          <p:cNvPr id="14" name="Rectangle 13">
            <a:extLst>
              <a:ext uri="{FF2B5EF4-FFF2-40B4-BE49-F238E27FC236}">
                <a16:creationId xmlns:a16="http://schemas.microsoft.com/office/drawing/2014/main" id="{90041748-99FD-4933-B386-2405FB29EE3C}"/>
              </a:ext>
            </a:extLst>
          </p:cNvPr>
          <p:cNvSpPr/>
          <p:nvPr userDrawn="1"/>
        </p:nvSpPr>
        <p:spPr>
          <a:xfrm>
            <a:off x="350896" y="3366854"/>
            <a:ext cx="4963419" cy="400110"/>
          </a:xfrm>
          <a:prstGeom prst="rect">
            <a:avLst/>
          </a:prstGeom>
        </p:spPr>
        <p:txBody>
          <a:bodyPr wrap="square" lIns="0" rIns="182880">
            <a:spAutoFit/>
          </a:bodyPr>
          <a:lstStyle/>
          <a:p>
            <a:pPr algn="l"/>
            <a:r>
              <a:rPr lang="en-US" sz="2000" b="0">
                <a:solidFill>
                  <a:schemeClr val="bg2">
                    <a:lumMod val="75000"/>
                  </a:schemeClr>
                </a:solidFill>
              </a:rPr>
              <a:t>2021 SPBD Annual Team Meeting</a:t>
            </a:r>
            <a:endParaRPr lang="en-US" sz="1200" b="0">
              <a:solidFill>
                <a:schemeClr val="bg2">
                  <a:lumMod val="75000"/>
                </a:schemeClr>
              </a:solidFill>
            </a:endParaRPr>
          </a:p>
        </p:txBody>
      </p:sp>
      <p:grpSp>
        <p:nvGrpSpPr>
          <p:cNvPr id="18" name="Group 17">
            <a:extLst>
              <a:ext uri="{FF2B5EF4-FFF2-40B4-BE49-F238E27FC236}">
                <a16:creationId xmlns:a16="http://schemas.microsoft.com/office/drawing/2014/main" id="{31B41616-2484-432E-BEA6-CBFF38BD5DBB}"/>
              </a:ext>
            </a:extLst>
          </p:cNvPr>
          <p:cNvGrpSpPr>
            <a:grpSpLocks noChangeAspect="1"/>
          </p:cNvGrpSpPr>
          <p:nvPr userDrawn="1"/>
        </p:nvGrpSpPr>
        <p:grpSpPr>
          <a:xfrm>
            <a:off x="2023991" y="5377505"/>
            <a:ext cx="10058400" cy="647810"/>
            <a:chOff x="3229113" y="-415610"/>
            <a:chExt cx="3987800" cy="256833"/>
          </a:xfrm>
          <a:solidFill>
            <a:schemeClr val="bg1"/>
          </a:solidFill>
        </p:grpSpPr>
        <p:grpSp>
          <p:nvGrpSpPr>
            <p:cNvPr id="19" name="Group 18">
              <a:extLst>
                <a:ext uri="{FF2B5EF4-FFF2-40B4-BE49-F238E27FC236}">
                  <a16:creationId xmlns:a16="http://schemas.microsoft.com/office/drawing/2014/main" id="{B86F2EC4-7A07-4BB7-B580-16FBE6EC97F8}"/>
                </a:ext>
              </a:extLst>
            </p:cNvPr>
            <p:cNvGrpSpPr/>
            <p:nvPr/>
          </p:nvGrpSpPr>
          <p:grpSpPr>
            <a:xfrm>
              <a:off x="3229113" y="-393873"/>
              <a:ext cx="1497283" cy="217336"/>
              <a:chOff x="3229113" y="-393873"/>
              <a:chExt cx="1497283" cy="217336"/>
            </a:xfrm>
            <a:grpFill/>
          </p:grpSpPr>
          <p:sp>
            <p:nvSpPr>
              <p:cNvPr id="117" name="Freeform: Shape 116">
                <a:extLst>
                  <a:ext uri="{FF2B5EF4-FFF2-40B4-BE49-F238E27FC236}">
                    <a16:creationId xmlns:a16="http://schemas.microsoft.com/office/drawing/2014/main" id="{246AC066-70F7-4178-9D4E-B22DB0623036}"/>
                  </a:ext>
                </a:extLst>
              </p:cNvPr>
              <p:cNvSpPr/>
              <p:nvPr/>
            </p:nvSpPr>
            <p:spPr>
              <a:xfrm>
                <a:off x="3229113" y="-389654"/>
                <a:ext cx="189209" cy="208335"/>
              </a:xfrm>
              <a:custGeom>
                <a:avLst/>
                <a:gdLst>
                  <a:gd name="connsiteX0" fmla="*/ 101094 w 189209"/>
                  <a:gd name="connsiteY0" fmla="*/ 158472 h 208335"/>
                  <a:gd name="connsiteX1" fmla="*/ 125001 w 189209"/>
                  <a:gd name="connsiteY1" fmla="*/ 138663 h 208335"/>
                  <a:gd name="connsiteX2" fmla="*/ 103826 w 189209"/>
                  <a:gd name="connsiteY2" fmla="*/ 119537 h 208335"/>
                  <a:gd name="connsiteX3" fmla="*/ 62842 w 189209"/>
                  <a:gd name="connsiteY3" fmla="*/ 119537 h 208335"/>
                  <a:gd name="connsiteX4" fmla="*/ 62842 w 189209"/>
                  <a:gd name="connsiteY4" fmla="*/ 158472 h 208335"/>
                  <a:gd name="connsiteX5" fmla="*/ 101094 w 189209"/>
                  <a:gd name="connsiteY5" fmla="*/ 158472 h 208335"/>
                  <a:gd name="connsiteX6" fmla="*/ 97679 w 189209"/>
                  <a:gd name="connsiteY6" fmla="*/ 80602 h 208335"/>
                  <a:gd name="connsiteX7" fmla="*/ 118171 w 189209"/>
                  <a:gd name="connsiteY7" fmla="*/ 63525 h 208335"/>
                  <a:gd name="connsiteX8" fmla="*/ 96996 w 189209"/>
                  <a:gd name="connsiteY8" fmla="*/ 49181 h 208335"/>
                  <a:gd name="connsiteX9" fmla="*/ 62842 w 189209"/>
                  <a:gd name="connsiteY9" fmla="*/ 49181 h 208335"/>
                  <a:gd name="connsiteX10" fmla="*/ 62842 w 189209"/>
                  <a:gd name="connsiteY10" fmla="*/ 80602 h 208335"/>
                  <a:gd name="connsiteX11" fmla="*/ 97679 w 189209"/>
                  <a:gd name="connsiteY11" fmla="*/ 80602 h 208335"/>
                  <a:gd name="connsiteX12" fmla="*/ 113389 w 189209"/>
                  <a:gd name="connsiteY12" fmla="*/ 0 h 208335"/>
                  <a:gd name="connsiteX13" fmla="*/ 178281 w 189209"/>
                  <a:gd name="connsiteY13" fmla="*/ 51913 h 208335"/>
                  <a:gd name="connsiteX14" fmla="*/ 153007 w 189209"/>
                  <a:gd name="connsiteY14" fmla="*/ 92897 h 208335"/>
                  <a:gd name="connsiteX15" fmla="*/ 189210 w 189209"/>
                  <a:gd name="connsiteY15" fmla="*/ 144810 h 208335"/>
                  <a:gd name="connsiteX16" fmla="*/ 168718 w 189209"/>
                  <a:gd name="connsiteY16" fmla="*/ 190576 h 208335"/>
                  <a:gd name="connsiteX17" fmla="*/ 117488 w 189209"/>
                  <a:gd name="connsiteY17" fmla="*/ 208336 h 208335"/>
                  <a:gd name="connsiteX18" fmla="*/ 0 w 189209"/>
                  <a:gd name="connsiteY18" fmla="*/ 208336 h 208335"/>
                  <a:gd name="connsiteX19" fmla="*/ 0 w 189209"/>
                  <a:gd name="connsiteY19" fmla="*/ 0 h 208335"/>
                  <a:gd name="connsiteX20" fmla="*/ 113389 w 189209"/>
                  <a:gd name="connsiteY20" fmla="*/ 0 h 208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89209" h="208335">
                    <a:moveTo>
                      <a:pt x="101094" y="158472"/>
                    </a:moveTo>
                    <a:cubicBezTo>
                      <a:pt x="116805" y="158472"/>
                      <a:pt x="125001" y="151641"/>
                      <a:pt x="125001" y="138663"/>
                    </a:cubicBezTo>
                    <a:cubicBezTo>
                      <a:pt x="125001" y="126368"/>
                      <a:pt x="116805" y="119537"/>
                      <a:pt x="103826" y="119537"/>
                    </a:cubicBezTo>
                    <a:lnTo>
                      <a:pt x="62842" y="119537"/>
                    </a:lnTo>
                    <a:lnTo>
                      <a:pt x="62842" y="158472"/>
                    </a:lnTo>
                    <a:lnTo>
                      <a:pt x="101094" y="158472"/>
                    </a:lnTo>
                    <a:close/>
                    <a:moveTo>
                      <a:pt x="97679" y="80602"/>
                    </a:moveTo>
                    <a:cubicBezTo>
                      <a:pt x="112023" y="80602"/>
                      <a:pt x="118171" y="75821"/>
                      <a:pt x="118171" y="63525"/>
                    </a:cubicBezTo>
                    <a:cubicBezTo>
                      <a:pt x="118171" y="53279"/>
                      <a:pt x="109974" y="49181"/>
                      <a:pt x="96996" y="49181"/>
                    </a:cubicBezTo>
                    <a:lnTo>
                      <a:pt x="62842" y="49181"/>
                    </a:lnTo>
                    <a:lnTo>
                      <a:pt x="62842" y="80602"/>
                    </a:lnTo>
                    <a:lnTo>
                      <a:pt x="97679" y="80602"/>
                    </a:lnTo>
                    <a:close/>
                    <a:moveTo>
                      <a:pt x="113389" y="0"/>
                    </a:moveTo>
                    <a:cubicBezTo>
                      <a:pt x="154373" y="0"/>
                      <a:pt x="178281" y="19809"/>
                      <a:pt x="178281" y="51913"/>
                    </a:cubicBezTo>
                    <a:cubicBezTo>
                      <a:pt x="178281" y="71039"/>
                      <a:pt x="170084" y="83334"/>
                      <a:pt x="153007" y="92897"/>
                    </a:cubicBezTo>
                    <a:cubicBezTo>
                      <a:pt x="176231" y="101094"/>
                      <a:pt x="189210" y="118854"/>
                      <a:pt x="189210" y="144810"/>
                    </a:cubicBezTo>
                    <a:cubicBezTo>
                      <a:pt x="189210" y="163936"/>
                      <a:pt x="182379" y="178964"/>
                      <a:pt x="168718" y="190576"/>
                    </a:cubicBezTo>
                    <a:cubicBezTo>
                      <a:pt x="154373" y="202188"/>
                      <a:pt x="137297" y="208336"/>
                      <a:pt x="117488" y="208336"/>
                    </a:cubicBezTo>
                    <a:lnTo>
                      <a:pt x="0" y="208336"/>
                    </a:lnTo>
                    <a:lnTo>
                      <a:pt x="0" y="0"/>
                    </a:lnTo>
                    <a:lnTo>
                      <a:pt x="113389" y="0"/>
                    </a:lnTo>
                    <a:close/>
                  </a:path>
                </a:pathLst>
              </a:custGeom>
              <a:solidFill>
                <a:schemeClr val="accent5"/>
              </a:solidFill>
              <a:ln w="6825" cap="flat">
                <a:noFill/>
                <a:prstDash val="solid"/>
                <a:miter/>
              </a:ln>
            </p:spPr>
            <p:txBody>
              <a:bodyPr rtlCol="0" anchor="ctr"/>
              <a:lstStyle/>
              <a:p>
                <a:endParaRPr lang="en-US"/>
              </a:p>
            </p:txBody>
          </p:sp>
          <p:sp>
            <p:nvSpPr>
              <p:cNvPr id="118" name="Freeform: Shape 117">
                <a:extLst>
                  <a:ext uri="{FF2B5EF4-FFF2-40B4-BE49-F238E27FC236}">
                    <a16:creationId xmlns:a16="http://schemas.microsoft.com/office/drawing/2014/main" id="{7E029B18-E0B2-49F2-8D9A-7102ED3B0BDA}"/>
                  </a:ext>
                </a:extLst>
              </p:cNvPr>
              <p:cNvSpPr/>
              <p:nvPr/>
            </p:nvSpPr>
            <p:spPr>
              <a:xfrm>
                <a:off x="3494826" y="-393873"/>
                <a:ext cx="209701" cy="217336"/>
              </a:xfrm>
              <a:custGeom>
                <a:avLst/>
                <a:gdLst>
                  <a:gd name="connsiteX0" fmla="*/ 104509 w 209701"/>
                  <a:gd name="connsiteY0" fmla="*/ 165423 h 217336"/>
                  <a:gd name="connsiteX1" fmla="*/ 145494 w 209701"/>
                  <a:gd name="connsiteY1" fmla="*/ 108046 h 217336"/>
                  <a:gd name="connsiteX2" fmla="*/ 103826 w 209701"/>
                  <a:gd name="connsiteY2" fmla="*/ 50668 h 217336"/>
                  <a:gd name="connsiteX3" fmla="*/ 62842 w 209701"/>
                  <a:gd name="connsiteY3" fmla="*/ 108046 h 217336"/>
                  <a:gd name="connsiteX4" fmla="*/ 104509 w 209701"/>
                  <a:gd name="connsiteY4" fmla="*/ 165423 h 217336"/>
                  <a:gd name="connsiteX5" fmla="*/ 181013 w 209701"/>
                  <a:gd name="connsiteY5" fmla="*/ 29493 h 217336"/>
                  <a:gd name="connsiteX6" fmla="*/ 209702 w 209701"/>
                  <a:gd name="connsiteY6" fmla="*/ 108046 h 217336"/>
                  <a:gd name="connsiteX7" fmla="*/ 181013 w 209701"/>
                  <a:gd name="connsiteY7" fmla="*/ 186598 h 217336"/>
                  <a:gd name="connsiteX8" fmla="*/ 105192 w 209701"/>
                  <a:gd name="connsiteY8" fmla="*/ 217336 h 217336"/>
                  <a:gd name="connsiteX9" fmla="*/ 29372 w 209701"/>
                  <a:gd name="connsiteY9" fmla="*/ 187282 h 217336"/>
                  <a:gd name="connsiteX10" fmla="*/ 0 w 209701"/>
                  <a:gd name="connsiteY10" fmla="*/ 108729 h 217336"/>
                  <a:gd name="connsiteX11" fmla="*/ 28689 w 209701"/>
                  <a:gd name="connsiteY11" fmla="*/ 30176 h 217336"/>
                  <a:gd name="connsiteX12" fmla="*/ 104509 w 209701"/>
                  <a:gd name="connsiteY12" fmla="*/ 121 h 217336"/>
                  <a:gd name="connsiteX13" fmla="*/ 181013 w 209701"/>
                  <a:gd name="connsiteY13" fmla="*/ 29493 h 217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9701" h="217336">
                    <a:moveTo>
                      <a:pt x="104509" y="165423"/>
                    </a:moveTo>
                    <a:cubicBezTo>
                      <a:pt x="129100" y="165423"/>
                      <a:pt x="145494" y="145614"/>
                      <a:pt x="145494" y="108046"/>
                    </a:cubicBezTo>
                    <a:cubicBezTo>
                      <a:pt x="145494" y="69794"/>
                      <a:pt x="127734" y="50668"/>
                      <a:pt x="103826" y="50668"/>
                    </a:cubicBezTo>
                    <a:cubicBezTo>
                      <a:pt x="81285" y="50668"/>
                      <a:pt x="62842" y="69794"/>
                      <a:pt x="62842" y="108046"/>
                    </a:cubicBezTo>
                    <a:cubicBezTo>
                      <a:pt x="63525" y="145614"/>
                      <a:pt x="80602" y="165423"/>
                      <a:pt x="104509" y="165423"/>
                    </a:cubicBezTo>
                    <a:moveTo>
                      <a:pt x="181013" y="29493"/>
                    </a:moveTo>
                    <a:cubicBezTo>
                      <a:pt x="200139" y="49302"/>
                      <a:pt x="209702" y="77991"/>
                      <a:pt x="209702" y="108046"/>
                    </a:cubicBezTo>
                    <a:cubicBezTo>
                      <a:pt x="209702" y="140150"/>
                      <a:pt x="200139" y="166106"/>
                      <a:pt x="181013" y="186598"/>
                    </a:cubicBezTo>
                    <a:cubicBezTo>
                      <a:pt x="161887" y="207090"/>
                      <a:pt x="135930" y="217336"/>
                      <a:pt x="105192" y="217336"/>
                    </a:cubicBezTo>
                    <a:cubicBezTo>
                      <a:pt x="74454" y="217336"/>
                      <a:pt x="49181" y="207774"/>
                      <a:pt x="29372" y="187282"/>
                    </a:cubicBezTo>
                    <a:cubicBezTo>
                      <a:pt x="9563" y="166790"/>
                      <a:pt x="0" y="139467"/>
                      <a:pt x="0" y="108729"/>
                    </a:cubicBezTo>
                    <a:cubicBezTo>
                      <a:pt x="0" y="78674"/>
                      <a:pt x="9563" y="50668"/>
                      <a:pt x="28689" y="30176"/>
                    </a:cubicBezTo>
                    <a:cubicBezTo>
                      <a:pt x="47815" y="10367"/>
                      <a:pt x="75137" y="121"/>
                      <a:pt x="104509" y="121"/>
                    </a:cubicBezTo>
                    <a:cubicBezTo>
                      <a:pt x="134564" y="-1245"/>
                      <a:pt x="161204" y="9001"/>
                      <a:pt x="181013" y="29493"/>
                    </a:cubicBezTo>
                  </a:path>
                </a:pathLst>
              </a:custGeom>
              <a:solidFill>
                <a:schemeClr val="accent5"/>
              </a:solidFill>
              <a:ln w="6825" cap="flat">
                <a:noFill/>
                <a:prstDash val="solid"/>
                <a:miter/>
              </a:ln>
            </p:spPr>
            <p:txBody>
              <a:bodyPr rtlCol="0" anchor="ctr"/>
              <a:lstStyle/>
              <a:p>
                <a:endParaRPr lang="en-US"/>
              </a:p>
            </p:txBody>
          </p:sp>
          <p:sp>
            <p:nvSpPr>
              <p:cNvPr id="119" name="Freeform: Shape 118">
                <a:extLst>
                  <a:ext uri="{FF2B5EF4-FFF2-40B4-BE49-F238E27FC236}">
                    <a16:creationId xmlns:a16="http://schemas.microsoft.com/office/drawing/2014/main" id="{915DFA2E-81EC-4BEA-9E36-47D79659E3CD}"/>
                  </a:ext>
                </a:extLst>
              </p:cNvPr>
              <p:cNvSpPr/>
              <p:nvPr/>
            </p:nvSpPr>
            <p:spPr>
              <a:xfrm>
                <a:off x="3789228" y="-390337"/>
                <a:ext cx="155056" cy="209018"/>
              </a:xfrm>
              <a:custGeom>
                <a:avLst/>
                <a:gdLst>
                  <a:gd name="connsiteX0" fmla="*/ 63525 w 155056"/>
                  <a:gd name="connsiteY0" fmla="*/ 0 h 209018"/>
                  <a:gd name="connsiteX1" fmla="*/ 63525 w 155056"/>
                  <a:gd name="connsiteY1" fmla="*/ 155056 h 209018"/>
                  <a:gd name="connsiteX2" fmla="*/ 155056 w 155056"/>
                  <a:gd name="connsiteY2" fmla="*/ 155056 h 209018"/>
                  <a:gd name="connsiteX3" fmla="*/ 155056 w 155056"/>
                  <a:gd name="connsiteY3" fmla="*/ 208336 h 209018"/>
                  <a:gd name="connsiteX4" fmla="*/ 0 w 155056"/>
                  <a:gd name="connsiteY4" fmla="*/ 209019 h 209018"/>
                  <a:gd name="connsiteX5" fmla="*/ 0 w 155056"/>
                  <a:gd name="connsiteY5" fmla="*/ 0 h 209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056" h="209018">
                    <a:moveTo>
                      <a:pt x="63525" y="0"/>
                    </a:moveTo>
                    <a:lnTo>
                      <a:pt x="63525" y="155056"/>
                    </a:lnTo>
                    <a:lnTo>
                      <a:pt x="155056" y="155056"/>
                    </a:lnTo>
                    <a:lnTo>
                      <a:pt x="155056" y="208336"/>
                    </a:lnTo>
                    <a:lnTo>
                      <a:pt x="0" y="209019"/>
                    </a:lnTo>
                    <a:lnTo>
                      <a:pt x="0" y="0"/>
                    </a:lnTo>
                    <a:close/>
                  </a:path>
                </a:pathLst>
              </a:custGeom>
              <a:solidFill>
                <a:schemeClr val="accent5"/>
              </a:solidFill>
              <a:ln w="6825" cap="flat">
                <a:noFill/>
                <a:prstDash val="solid"/>
                <a:miter/>
              </a:ln>
            </p:spPr>
            <p:txBody>
              <a:bodyPr rtlCol="0" anchor="ctr"/>
              <a:lstStyle/>
              <a:p>
                <a:endParaRPr lang="en-US"/>
              </a:p>
            </p:txBody>
          </p:sp>
          <p:sp>
            <p:nvSpPr>
              <p:cNvPr id="120" name="Freeform: Shape 119">
                <a:extLst>
                  <a:ext uri="{FF2B5EF4-FFF2-40B4-BE49-F238E27FC236}">
                    <a16:creationId xmlns:a16="http://schemas.microsoft.com/office/drawing/2014/main" id="{FC8FC4B4-ED73-45A7-AB4D-225A943D6EBE}"/>
                  </a:ext>
                </a:extLst>
              </p:cNvPr>
              <p:cNvSpPr/>
              <p:nvPr/>
            </p:nvSpPr>
            <p:spPr>
              <a:xfrm>
                <a:off x="4029668" y="-390337"/>
                <a:ext cx="197406" cy="208335"/>
              </a:xfrm>
              <a:custGeom>
                <a:avLst/>
                <a:gdLst>
                  <a:gd name="connsiteX0" fmla="*/ 89482 w 197406"/>
                  <a:gd name="connsiteY0" fmla="*/ 155056 h 208335"/>
                  <a:gd name="connsiteX1" fmla="*/ 133881 w 197406"/>
                  <a:gd name="connsiteY1" fmla="*/ 103143 h 208335"/>
                  <a:gd name="connsiteX2" fmla="*/ 84700 w 197406"/>
                  <a:gd name="connsiteY2" fmla="*/ 53279 h 208335"/>
                  <a:gd name="connsiteX3" fmla="*/ 63525 w 197406"/>
                  <a:gd name="connsiteY3" fmla="*/ 53279 h 208335"/>
                  <a:gd name="connsiteX4" fmla="*/ 63525 w 197406"/>
                  <a:gd name="connsiteY4" fmla="*/ 155056 h 208335"/>
                  <a:gd name="connsiteX5" fmla="*/ 89482 w 197406"/>
                  <a:gd name="connsiteY5" fmla="*/ 155056 h 208335"/>
                  <a:gd name="connsiteX6" fmla="*/ 105192 w 197406"/>
                  <a:gd name="connsiteY6" fmla="*/ 0 h 208335"/>
                  <a:gd name="connsiteX7" fmla="*/ 197406 w 197406"/>
                  <a:gd name="connsiteY7" fmla="*/ 103826 h 208335"/>
                  <a:gd name="connsiteX8" fmla="*/ 93580 w 197406"/>
                  <a:gd name="connsiteY8" fmla="*/ 208336 h 208335"/>
                  <a:gd name="connsiteX9" fmla="*/ 0 w 197406"/>
                  <a:gd name="connsiteY9" fmla="*/ 208336 h 208335"/>
                  <a:gd name="connsiteX10" fmla="*/ 0 w 197406"/>
                  <a:gd name="connsiteY10" fmla="*/ 0 h 208335"/>
                  <a:gd name="connsiteX11" fmla="*/ 105192 w 197406"/>
                  <a:gd name="connsiteY11" fmla="*/ 0 h 208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7406" h="208335">
                    <a:moveTo>
                      <a:pt x="89482" y="155056"/>
                    </a:moveTo>
                    <a:cubicBezTo>
                      <a:pt x="118171" y="155056"/>
                      <a:pt x="133881" y="135931"/>
                      <a:pt x="133881" y="103143"/>
                    </a:cubicBezTo>
                    <a:cubicBezTo>
                      <a:pt x="133881" y="72405"/>
                      <a:pt x="115438" y="53279"/>
                      <a:pt x="84700" y="53279"/>
                    </a:cubicBezTo>
                    <a:lnTo>
                      <a:pt x="63525" y="53279"/>
                    </a:lnTo>
                    <a:lnTo>
                      <a:pt x="63525" y="155056"/>
                    </a:lnTo>
                    <a:lnTo>
                      <a:pt x="89482" y="155056"/>
                    </a:lnTo>
                    <a:close/>
                    <a:moveTo>
                      <a:pt x="105192" y="0"/>
                    </a:moveTo>
                    <a:cubicBezTo>
                      <a:pt x="163253" y="0"/>
                      <a:pt x="197406" y="40301"/>
                      <a:pt x="197406" y="103826"/>
                    </a:cubicBezTo>
                    <a:cubicBezTo>
                      <a:pt x="197406" y="172816"/>
                      <a:pt x="158472" y="208336"/>
                      <a:pt x="93580" y="208336"/>
                    </a:cubicBezTo>
                    <a:lnTo>
                      <a:pt x="0" y="208336"/>
                    </a:lnTo>
                    <a:lnTo>
                      <a:pt x="0" y="0"/>
                    </a:lnTo>
                    <a:lnTo>
                      <a:pt x="105192" y="0"/>
                    </a:lnTo>
                    <a:close/>
                  </a:path>
                </a:pathLst>
              </a:custGeom>
              <a:solidFill>
                <a:schemeClr val="accent5"/>
              </a:solidFill>
              <a:ln w="6825" cap="flat">
                <a:noFill/>
                <a:prstDash val="solid"/>
                <a:miter/>
              </a:ln>
            </p:spPr>
            <p:txBody>
              <a:bodyPr rtlCol="0" anchor="ctr"/>
              <a:lstStyle/>
              <a:p>
                <a:endParaRPr lang="en-US"/>
              </a:p>
            </p:txBody>
          </p:sp>
          <p:sp>
            <p:nvSpPr>
              <p:cNvPr id="121" name="Freeform: Shape 120">
                <a:extLst>
                  <a:ext uri="{FF2B5EF4-FFF2-40B4-BE49-F238E27FC236}">
                    <a16:creationId xmlns:a16="http://schemas.microsoft.com/office/drawing/2014/main" id="{B170DEA1-2F92-4F38-873F-45DA4008A694}"/>
                  </a:ext>
                </a:extLst>
              </p:cNvPr>
              <p:cNvSpPr/>
              <p:nvPr/>
            </p:nvSpPr>
            <p:spPr>
              <a:xfrm>
                <a:off x="4312458" y="-390337"/>
                <a:ext cx="155739" cy="208335"/>
              </a:xfrm>
              <a:custGeom>
                <a:avLst/>
                <a:gdLst>
                  <a:gd name="connsiteX0" fmla="*/ 64209 w 155739"/>
                  <a:gd name="connsiteY0" fmla="*/ 0 h 208335"/>
                  <a:gd name="connsiteX1" fmla="*/ 64209 w 155739"/>
                  <a:gd name="connsiteY1" fmla="*/ 155056 h 208335"/>
                  <a:gd name="connsiteX2" fmla="*/ 155740 w 155739"/>
                  <a:gd name="connsiteY2" fmla="*/ 155056 h 208335"/>
                  <a:gd name="connsiteX3" fmla="*/ 155740 w 155739"/>
                  <a:gd name="connsiteY3" fmla="*/ 208336 h 208335"/>
                  <a:gd name="connsiteX4" fmla="*/ 0 w 155739"/>
                  <a:gd name="connsiteY4" fmla="*/ 208336 h 208335"/>
                  <a:gd name="connsiteX5" fmla="*/ 0 w 155739"/>
                  <a:gd name="connsiteY5" fmla="*/ 0 h 208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739" h="208335">
                    <a:moveTo>
                      <a:pt x="64209" y="0"/>
                    </a:moveTo>
                    <a:lnTo>
                      <a:pt x="64209" y="155056"/>
                    </a:lnTo>
                    <a:lnTo>
                      <a:pt x="155740" y="155056"/>
                    </a:lnTo>
                    <a:lnTo>
                      <a:pt x="155740" y="208336"/>
                    </a:lnTo>
                    <a:lnTo>
                      <a:pt x="0" y="208336"/>
                    </a:lnTo>
                    <a:lnTo>
                      <a:pt x="0" y="0"/>
                    </a:lnTo>
                    <a:close/>
                  </a:path>
                </a:pathLst>
              </a:custGeom>
              <a:solidFill>
                <a:schemeClr val="accent5"/>
              </a:solidFill>
              <a:ln w="6825" cap="flat">
                <a:noFill/>
                <a:prstDash val="solid"/>
                <a:miter/>
              </a:ln>
            </p:spPr>
            <p:txBody>
              <a:bodyPr rtlCol="0" anchor="ctr"/>
              <a:lstStyle/>
              <a:p>
                <a:endParaRPr lang="en-US"/>
              </a:p>
            </p:txBody>
          </p:sp>
          <p:sp>
            <p:nvSpPr>
              <p:cNvPr id="122" name="Freeform: Shape 121">
                <a:extLst>
                  <a:ext uri="{FF2B5EF4-FFF2-40B4-BE49-F238E27FC236}">
                    <a16:creationId xmlns:a16="http://schemas.microsoft.com/office/drawing/2014/main" id="{0D808ECC-E5E2-4BF8-8BBE-C1F9E4A1BA58}"/>
                  </a:ext>
                </a:extLst>
              </p:cNvPr>
              <p:cNvSpPr/>
              <p:nvPr/>
            </p:nvSpPr>
            <p:spPr>
              <a:xfrm>
                <a:off x="4516012" y="-390337"/>
                <a:ext cx="210384" cy="208335"/>
              </a:xfrm>
              <a:custGeom>
                <a:avLst/>
                <a:gdLst>
                  <a:gd name="connsiteX0" fmla="*/ 70356 w 210384"/>
                  <a:gd name="connsiteY0" fmla="*/ 0 h 208335"/>
                  <a:gd name="connsiteX1" fmla="*/ 105192 w 210384"/>
                  <a:gd name="connsiteY1" fmla="*/ 76504 h 208335"/>
                  <a:gd name="connsiteX2" fmla="*/ 140712 w 210384"/>
                  <a:gd name="connsiteY2" fmla="*/ 0 h 208335"/>
                  <a:gd name="connsiteX3" fmla="*/ 210385 w 210384"/>
                  <a:gd name="connsiteY3" fmla="*/ 0 h 208335"/>
                  <a:gd name="connsiteX4" fmla="*/ 136614 w 210384"/>
                  <a:gd name="connsiteY4" fmla="*/ 131832 h 208335"/>
                  <a:gd name="connsiteX5" fmla="*/ 136614 w 210384"/>
                  <a:gd name="connsiteY5" fmla="*/ 208336 h 208335"/>
                  <a:gd name="connsiteX6" fmla="*/ 73088 w 210384"/>
                  <a:gd name="connsiteY6" fmla="*/ 208336 h 208335"/>
                  <a:gd name="connsiteX7" fmla="*/ 73088 w 210384"/>
                  <a:gd name="connsiteY7" fmla="*/ 131832 h 208335"/>
                  <a:gd name="connsiteX8" fmla="*/ 0 w 210384"/>
                  <a:gd name="connsiteY8" fmla="*/ 0 h 208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0384" h="208335">
                    <a:moveTo>
                      <a:pt x="70356" y="0"/>
                    </a:moveTo>
                    <a:lnTo>
                      <a:pt x="105192" y="76504"/>
                    </a:lnTo>
                    <a:lnTo>
                      <a:pt x="140712" y="0"/>
                    </a:lnTo>
                    <a:lnTo>
                      <a:pt x="210385" y="0"/>
                    </a:lnTo>
                    <a:lnTo>
                      <a:pt x="136614" y="131832"/>
                    </a:lnTo>
                    <a:lnTo>
                      <a:pt x="136614" y="208336"/>
                    </a:lnTo>
                    <a:lnTo>
                      <a:pt x="73088" y="208336"/>
                    </a:lnTo>
                    <a:lnTo>
                      <a:pt x="73088" y="131832"/>
                    </a:lnTo>
                    <a:lnTo>
                      <a:pt x="0" y="0"/>
                    </a:lnTo>
                    <a:close/>
                  </a:path>
                </a:pathLst>
              </a:custGeom>
              <a:solidFill>
                <a:schemeClr val="accent5"/>
              </a:solidFill>
              <a:ln w="6825" cap="flat">
                <a:noFill/>
                <a:prstDash val="solid"/>
                <a:miter/>
              </a:ln>
            </p:spPr>
            <p:txBody>
              <a:bodyPr rtlCol="0" anchor="ctr"/>
              <a:lstStyle/>
              <a:p>
                <a:endParaRPr lang="en-US"/>
              </a:p>
            </p:txBody>
          </p:sp>
        </p:grpSp>
        <p:grpSp>
          <p:nvGrpSpPr>
            <p:cNvPr id="20" name="Group 19">
              <a:extLst>
                <a:ext uri="{FF2B5EF4-FFF2-40B4-BE49-F238E27FC236}">
                  <a16:creationId xmlns:a16="http://schemas.microsoft.com/office/drawing/2014/main" id="{AE8807BB-77E4-4620-8428-16596C8DAA4B}"/>
                </a:ext>
              </a:extLst>
            </p:cNvPr>
            <p:cNvGrpSpPr/>
            <p:nvPr/>
          </p:nvGrpSpPr>
          <p:grpSpPr>
            <a:xfrm>
              <a:off x="4796070" y="-395801"/>
              <a:ext cx="1739090" cy="218581"/>
              <a:chOff x="4796070" y="-395801"/>
              <a:chExt cx="1739090" cy="218581"/>
            </a:xfrm>
            <a:grpFill/>
          </p:grpSpPr>
          <p:sp>
            <p:nvSpPr>
              <p:cNvPr id="110" name="Freeform: Shape 109">
                <a:extLst>
                  <a:ext uri="{FF2B5EF4-FFF2-40B4-BE49-F238E27FC236}">
                    <a16:creationId xmlns:a16="http://schemas.microsoft.com/office/drawing/2014/main" id="{1591A3A7-E6A3-4491-A4A2-D9473702BEEB}"/>
                  </a:ext>
                </a:extLst>
              </p:cNvPr>
              <p:cNvSpPr/>
              <p:nvPr/>
            </p:nvSpPr>
            <p:spPr>
              <a:xfrm>
                <a:off x="4796070" y="-390337"/>
                <a:ext cx="178963" cy="208335"/>
              </a:xfrm>
              <a:custGeom>
                <a:avLst/>
                <a:gdLst>
                  <a:gd name="connsiteX0" fmla="*/ 178963 w 178963"/>
                  <a:gd name="connsiteY0" fmla="*/ 0 h 208335"/>
                  <a:gd name="connsiteX1" fmla="*/ 174182 w 178963"/>
                  <a:gd name="connsiteY1" fmla="*/ 23224 h 208335"/>
                  <a:gd name="connsiteX2" fmla="*/ 65574 w 178963"/>
                  <a:gd name="connsiteY2" fmla="*/ 23224 h 208335"/>
                  <a:gd name="connsiteX3" fmla="*/ 51913 w 178963"/>
                  <a:gd name="connsiteY3" fmla="*/ 89482 h 208335"/>
                  <a:gd name="connsiteX4" fmla="*/ 147542 w 178963"/>
                  <a:gd name="connsiteY4" fmla="*/ 89482 h 208335"/>
                  <a:gd name="connsiteX5" fmla="*/ 142761 w 178963"/>
                  <a:gd name="connsiteY5" fmla="*/ 112706 h 208335"/>
                  <a:gd name="connsiteX6" fmla="*/ 47131 w 178963"/>
                  <a:gd name="connsiteY6" fmla="*/ 112706 h 208335"/>
                  <a:gd name="connsiteX7" fmla="*/ 27323 w 178963"/>
                  <a:gd name="connsiteY7" fmla="*/ 208336 h 208335"/>
                  <a:gd name="connsiteX8" fmla="*/ 0 w 178963"/>
                  <a:gd name="connsiteY8" fmla="*/ 208336 h 208335"/>
                  <a:gd name="connsiteX9" fmla="*/ 43033 w 178963"/>
                  <a:gd name="connsiteY9" fmla="*/ 0 h 208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963" h="208335">
                    <a:moveTo>
                      <a:pt x="178963" y="0"/>
                    </a:moveTo>
                    <a:lnTo>
                      <a:pt x="174182" y="23224"/>
                    </a:lnTo>
                    <a:lnTo>
                      <a:pt x="65574" y="23224"/>
                    </a:lnTo>
                    <a:lnTo>
                      <a:pt x="51913" y="89482"/>
                    </a:lnTo>
                    <a:lnTo>
                      <a:pt x="147542" y="89482"/>
                    </a:lnTo>
                    <a:lnTo>
                      <a:pt x="142761" y="112706"/>
                    </a:lnTo>
                    <a:lnTo>
                      <a:pt x="47131" y="112706"/>
                    </a:lnTo>
                    <a:lnTo>
                      <a:pt x="27323" y="208336"/>
                    </a:lnTo>
                    <a:lnTo>
                      <a:pt x="0" y="208336"/>
                    </a:lnTo>
                    <a:lnTo>
                      <a:pt x="43033" y="0"/>
                    </a:lnTo>
                    <a:close/>
                  </a:path>
                </a:pathLst>
              </a:custGeom>
              <a:solidFill>
                <a:schemeClr val="tx2"/>
              </a:solidFill>
              <a:ln w="6825" cap="flat">
                <a:noFill/>
                <a:prstDash val="solid"/>
                <a:miter/>
              </a:ln>
            </p:spPr>
            <p:txBody>
              <a:bodyPr rtlCol="0" anchor="ctr"/>
              <a:lstStyle/>
              <a:p>
                <a:endParaRPr lang="en-US"/>
              </a:p>
            </p:txBody>
          </p:sp>
          <p:sp>
            <p:nvSpPr>
              <p:cNvPr id="111" name="Freeform: Shape 110">
                <a:extLst>
                  <a:ext uri="{FF2B5EF4-FFF2-40B4-BE49-F238E27FC236}">
                    <a16:creationId xmlns:a16="http://schemas.microsoft.com/office/drawing/2014/main" id="{E0CDF64A-1A5C-4BD7-925C-285C0C018CF0}"/>
                  </a:ext>
                </a:extLst>
              </p:cNvPr>
              <p:cNvSpPr/>
              <p:nvPr/>
            </p:nvSpPr>
            <p:spPr>
              <a:xfrm>
                <a:off x="5017384" y="-395801"/>
                <a:ext cx="200138" cy="218581"/>
              </a:xfrm>
              <a:custGeom>
                <a:avLst/>
                <a:gdLst>
                  <a:gd name="connsiteX0" fmla="*/ 88799 w 200138"/>
                  <a:gd name="connsiteY0" fmla="*/ 195357 h 218581"/>
                  <a:gd name="connsiteX1" fmla="*/ 172133 w 200138"/>
                  <a:gd name="connsiteY1" fmla="*/ 92897 h 218581"/>
                  <a:gd name="connsiteX2" fmla="*/ 113389 w 200138"/>
                  <a:gd name="connsiteY2" fmla="*/ 23907 h 218581"/>
                  <a:gd name="connsiteX3" fmla="*/ 28006 w 200138"/>
                  <a:gd name="connsiteY3" fmla="*/ 127734 h 218581"/>
                  <a:gd name="connsiteX4" fmla="*/ 88799 w 200138"/>
                  <a:gd name="connsiteY4" fmla="*/ 195357 h 218581"/>
                  <a:gd name="connsiteX5" fmla="*/ 200139 w 200138"/>
                  <a:gd name="connsiteY5" fmla="*/ 92214 h 218581"/>
                  <a:gd name="connsiteX6" fmla="*/ 88799 w 200138"/>
                  <a:gd name="connsiteY6" fmla="*/ 218582 h 218581"/>
                  <a:gd name="connsiteX7" fmla="*/ 0 w 200138"/>
                  <a:gd name="connsiteY7" fmla="*/ 127051 h 218581"/>
                  <a:gd name="connsiteX8" fmla="*/ 113389 w 200138"/>
                  <a:gd name="connsiteY8" fmla="*/ 0 h 218581"/>
                  <a:gd name="connsiteX9" fmla="*/ 200139 w 200138"/>
                  <a:gd name="connsiteY9" fmla="*/ 92214 h 218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0138" h="218581">
                    <a:moveTo>
                      <a:pt x="88799" y="195357"/>
                    </a:moveTo>
                    <a:cubicBezTo>
                      <a:pt x="142078" y="195357"/>
                      <a:pt x="172133" y="144127"/>
                      <a:pt x="172133" y="92897"/>
                    </a:cubicBezTo>
                    <a:cubicBezTo>
                      <a:pt x="172133" y="52596"/>
                      <a:pt x="149592" y="23907"/>
                      <a:pt x="113389" y="23907"/>
                    </a:cubicBezTo>
                    <a:cubicBezTo>
                      <a:pt x="59427" y="23907"/>
                      <a:pt x="28006" y="73771"/>
                      <a:pt x="28006" y="127734"/>
                    </a:cubicBezTo>
                    <a:cubicBezTo>
                      <a:pt x="28006" y="169401"/>
                      <a:pt x="49181" y="195357"/>
                      <a:pt x="88799" y="195357"/>
                    </a:cubicBezTo>
                    <a:moveTo>
                      <a:pt x="200139" y="92214"/>
                    </a:moveTo>
                    <a:cubicBezTo>
                      <a:pt x="200139" y="155739"/>
                      <a:pt x="159155" y="218582"/>
                      <a:pt x="88799" y="218582"/>
                    </a:cubicBezTo>
                    <a:cubicBezTo>
                      <a:pt x="32787" y="218582"/>
                      <a:pt x="0" y="185111"/>
                      <a:pt x="0" y="127051"/>
                    </a:cubicBezTo>
                    <a:cubicBezTo>
                      <a:pt x="0" y="54645"/>
                      <a:pt x="47132" y="0"/>
                      <a:pt x="113389" y="0"/>
                    </a:cubicBezTo>
                    <a:cubicBezTo>
                      <a:pt x="166669" y="0"/>
                      <a:pt x="200139" y="39618"/>
                      <a:pt x="200139" y="92214"/>
                    </a:cubicBezTo>
                  </a:path>
                </a:pathLst>
              </a:custGeom>
              <a:solidFill>
                <a:schemeClr val="tx2"/>
              </a:solidFill>
              <a:ln w="6825" cap="flat">
                <a:noFill/>
                <a:prstDash val="solid"/>
                <a:miter/>
              </a:ln>
            </p:spPr>
            <p:txBody>
              <a:bodyPr rtlCol="0" anchor="ctr"/>
              <a:lstStyle/>
              <a:p>
                <a:endParaRPr lang="en-US"/>
              </a:p>
            </p:txBody>
          </p:sp>
          <p:sp>
            <p:nvSpPr>
              <p:cNvPr id="112" name="Freeform: Shape 111">
                <a:extLst>
                  <a:ext uri="{FF2B5EF4-FFF2-40B4-BE49-F238E27FC236}">
                    <a16:creationId xmlns:a16="http://schemas.microsoft.com/office/drawing/2014/main" id="{726179EE-07BE-4785-985B-A7760CFC8E53}"/>
                  </a:ext>
                </a:extLst>
              </p:cNvPr>
              <p:cNvSpPr/>
              <p:nvPr/>
            </p:nvSpPr>
            <p:spPr>
              <a:xfrm>
                <a:off x="5276267" y="-390337"/>
                <a:ext cx="189892" cy="208335"/>
              </a:xfrm>
              <a:custGeom>
                <a:avLst/>
                <a:gdLst>
                  <a:gd name="connsiteX0" fmla="*/ 64891 w 189892"/>
                  <a:gd name="connsiteY0" fmla="*/ 23224 h 208335"/>
                  <a:gd name="connsiteX1" fmla="*/ 49864 w 189892"/>
                  <a:gd name="connsiteY1" fmla="*/ 95629 h 208335"/>
                  <a:gd name="connsiteX2" fmla="*/ 112706 w 189892"/>
                  <a:gd name="connsiteY2" fmla="*/ 95629 h 208335"/>
                  <a:gd name="connsiteX3" fmla="*/ 162570 w 189892"/>
                  <a:gd name="connsiteY3" fmla="*/ 54645 h 208335"/>
                  <a:gd name="connsiteX4" fmla="*/ 122952 w 189892"/>
                  <a:gd name="connsiteY4" fmla="*/ 23224 h 208335"/>
                  <a:gd name="connsiteX5" fmla="*/ 64891 w 189892"/>
                  <a:gd name="connsiteY5" fmla="*/ 23224 h 208335"/>
                  <a:gd name="connsiteX6" fmla="*/ 123635 w 189892"/>
                  <a:gd name="connsiteY6" fmla="*/ 0 h 208335"/>
                  <a:gd name="connsiteX7" fmla="*/ 189893 w 189892"/>
                  <a:gd name="connsiteY7" fmla="*/ 53279 h 208335"/>
                  <a:gd name="connsiteX8" fmla="*/ 143444 w 189892"/>
                  <a:gd name="connsiteY8" fmla="*/ 109291 h 208335"/>
                  <a:gd name="connsiteX9" fmla="*/ 143444 w 189892"/>
                  <a:gd name="connsiteY9" fmla="*/ 109974 h 208335"/>
                  <a:gd name="connsiteX10" fmla="*/ 165302 w 189892"/>
                  <a:gd name="connsiteY10" fmla="*/ 146860 h 208335"/>
                  <a:gd name="connsiteX11" fmla="*/ 161204 w 189892"/>
                  <a:gd name="connsiteY11" fmla="*/ 190576 h 208335"/>
                  <a:gd name="connsiteX12" fmla="*/ 165302 w 189892"/>
                  <a:gd name="connsiteY12" fmla="*/ 208336 h 208335"/>
                  <a:gd name="connsiteX13" fmla="*/ 136614 w 189892"/>
                  <a:gd name="connsiteY13" fmla="*/ 208336 h 208335"/>
                  <a:gd name="connsiteX14" fmla="*/ 134564 w 189892"/>
                  <a:gd name="connsiteY14" fmla="*/ 189893 h 208335"/>
                  <a:gd name="connsiteX15" fmla="*/ 139346 w 189892"/>
                  <a:gd name="connsiteY15" fmla="*/ 147543 h 208335"/>
                  <a:gd name="connsiteX16" fmla="*/ 116804 w 189892"/>
                  <a:gd name="connsiteY16" fmla="*/ 119537 h 208335"/>
                  <a:gd name="connsiteX17" fmla="*/ 45766 w 189892"/>
                  <a:gd name="connsiteY17" fmla="*/ 119537 h 208335"/>
                  <a:gd name="connsiteX18" fmla="*/ 27323 w 189892"/>
                  <a:gd name="connsiteY18" fmla="*/ 208336 h 208335"/>
                  <a:gd name="connsiteX19" fmla="*/ 0 w 189892"/>
                  <a:gd name="connsiteY19" fmla="*/ 208336 h 208335"/>
                  <a:gd name="connsiteX20" fmla="*/ 43716 w 189892"/>
                  <a:gd name="connsiteY20" fmla="*/ 0 h 208335"/>
                  <a:gd name="connsiteX21" fmla="*/ 123635 w 189892"/>
                  <a:gd name="connsiteY21" fmla="*/ 0 h 208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9892" h="208335">
                    <a:moveTo>
                      <a:pt x="64891" y="23224"/>
                    </a:moveTo>
                    <a:lnTo>
                      <a:pt x="49864" y="95629"/>
                    </a:lnTo>
                    <a:lnTo>
                      <a:pt x="112706" y="95629"/>
                    </a:lnTo>
                    <a:cubicBezTo>
                      <a:pt x="143444" y="95629"/>
                      <a:pt x="162570" y="79919"/>
                      <a:pt x="162570" y="54645"/>
                    </a:cubicBezTo>
                    <a:cubicBezTo>
                      <a:pt x="162570" y="33470"/>
                      <a:pt x="148909" y="23224"/>
                      <a:pt x="122952" y="23224"/>
                    </a:cubicBezTo>
                    <a:lnTo>
                      <a:pt x="64891" y="23224"/>
                    </a:lnTo>
                    <a:close/>
                    <a:moveTo>
                      <a:pt x="123635" y="0"/>
                    </a:moveTo>
                    <a:cubicBezTo>
                      <a:pt x="165302" y="0"/>
                      <a:pt x="189893" y="17760"/>
                      <a:pt x="189893" y="53279"/>
                    </a:cubicBezTo>
                    <a:cubicBezTo>
                      <a:pt x="189893" y="81285"/>
                      <a:pt x="171450" y="105193"/>
                      <a:pt x="143444" y="109291"/>
                    </a:cubicBezTo>
                    <a:lnTo>
                      <a:pt x="143444" y="109974"/>
                    </a:lnTo>
                    <a:cubicBezTo>
                      <a:pt x="156422" y="114072"/>
                      <a:pt x="165302" y="127051"/>
                      <a:pt x="165302" y="146860"/>
                    </a:cubicBezTo>
                    <a:cubicBezTo>
                      <a:pt x="165302" y="156423"/>
                      <a:pt x="161204" y="180330"/>
                      <a:pt x="161204" y="190576"/>
                    </a:cubicBezTo>
                    <a:cubicBezTo>
                      <a:pt x="161204" y="196723"/>
                      <a:pt x="162570" y="203554"/>
                      <a:pt x="165302" y="208336"/>
                    </a:cubicBezTo>
                    <a:lnTo>
                      <a:pt x="136614" y="208336"/>
                    </a:lnTo>
                    <a:cubicBezTo>
                      <a:pt x="135247" y="204237"/>
                      <a:pt x="134564" y="198090"/>
                      <a:pt x="134564" y="189893"/>
                    </a:cubicBezTo>
                    <a:cubicBezTo>
                      <a:pt x="134564" y="176231"/>
                      <a:pt x="139346" y="157106"/>
                      <a:pt x="139346" y="147543"/>
                    </a:cubicBezTo>
                    <a:cubicBezTo>
                      <a:pt x="139346" y="129783"/>
                      <a:pt x="131832" y="119537"/>
                      <a:pt x="116804" y="119537"/>
                    </a:cubicBezTo>
                    <a:lnTo>
                      <a:pt x="45766" y="119537"/>
                    </a:lnTo>
                    <a:lnTo>
                      <a:pt x="27323" y="208336"/>
                    </a:lnTo>
                    <a:lnTo>
                      <a:pt x="0" y="208336"/>
                    </a:lnTo>
                    <a:lnTo>
                      <a:pt x="43716" y="0"/>
                    </a:lnTo>
                    <a:lnTo>
                      <a:pt x="123635" y="0"/>
                    </a:lnTo>
                    <a:close/>
                  </a:path>
                </a:pathLst>
              </a:custGeom>
              <a:solidFill>
                <a:schemeClr val="tx2"/>
              </a:solidFill>
              <a:ln w="6825" cap="flat">
                <a:noFill/>
                <a:prstDash val="solid"/>
                <a:miter/>
              </a:ln>
            </p:spPr>
            <p:txBody>
              <a:bodyPr rtlCol="0" anchor="ctr"/>
              <a:lstStyle/>
              <a:p>
                <a:endParaRPr lang="en-US"/>
              </a:p>
            </p:txBody>
          </p:sp>
          <p:sp>
            <p:nvSpPr>
              <p:cNvPr id="113" name="Freeform: Shape 112">
                <a:extLst>
                  <a:ext uri="{FF2B5EF4-FFF2-40B4-BE49-F238E27FC236}">
                    <a16:creationId xmlns:a16="http://schemas.microsoft.com/office/drawing/2014/main" id="{64712161-2134-4FE9-83EE-FF09FC75E056}"/>
                  </a:ext>
                </a:extLst>
              </p:cNvPr>
              <p:cNvSpPr/>
              <p:nvPr/>
            </p:nvSpPr>
            <p:spPr>
              <a:xfrm>
                <a:off x="5546761" y="-390337"/>
                <a:ext cx="260931" cy="208335"/>
              </a:xfrm>
              <a:custGeom>
                <a:avLst/>
                <a:gdLst>
                  <a:gd name="connsiteX0" fmla="*/ 26640 w 260931"/>
                  <a:gd name="connsiteY0" fmla="*/ 0 h 208335"/>
                  <a:gd name="connsiteX1" fmla="*/ 34153 w 260931"/>
                  <a:gd name="connsiteY1" fmla="*/ 174866 h 208335"/>
                  <a:gd name="connsiteX2" fmla="*/ 34837 w 260931"/>
                  <a:gd name="connsiteY2" fmla="*/ 174866 h 208335"/>
                  <a:gd name="connsiteX3" fmla="*/ 114072 w 260931"/>
                  <a:gd name="connsiteY3" fmla="*/ 0 h 208335"/>
                  <a:gd name="connsiteX4" fmla="*/ 145493 w 260931"/>
                  <a:gd name="connsiteY4" fmla="*/ 0 h 208335"/>
                  <a:gd name="connsiteX5" fmla="*/ 157106 w 260931"/>
                  <a:gd name="connsiteY5" fmla="*/ 175548 h 208335"/>
                  <a:gd name="connsiteX6" fmla="*/ 157789 w 260931"/>
                  <a:gd name="connsiteY6" fmla="*/ 175548 h 208335"/>
                  <a:gd name="connsiteX7" fmla="*/ 232926 w 260931"/>
                  <a:gd name="connsiteY7" fmla="*/ 0 h 208335"/>
                  <a:gd name="connsiteX8" fmla="*/ 260932 w 260931"/>
                  <a:gd name="connsiteY8" fmla="*/ 0 h 208335"/>
                  <a:gd name="connsiteX9" fmla="*/ 165985 w 260931"/>
                  <a:gd name="connsiteY9" fmla="*/ 208336 h 208335"/>
                  <a:gd name="connsiteX10" fmla="*/ 137297 w 260931"/>
                  <a:gd name="connsiteY10" fmla="*/ 208336 h 208335"/>
                  <a:gd name="connsiteX11" fmla="*/ 124318 w 260931"/>
                  <a:gd name="connsiteY11" fmla="*/ 28006 h 208335"/>
                  <a:gd name="connsiteX12" fmla="*/ 123636 w 260931"/>
                  <a:gd name="connsiteY12" fmla="*/ 28006 h 208335"/>
                  <a:gd name="connsiteX13" fmla="*/ 42350 w 260931"/>
                  <a:gd name="connsiteY13" fmla="*/ 208336 h 208335"/>
                  <a:gd name="connsiteX14" fmla="*/ 12978 w 260931"/>
                  <a:gd name="connsiteY14" fmla="*/ 208336 h 208335"/>
                  <a:gd name="connsiteX15" fmla="*/ 0 w 260931"/>
                  <a:gd name="connsiteY15" fmla="*/ 0 h 208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0931" h="208335">
                    <a:moveTo>
                      <a:pt x="26640" y="0"/>
                    </a:moveTo>
                    <a:lnTo>
                      <a:pt x="34153" y="174866"/>
                    </a:lnTo>
                    <a:lnTo>
                      <a:pt x="34837" y="174866"/>
                    </a:lnTo>
                    <a:lnTo>
                      <a:pt x="114072" y="0"/>
                    </a:lnTo>
                    <a:lnTo>
                      <a:pt x="145493" y="0"/>
                    </a:lnTo>
                    <a:lnTo>
                      <a:pt x="157106" y="175548"/>
                    </a:lnTo>
                    <a:lnTo>
                      <a:pt x="157789" y="175548"/>
                    </a:lnTo>
                    <a:lnTo>
                      <a:pt x="232926" y="0"/>
                    </a:lnTo>
                    <a:lnTo>
                      <a:pt x="260932" y="0"/>
                    </a:lnTo>
                    <a:lnTo>
                      <a:pt x="165985" y="208336"/>
                    </a:lnTo>
                    <a:lnTo>
                      <a:pt x="137297" y="208336"/>
                    </a:lnTo>
                    <a:lnTo>
                      <a:pt x="124318" y="28006"/>
                    </a:lnTo>
                    <a:lnTo>
                      <a:pt x="123636" y="28006"/>
                    </a:lnTo>
                    <a:lnTo>
                      <a:pt x="42350" y="208336"/>
                    </a:lnTo>
                    <a:lnTo>
                      <a:pt x="12978" y="208336"/>
                    </a:lnTo>
                    <a:lnTo>
                      <a:pt x="0" y="0"/>
                    </a:lnTo>
                    <a:close/>
                  </a:path>
                </a:pathLst>
              </a:custGeom>
              <a:solidFill>
                <a:schemeClr val="tx2"/>
              </a:solidFill>
              <a:ln w="6825" cap="flat">
                <a:noFill/>
                <a:prstDash val="solid"/>
                <a:miter/>
              </a:ln>
            </p:spPr>
            <p:txBody>
              <a:bodyPr rtlCol="0" anchor="ctr"/>
              <a:lstStyle/>
              <a:p>
                <a:endParaRPr lang="en-US"/>
              </a:p>
            </p:txBody>
          </p:sp>
          <p:sp>
            <p:nvSpPr>
              <p:cNvPr id="114" name="Freeform: Shape 113">
                <a:extLst>
                  <a:ext uri="{FF2B5EF4-FFF2-40B4-BE49-F238E27FC236}">
                    <a16:creationId xmlns:a16="http://schemas.microsoft.com/office/drawing/2014/main" id="{6B03D2D2-6A58-4F99-9C86-D18CB9341285}"/>
                  </a:ext>
                </a:extLst>
              </p:cNvPr>
              <p:cNvSpPr/>
              <p:nvPr/>
            </p:nvSpPr>
            <p:spPr>
              <a:xfrm>
                <a:off x="5821355" y="-390337"/>
                <a:ext cx="192625" cy="208335"/>
              </a:xfrm>
              <a:custGeom>
                <a:avLst/>
                <a:gdLst>
                  <a:gd name="connsiteX0" fmla="*/ 135247 w 192625"/>
                  <a:gd name="connsiteY0" fmla="*/ 23907 h 208335"/>
                  <a:gd name="connsiteX1" fmla="*/ 79919 w 192625"/>
                  <a:gd name="connsiteY1" fmla="*/ 121586 h 208335"/>
                  <a:gd name="connsiteX2" fmla="*/ 150958 w 192625"/>
                  <a:gd name="connsiteY2" fmla="*/ 121586 h 208335"/>
                  <a:gd name="connsiteX3" fmla="*/ 135247 w 192625"/>
                  <a:gd name="connsiteY3" fmla="*/ 23907 h 208335"/>
                  <a:gd name="connsiteX4" fmla="*/ 135247 w 192625"/>
                  <a:gd name="connsiteY4" fmla="*/ 23907 h 208335"/>
                  <a:gd name="connsiteX5" fmla="*/ 155056 w 192625"/>
                  <a:gd name="connsiteY5" fmla="*/ 0 h 208335"/>
                  <a:gd name="connsiteX6" fmla="*/ 192625 w 192625"/>
                  <a:gd name="connsiteY6" fmla="*/ 208336 h 208335"/>
                  <a:gd name="connsiteX7" fmla="*/ 163936 w 192625"/>
                  <a:gd name="connsiteY7" fmla="*/ 208336 h 208335"/>
                  <a:gd name="connsiteX8" fmla="*/ 154373 w 192625"/>
                  <a:gd name="connsiteY8" fmla="*/ 145494 h 208335"/>
                  <a:gd name="connsiteX9" fmla="*/ 66941 w 192625"/>
                  <a:gd name="connsiteY9" fmla="*/ 145494 h 208335"/>
                  <a:gd name="connsiteX10" fmla="*/ 30738 w 192625"/>
                  <a:gd name="connsiteY10" fmla="*/ 208336 h 208335"/>
                  <a:gd name="connsiteX11" fmla="*/ 0 w 192625"/>
                  <a:gd name="connsiteY11" fmla="*/ 208336 h 208335"/>
                  <a:gd name="connsiteX12" fmla="*/ 124318 w 192625"/>
                  <a:gd name="connsiteY12" fmla="*/ 0 h 208335"/>
                  <a:gd name="connsiteX13" fmla="*/ 155056 w 192625"/>
                  <a:gd name="connsiteY13" fmla="*/ 0 h 208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2625" h="208335">
                    <a:moveTo>
                      <a:pt x="135247" y="23907"/>
                    </a:moveTo>
                    <a:lnTo>
                      <a:pt x="79919" y="121586"/>
                    </a:lnTo>
                    <a:lnTo>
                      <a:pt x="150958" y="121586"/>
                    </a:lnTo>
                    <a:lnTo>
                      <a:pt x="135247" y="23907"/>
                    </a:lnTo>
                    <a:lnTo>
                      <a:pt x="135247" y="23907"/>
                    </a:lnTo>
                    <a:close/>
                    <a:moveTo>
                      <a:pt x="155056" y="0"/>
                    </a:moveTo>
                    <a:lnTo>
                      <a:pt x="192625" y="208336"/>
                    </a:lnTo>
                    <a:lnTo>
                      <a:pt x="163936" y="208336"/>
                    </a:lnTo>
                    <a:lnTo>
                      <a:pt x="154373" y="145494"/>
                    </a:lnTo>
                    <a:lnTo>
                      <a:pt x="66941" y="145494"/>
                    </a:lnTo>
                    <a:lnTo>
                      <a:pt x="30738" y="208336"/>
                    </a:lnTo>
                    <a:lnTo>
                      <a:pt x="0" y="208336"/>
                    </a:lnTo>
                    <a:lnTo>
                      <a:pt x="124318" y="0"/>
                    </a:lnTo>
                    <a:lnTo>
                      <a:pt x="155056" y="0"/>
                    </a:lnTo>
                    <a:close/>
                  </a:path>
                </a:pathLst>
              </a:custGeom>
              <a:solidFill>
                <a:schemeClr val="tx2"/>
              </a:solidFill>
              <a:ln w="6825" cap="flat">
                <a:noFill/>
                <a:prstDash val="solid"/>
                <a:miter/>
              </a:ln>
            </p:spPr>
            <p:txBody>
              <a:bodyPr rtlCol="0" anchor="ctr"/>
              <a:lstStyle/>
              <a:p>
                <a:endParaRPr lang="en-US"/>
              </a:p>
            </p:txBody>
          </p:sp>
          <p:sp>
            <p:nvSpPr>
              <p:cNvPr id="115" name="Freeform: Shape 114">
                <a:extLst>
                  <a:ext uri="{FF2B5EF4-FFF2-40B4-BE49-F238E27FC236}">
                    <a16:creationId xmlns:a16="http://schemas.microsoft.com/office/drawing/2014/main" id="{A70B4A92-46A1-49CC-9C99-B437D7CD6C8C}"/>
                  </a:ext>
                </a:extLst>
              </p:cNvPr>
              <p:cNvSpPr/>
              <p:nvPr/>
            </p:nvSpPr>
            <p:spPr>
              <a:xfrm>
                <a:off x="6086385" y="-390337"/>
                <a:ext cx="189892" cy="208335"/>
              </a:xfrm>
              <a:custGeom>
                <a:avLst/>
                <a:gdLst>
                  <a:gd name="connsiteX0" fmla="*/ 64891 w 189892"/>
                  <a:gd name="connsiteY0" fmla="*/ 23224 h 208335"/>
                  <a:gd name="connsiteX1" fmla="*/ 49864 w 189892"/>
                  <a:gd name="connsiteY1" fmla="*/ 95629 h 208335"/>
                  <a:gd name="connsiteX2" fmla="*/ 112706 w 189892"/>
                  <a:gd name="connsiteY2" fmla="*/ 95629 h 208335"/>
                  <a:gd name="connsiteX3" fmla="*/ 162570 w 189892"/>
                  <a:gd name="connsiteY3" fmla="*/ 54645 h 208335"/>
                  <a:gd name="connsiteX4" fmla="*/ 122952 w 189892"/>
                  <a:gd name="connsiteY4" fmla="*/ 23224 h 208335"/>
                  <a:gd name="connsiteX5" fmla="*/ 64891 w 189892"/>
                  <a:gd name="connsiteY5" fmla="*/ 23224 h 208335"/>
                  <a:gd name="connsiteX6" fmla="*/ 123636 w 189892"/>
                  <a:gd name="connsiteY6" fmla="*/ 0 h 208335"/>
                  <a:gd name="connsiteX7" fmla="*/ 189893 w 189892"/>
                  <a:gd name="connsiteY7" fmla="*/ 53279 h 208335"/>
                  <a:gd name="connsiteX8" fmla="*/ 143444 w 189892"/>
                  <a:gd name="connsiteY8" fmla="*/ 109291 h 208335"/>
                  <a:gd name="connsiteX9" fmla="*/ 143444 w 189892"/>
                  <a:gd name="connsiteY9" fmla="*/ 109974 h 208335"/>
                  <a:gd name="connsiteX10" fmla="*/ 165302 w 189892"/>
                  <a:gd name="connsiteY10" fmla="*/ 146860 h 208335"/>
                  <a:gd name="connsiteX11" fmla="*/ 161204 w 189892"/>
                  <a:gd name="connsiteY11" fmla="*/ 190576 h 208335"/>
                  <a:gd name="connsiteX12" fmla="*/ 165302 w 189892"/>
                  <a:gd name="connsiteY12" fmla="*/ 208336 h 208335"/>
                  <a:gd name="connsiteX13" fmla="*/ 136614 w 189892"/>
                  <a:gd name="connsiteY13" fmla="*/ 208336 h 208335"/>
                  <a:gd name="connsiteX14" fmla="*/ 134564 w 189892"/>
                  <a:gd name="connsiteY14" fmla="*/ 189893 h 208335"/>
                  <a:gd name="connsiteX15" fmla="*/ 139346 w 189892"/>
                  <a:gd name="connsiteY15" fmla="*/ 147543 h 208335"/>
                  <a:gd name="connsiteX16" fmla="*/ 116805 w 189892"/>
                  <a:gd name="connsiteY16" fmla="*/ 119537 h 208335"/>
                  <a:gd name="connsiteX17" fmla="*/ 45766 w 189892"/>
                  <a:gd name="connsiteY17" fmla="*/ 119537 h 208335"/>
                  <a:gd name="connsiteX18" fmla="*/ 27323 w 189892"/>
                  <a:gd name="connsiteY18" fmla="*/ 208336 h 208335"/>
                  <a:gd name="connsiteX19" fmla="*/ 0 w 189892"/>
                  <a:gd name="connsiteY19" fmla="*/ 208336 h 208335"/>
                  <a:gd name="connsiteX20" fmla="*/ 43717 w 189892"/>
                  <a:gd name="connsiteY20" fmla="*/ 0 h 208335"/>
                  <a:gd name="connsiteX21" fmla="*/ 123636 w 189892"/>
                  <a:gd name="connsiteY21" fmla="*/ 0 h 208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9892" h="208335">
                    <a:moveTo>
                      <a:pt x="64891" y="23224"/>
                    </a:moveTo>
                    <a:lnTo>
                      <a:pt x="49864" y="95629"/>
                    </a:lnTo>
                    <a:lnTo>
                      <a:pt x="112706" y="95629"/>
                    </a:lnTo>
                    <a:cubicBezTo>
                      <a:pt x="143444" y="95629"/>
                      <a:pt x="162570" y="79919"/>
                      <a:pt x="162570" y="54645"/>
                    </a:cubicBezTo>
                    <a:cubicBezTo>
                      <a:pt x="162570" y="33470"/>
                      <a:pt x="148909" y="23224"/>
                      <a:pt x="122952" y="23224"/>
                    </a:cubicBezTo>
                    <a:lnTo>
                      <a:pt x="64891" y="23224"/>
                    </a:lnTo>
                    <a:close/>
                    <a:moveTo>
                      <a:pt x="123636" y="0"/>
                    </a:moveTo>
                    <a:cubicBezTo>
                      <a:pt x="165302" y="0"/>
                      <a:pt x="189893" y="17760"/>
                      <a:pt x="189893" y="53279"/>
                    </a:cubicBezTo>
                    <a:cubicBezTo>
                      <a:pt x="189893" y="81285"/>
                      <a:pt x="171450" y="105193"/>
                      <a:pt x="143444" y="109291"/>
                    </a:cubicBezTo>
                    <a:lnTo>
                      <a:pt x="143444" y="109974"/>
                    </a:lnTo>
                    <a:cubicBezTo>
                      <a:pt x="156423" y="114072"/>
                      <a:pt x="165302" y="127051"/>
                      <a:pt x="165302" y="146860"/>
                    </a:cubicBezTo>
                    <a:cubicBezTo>
                      <a:pt x="165302" y="156423"/>
                      <a:pt x="161204" y="180330"/>
                      <a:pt x="161204" y="190576"/>
                    </a:cubicBezTo>
                    <a:cubicBezTo>
                      <a:pt x="161204" y="196723"/>
                      <a:pt x="162570" y="203554"/>
                      <a:pt x="165302" y="208336"/>
                    </a:cubicBezTo>
                    <a:lnTo>
                      <a:pt x="136614" y="208336"/>
                    </a:lnTo>
                    <a:cubicBezTo>
                      <a:pt x="135247" y="204237"/>
                      <a:pt x="134564" y="198090"/>
                      <a:pt x="134564" y="189893"/>
                    </a:cubicBezTo>
                    <a:cubicBezTo>
                      <a:pt x="134564" y="176231"/>
                      <a:pt x="139346" y="157106"/>
                      <a:pt x="139346" y="147543"/>
                    </a:cubicBezTo>
                    <a:cubicBezTo>
                      <a:pt x="139346" y="129783"/>
                      <a:pt x="131832" y="119537"/>
                      <a:pt x="116805" y="119537"/>
                    </a:cubicBezTo>
                    <a:lnTo>
                      <a:pt x="45766" y="119537"/>
                    </a:lnTo>
                    <a:lnTo>
                      <a:pt x="27323" y="208336"/>
                    </a:lnTo>
                    <a:lnTo>
                      <a:pt x="0" y="208336"/>
                    </a:lnTo>
                    <a:lnTo>
                      <a:pt x="43717" y="0"/>
                    </a:lnTo>
                    <a:lnTo>
                      <a:pt x="123636" y="0"/>
                    </a:lnTo>
                    <a:close/>
                  </a:path>
                </a:pathLst>
              </a:custGeom>
              <a:solidFill>
                <a:schemeClr val="tx2"/>
              </a:solidFill>
              <a:ln w="6825" cap="flat">
                <a:noFill/>
                <a:prstDash val="solid"/>
                <a:miter/>
              </a:ln>
            </p:spPr>
            <p:txBody>
              <a:bodyPr rtlCol="0" anchor="ctr"/>
              <a:lstStyle/>
              <a:p>
                <a:endParaRPr lang="en-US"/>
              </a:p>
            </p:txBody>
          </p:sp>
          <p:sp>
            <p:nvSpPr>
              <p:cNvPr id="116" name="Freeform: Shape 115">
                <a:extLst>
                  <a:ext uri="{FF2B5EF4-FFF2-40B4-BE49-F238E27FC236}">
                    <a16:creationId xmlns:a16="http://schemas.microsoft.com/office/drawing/2014/main" id="{CCFBF64E-04E5-49EA-80F1-1A1090BF548C}"/>
                  </a:ext>
                </a:extLst>
              </p:cNvPr>
              <p:cNvSpPr/>
              <p:nvPr/>
            </p:nvSpPr>
            <p:spPr>
              <a:xfrm>
                <a:off x="6341169" y="-390337"/>
                <a:ext cx="193991" cy="208335"/>
              </a:xfrm>
              <a:custGeom>
                <a:avLst/>
                <a:gdLst>
                  <a:gd name="connsiteX0" fmla="*/ 32104 w 193991"/>
                  <a:gd name="connsiteY0" fmla="*/ 184428 h 208335"/>
                  <a:gd name="connsiteX1" fmla="*/ 81285 w 193991"/>
                  <a:gd name="connsiteY1" fmla="*/ 184428 h 208335"/>
                  <a:gd name="connsiteX2" fmla="*/ 166669 w 193991"/>
                  <a:gd name="connsiteY2" fmla="*/ 81968 h 208335"/>
                  <a:gd name="connsiteX3" fmla="*/ 111340 w 193991"/>
                  <a:gd name="connsiteY3" fmla="*/ 22541 h 208335"/>
                  <a:gd name="connsiteX4" fmla="*/ 65575 w 193991"/>
                  <a:gd name="connsiteY4" fmla="*/ 22541 h 208335"/>
                  <a:gd name="connsiteX5" fmla="*/ 32104 w 193991"/>
                  <a:gd name="connsiteY5" fmla="*/ 184428 h 208335"/>
                  <a:gd name="connsiteX6" fmla="*/ 117488 w 193991"/>
                  <a:gd name="connsiteY6" fmla="*/ 0 h 208335"/>
                  <a:gd name="connsiteX7" fmla="*/ 193991 w 193991"/>
                  <a:gd name="connsiteY7" fmla="*/ 79919 h 208335"/>
                  <a:gd name="connsiteX8" fmla="*/ 79236 w 193991"/>
                  <a:gd name="connsiteY8" fmla="*/ 208336 h 208335"/>
                  <a:gd name="connsiteX9" fmla="*/ 0 w 193991"/>
                  <a:gd name="connsiteY9" fmla="*/ 208336 h 208335"/>
                  <a:gd name="connsiteX10" fmla="*/ 43717 w 193991"/>
                  <a:gd name="connsiteY10" fmla="*/ 0 h 208335"/>
                  <a:gd name="connsiteX11" fmla="*/ 117488 w 193991"/>
                  <a:gd name="connsiteY11" fmla="*/ 0 h 208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3991" h="208335">
                    <a:moveTo>
                      <a:pt x="32104" y="184428"/>
                    </a:moveTo>
                    <a:lnTo>
                      <a:pt x="81285" y="184428"/>
                    </a:lnTo>
                    <a:cubicBezTo>
                      <a:pt x="134564" y="184428"/>
                      <a:pt x="166669" y="136614"/>
                      <a:pt x="166669" y="81968"/>
                    </a:cubicBezTo>
                    <a:cubicBezTo>
                      <a:pt x="166669" y="41667"/>
                      <a:pt x="146177" y="22541"/>
                      <a:pt x="111340" y="22541"/>
                    </a:cubicBezTo>
                    <a:lnTo>
                      <a:pt x="65575" y="22541"/>
                    </a:lnTo>
                    <a:lnTo>
                      <a:pt x="32104" y="184428"/>
                    </a:lnTo>
                    <a:close/>
                    <a:moveTo>
                      <a:pt x="117488" y="0"/>
                    </a:moveTo>
                    <a:cubicBezTo>
                      <a:pt x="165302" y="0"/>
                      <a:pt x="193991" y="28689"/>
                      <a:pt x="193991" y="79919"/>
                    </a:cubicBezTo>
                    <a:cubicBezTo>
                      <a:pt x="193991" y="151641"/>
                      <a:pt x="153690" y="208336"/>
                      <a:pt x="79236" y="208336"/>
                    </a:cubicBezTo>
                    <a:lnTo>
                      <a:pt x="0" y="208336"/>
                    </a:lnTo>
                    <a:lnTo>
                      <a:pt x="43717" y="0"/>
                    </a:lnTo>
                    <a:lnTo>
                      <a:pt x="117488" y="0"/>
                    </a:lnTo>
                    <a:close/>
                  </a:path>
                </a:pathLst>
              </a:custGeom>
              <a:solidFill>
                <a:schemeClr val="tx2"/>
              </a:solidFill>
              <a:ln w="6825" cap="flat">
                <a:noFill/>
                <a:prstDash val="solid"/>
                <a:miter/>
              </a:ln>
            </p:spPr>
            <p:txBody>
              <a:bodyPr rtlCol="0" anchor="ctr"/>
              <a:lstStyle/>
              <a:p>
                <a:endParaRPr lang="en-US"/>
              </a:p>
            </p:txBody>
          </p:sp>
        </p:grpSp>
        <p:grpSp>
          <p:nvGrpSpPr>
            <p:cNvPr id="22" name="Group 21" hidden="1">
              <a:extLst>
                <a:ext uri="{FF2B5EF4-FFF2-40B4-BE49-F238E27FC236}">
                  <a16:creationId xmlns:a16="http://schemas.microsoft.com/office/drawing/2014/main" id="{A09A3F84-09B1-4A72-8F18-E48748C5E7FA}"/>
                </a:ext>
              </a:extLst>
            </p:cNvPr>
            <p:cNvGrpSpPr/>
            <p:nvPr/>
          </p:nvGrpSpPr>
          <p:grpSpPr>
            <a:xfrm>
              <a:off x="6654640" y="-415610"/>
              <a:ext cx="562273" cy="256833"/>
              <a:chOff x="6654640" y="-415610"/>
              <a:chExt cx="562273" cy="256833"/>
            </a:xfrm>
            <a:grpFill/>
          </p:grpSpPr>
          <p:sp>
            <p:nvSpPr>
              <p:cNvPr id="23" name="Freeform: Shape 22">
                <a:extLst>
                  <a:ext uri="{FF2B5EF4-FFF2-40B4-BE49-F238E27FC236}">
                    <a16:creationId xmlns:a16="http://schemas.microsoft.com/office/drawing/2014/main" id="{F41E692A-E4E2-43E0-9D6F-047C2FA6256C}"/>
                  </a:ext>
                </a:extLst>
              </p:cNvPr>
              <p:cNvSpPr/>
              <p:nvPr/>
            </p:nvSpPr>
            <p:spPr>
              <a:xfrm>
                <a:off x="6655328" y="-415610"/>
                <a:ext cx="25377" cy="25956"/>
              </a:xfrm>
              <a:custGeom>
                <a:avLst/>
                <a:gdLst>
                  <a:gd name="connsiteX0" fmla="*/ 13030 w 25377"/>
                  <a:gd name="connsiteY0" fmla="*/ 0 h 25956"/>
                  <a:gd name="connsiteX1" fmla="*/ 25326 w 25377"/>
                  <a:gd name="connsiteY1" fmla="*/ 12978 h 25956"/>
                  <a:gd name="connsiteX2" fmla="*/ 12348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4"/>
                      <a:pt x="25326" y="12978"/>
                    </a:cubicBezTo>
                    <a:cubicBezTo>
                      <a:pt x="25326" y="19809"/>
                      <a:pt x="19861" y="25956"/>
                      <a:pt x="12348" y="25956"/>
                    </a:cubicBezTo>
                    <a:cubicBezTo>
                      <a:pt x="5517" y="25956"/>
                      <a:pt x="-631" y="20492"/>
                      <a:pt x="52" y="12978"/>
                    </a:cubicBezTo>
                    <a:cubicBezTo>
                      <a:pt x="52" y="5464"/>
                      <a:pt x="6200" y="0"/>
                      <a:pt x="13030" y="0"/>
                    </a:cubicBezTo>
                  </a:path>
                </a:pathLst>
              </a:custGeom>
              <a:grpFill/>
              <a:ln w="6825"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6325CF4B-D67D-4049-BDE6-1D293B2B9613}"/>
                  </a:ext>
                </a:extLst>
              </p:cNvPr>
              <p:cNvSpPr/>
              <p:nvPr/>
            </p:nvSpPr>
            <p:spPr>
              <a:xfrm>
                <a:off x="6692897" y="-377358"/>
                <a:ext cx="25377" cy="25956"/>
              </a:xfrm>
              <a:custGeom>
                <a:avLst/>
                <a:gdLst>
                  <a:gd name="connsiteX0" fmla="*/ 13030 w 25377"/>
                  <a:gd name="connsiteY0" fmla="*/ 0 h 25956"/>
                  <a:gd name="connsiteX1" fmla="*/ 25326 w 25377"/>
                  <a:gd name="connsiteY1" fmla="*/ 12978 h 25956"/>
                  <a:gd name="connsiteX2" fmla="*/ 12348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4"/>
                      <a:pt x="25326" y="12978"/>
                    </a:cubicBezTo>
                    <a:cubicBezTo>
                      <a:pt x="25326" y="19809"/>
                      <a:pt x="19861" y="25956"/>
                      <a:pt x="12348" y="25956"/>
                    </a:cubicBezTo>
                    <a:cubicBezTo>
                      <a:pt x="5517" y="25956"/>
                      <a:pt x="-631" y="20492"/>
                      <a:pt x="52" y="12978"/>
                    </a:cubicBezTo>
                    <a:cubicBezTo>
                      <a:pt x="52" y="6148"/>
                      <a:pt x="6200" y="0"/>
                      <a:pt x="13030" y="0"/>
                    </a:cubicBezTo>
                  </a:path>
                </a:pathLst>
              </a:custGeom>
              <a:grpFill/>
              <a:ln w="6825"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770FCE56-18DE-43DA-97A6-5C77D6EFBCAE}"/>
                  </a:ext>
                </a:extLst>
              </p:cNvPr>
              <p:cNvSpPr/>
              <p:nvPr/>
            </p:nvSpPr>
            <p:spPr>
              <a:xfrm>
                <a:off x="6692897" y="-415610"/>
                <a:ext cx="25377" cy="25956"/>
              </a:xfrm>
              <a:custGeom>
                <a:avLst/>
                <a:gdLst>
                  <a:gd name="connsiteX0" fmla="*/ 13030 w 25377"/>
                  <a:gd name="connsiteY0" fmla="*/ 0 h 25956"/>
                  <a:gd name="connsiteX1" fmla="*/ 25326 w 25377"/>
                  <a:gd name="connsiteY1" fmla="*/ 12978 h 25956"/>
                  <a:gd name="connsiteX2" fmla="*/ 12348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4"/>
                      <a:pt x="25326" y="12978"/>
                    </a:cubicBezTo>
                    <a:cubicBezTo>
                      <a:pt x="25326" y="19809"/>
                      <a:pt x="19861" y="25956"/>
                      <a:pt x="12348" y="25956"/>
                    </a:cubicBezTo>
                    <a:cubicBezTo>
                      <a:pt x="5517" y="25956"/>
                      <a:pt x="-631" y="20492"/>
                      <a:pt x="52" y="12978"/>
                    </a:cubicBezTo>
                    <a:cubicBezTo>
                      <a:pt x="735" y="5464"/>
                      <a:pt x="6200" y="0"/>
                      <a:pt x="13030" y="0"/>
                    </a:cubicBezTo>
                  </a:path>
                </a:pathLst>
              </a:custGeom>
              <a:grpFill/>
              <a:ln w="68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78AA624B-4590-4E85-AB5F-C934E3DAEDFA}"/>
                  </a:ext>
                </a:extLst>
              </p:cNvPr>
              <p:cNvSpPr/>
              <p:nvPr/>
            </p:nvSpPr>
            <p:spPr>
              <a:xfrm>
                <a:off x="6731149" y="-376676"/>
                <a:ext cx="25377" cy="25956"/>
              </a:xfrm>
              <a:custGeom>
                <a:avLst/>
                <a:gdLst>
                  <a:gd name="connsiteX0" fmla="*/ 13030 w 25377"/>
                  <a:gd name="connsiteY0" fmla="*/ 0 h 25956"/>
                  <a:gd name="connsiteX1" fmla="*/ 25326 w 25377"/>
                  <a:gd name="connsiteY1" fmla="*/ 12978 h 25956"/>
                  <a:gd name="connsiteX2" fmla="*/ 12347 w 25377"/>
                  <a:gd name="connsiteY2" fmla="*/ 25957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5"/>
                      <a:pt x="25326" y="12978"/>
                    </a:cubicBezTo>
                    <a:cubicBezTo>
                      <a:pt x="25326" y="19809"/>
                      <a:pt x="19861" y="25957"/>
                      <a:pt x="12347" y="25957"/>
                    </a:cubicBezTo>
                    <a:cubicBezTo>
                      <a:pt x="5517" y="25957"/>
                      <a:pt x="-631" y="20492"/>
                      <a:pt x="52" y="12978"/>
                    </a:cubicBezTo>
                    <a:cubicBezTo>
                      <a:pt x="52" y="5465"/>
                      <a:pt x="6199" y="0"/>
                      <a:pt x="13030" y="0"/>
                    </a:cubicBezTo>
                  </a:path>
                </a:pathLst>
              </a:custGeom>
              <a:grpFill/>
              <a:ln w="68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8CC0B387-A004-4DF3-AA15-A88911193313}"/>
                  </a:ext>
                </a:extLst>
              </p:cNvPr>
              <p:cNvSpPr/>
              <p:nvPr/>
            </p:nvSpPr>
            <p:spPr>
              <a:xfrm>
                <a:off x="6731149" y="-339107"/>
                <a:ext cx="25377" cy="25956"/>
              </a:xfrm>
              <a:custGeom>
                <a:avLst/>
                <a:gdLst>
                  <a:gd name="connsiteX0" fmla="*/ 13030 w 25377"/>
                  <a:gd name="connsiteY0" fmla="*/ 0 h 25956"/>
                  <a:gd name="connsiteX1" fmla="*/ 25326 w 25377"/>
                  <a:gd name="connsiteY1" fmla="*/ 12978 h 25956"/>
                  <a:gd name="connsiteX2" fmla="*/ 12347 w 25377"/>
                  <a:gd name="connsiteY2" fmla="*/ 25957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5"/>
                      <a:pt x="25326" y="12978"/>
                    </a:cubicBezTo>
                    <a:cubicBezTo>
                      <a:pt x="25326" y="19809"/>
                      <a:pt x="19861" y="25957"/>
                      <a:pt x="12347" y="25957"/>
                    </a:cubicBezTo>
                    <a:cubicBezTo>
                      <a:pt x="5517" y="25957"/>
                      <a:pt x="-631" y="20492"/>
                      <a:pt x="52" y="12978"/>
                    </a:cubicBezTo>
                    <a:cubicBezTo>
                      <a:pt x="52" y="5465"/>
                      <a:pt x="6199" y="0"/>
                      <a:pt x="13030" y="0"/>
                    </a:cubicBezTo>
                  </a:path>
                </a:pathLst>
              </a:custGeom>
              <a:grpFill/>
              <a:ln w="68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A5A8EE40-CA03-45B6-AD01-4336A5B6027B}"/>
                  </a:ext>
                </a:extLst>
              </p:cNvPr>
              <p:cNvSpPr/>
              <p:nvPr/>
            </p:nvSpPr>
            <p:spPr>
              <a:xfrm>
                <a:off x="6731143" y="-415610"/>
                <a:ext cx="25383" cy="25956"/>
              </a:xfrm>
              <a:custGeom>
                <a:avLst/>
                <a:gdLst>
                  <a:gd name="connsiteX0" fmla="*/ 13036 w 25383"/>
                  <a:gd name="connsiteY0" fmla="*/ 0 h 25956"/>
                  <a:gd name="connsiteX1" fmla="*/ 25331 w 25383"/>
                  <a:gd name="connsiteY1" fmla="*/ 12978 h 25956"/>
                  <a:gd name="connsiteX2" fmla="*/ 12353 w 25383"/>
                  <a:gd name="connsiteY2" fmla="*/ 25956 h 25956"/>
                  <a:gd name="connsiteX3" fmla="*/ 58 w 25383"/>
                  <a:gd name="connsiteY3" fmla="*/ 12978 h 25956"/>
                  <a:gd name="connsiteX4" fmla="*/ 13036 w 25383"/>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83" h="25956">
                    <a:moveTo>
                      <a:pt x="13036" y="0"/>
                    </a:moveTo>
                    <a:cubicBezTo>
                      <a:pt x="19866" y="0"/>
                      <a:pt x="26014" y="5464"/>
                      <a:pt x="25331" y="12978"/>
                    </a:cubicBezTo>
                    <a:cubicBezTo>
                      <a:pt x="25331" y="19809"/>
                      <a:pt x="19866" y="25956"/>
                      <a:pt x="12353" y="25956"/>
                    </a:cubicBezTo>
                    <a:cubicBezTo>
                      <a:pt x="4839" y="25956"/>
                      <a:pt x="-626" y="20492"/>
                      <a:pt x="58" y="12978"/>
                    </a:cubicBezTo>
                    <a:cubicBezTo>
                      <a:pt x="741" y="5464"/>
                      <a:pt x="6205" y="0"/>
                      <a:pt x="13036" y="0"/>
                    </a:cubicBezTo>
                  </a:path>
                </a:pathLst>
              </a:custGeom>
              <a:grpFill/>
              <a:ln w="68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49273954-C231-443C-9826-163BE98F392C}"/>
                  </a:ext>
                </a:extLst>
              </p:cNvPr>
              <p:cNvSpPr/>
              <p:nvPr/>
            </p:nvSpPr>
            <p:spPr>
              <a:xfrm>
                <a:off x="6768718" y="-376676"/>
                <a:ext cx="25377" cy="25956"/>
              </a:xfrm>
              <a:custGeom>
                <a:avLst/>
                <a:gdLst>
                  <a:gd name="connsiteX0" fmla="*/ 13030 w 25377"/>
                  <a:gd name="connsiteY0" fmla="*/ 0 h 25956"/>
                  <a:gd name="connsiteX1" fmla="*/ 25326 w 25377"/>
                  <a:gd name="connsiteY1" fmla="*/ 12978 h 25956"/>
                  <a:gd name="connsiteX2" fmla="*/ 12347 w 25377"/>
                  <a:gd name="connsiteY2" fmla="*/ 25957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5"/>
                      <a:pt x="25326" y="12978"/>
                    </a:cubicBezTo>
                    <a:cubicBezTo>
                      <a:pt x="25326" y="19809"/>
                      <a:pt x="19861" y="25957"/>
                      <a:pt x="12347" y="25957"/>
                    </a:cubicBezTo>
                    <a:cubicBezTo>
                      <a:pt x="5517" y="25957"/>
                      <a:pt x="-631" y="20492"/>
                      <a:pt x="52" y="12978"/>
                    </a:cubicBezTo>
                    <a:cubicBezTo>
                      <a:pt x="52" y="5465"/>
                      <a:pt x="6199" y="0"/>
                      <a:pt x="13030" y="0"/>
                    </a:cubicBezTo>
                  </a:path>
                </a:pathLst>
              </a:custGeom>
              <a:grpFill/>
              <a:ln w="6825"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00BA7C5D-3B5F-4371-A13A-F21E51FC579C}"/>
                  </a:ext>
                </a:extLst>
              </p:cNvPr>
              <p:cNvSpPr/>
              <p:nvPr/>
            </p:nvSpPr>
            <p:spPr>
              <a:xfrm>
                <a:off x="6768712" y="-339107"/>
                <a:ext cx="25383" cy="25956"/>
              </a:xfrm>
              <a:custGeom>
                <a:avLst/>
                <a:gdLst>
                  <a:gd name="connsiteX0" fmla="*/ 13036 w 25383"/>
                  <a:gd name="connsiteY0" fmla="*/ 0 h 25956"/>
                  <a:gd name="connsiteX1" fmla="*/ 25331 w 25383"/>
                  <a:gd name="connsiteY1" fmla="*/ 12978 h 25956"/>
                  <a:gd name="connsiteX2" fmla="*/ 12353 w 25383"/>
                  <a:gd name="connsiteY2" fmla="*/ 25957 h 25956"/>
                  <a:gd name="connsiteX3" fmla="*/ 58 w 25383"/>
                  <a:gd name="connsiteY3" fmla="*/ 12978 h 25956"/>
                  <a:gd name="connsiteX4" fmla="*/ 13036 w 25383"/>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83" h="25956">
                    <a:moveTo>
                      <a:pt x="13036" y="0"/>
                    </a:moveTo>
                    <a:cubicBezTo>
                      <a:pt x="19866" y="0"/>
                      <a:pt x="26014" y="5465"/>
                      <a:pt x="25331" y="12978"/>
                    </a:cubicBezTo>
                    <a:cubicBezTo>
                      <a:pt x="25331" y="19809"/>
                      <a:pt x="19866" y="25957"/>
                      <a:pt x="12353" y="25957"/>
                    </a:cubicBezTo>
                    <a:cubicBezTo>
                      <a:pt x="4839" y="25957"/>
                      <a:pt x="-626" y="20492"/>
                      <a:pt x="58" y="12978"/>
                    </a:cubicBezTo>
                    <a:cubicBezTo>
                      <a:pt x="58" y="5465"/>
                      <a:pt x="6205" y="0"/>
                      <a:pt x="13036" y="0"/>
                    </a:cubicBezTo>
                  </a:path>
                </a:pathLst>
              </a:custGeom>
              <a:grpFill/>
              <a:ln w="6825"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945F457A-6690-40BC-AC54-BB5D00147A49}"/>
                  </a:ext>
                </a:extLst>
              </p:cNvPr>
              <p:cNvSpPr/>
              <p:nvPr/>
            </p:nvSpPr>
            <p:spPr>
              <a:xfrm>
                <a:off x="6768718" y="-415610"/>
                <a:ext cx="25377" cy="25956"/>
              </a:xfrm>
              <a:custGeom>
                <a:avLst/>
                <a:gdLst>
                  <a:gd name="connsiteX0" fmla="*/ 13030 w 25377"/>
                  <a:gd name="connsiteY0" fmla="*/ 0 h 25956"/>
                  <a:gd name="connsiteX1" fmla="*/ 25326 w 25377"/>
                  <a:gd name="connsiteY1" fmla="*/ 12978 h 25956"/>
                  <a:gd name="connsiteX2" fmla="*/ 12347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4"/>
                      <a:pt x="25326" y="12978"/>
                    </a:cubicBezTo>
                    <a:cubicBezTo>
                      <a:pt x="24642" y="20492"/>
                      <a:pt x="19861" y="25956"/>
                      <a:pt x="12347" y="25956"/>
                    </a:cubicBezTo>
                    <a:cubicBezTo>
                      <a:pt x="5517" y="25956"/>
                      <a:pt x="-631" y="20492"/>
                      <a:pt x="52" y="12978"/>
                    </a:cubicBezTo>
                    <a:cubicBezTo>
                      <a:pt x="735" y="5464"/>
                      <a:pt x="6199" y="0"/>
                      <a:pt x="13030" y="0"/>
                    </a:cubicBezTo>
                  </a:path>
                </a:pathLst>
              </a:custGeom>
              <a:grpFill/>
              <a:ln w="6825"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887791AF-2F12-445A-99D4-1112932C0A27}"/>
                  </a:ext>
                </a:extLst>
              </p:cNvPr>
              <p:cNvSpPr/>
              <p:nvPr/>
            </p:nvSpPr>
            <p:spPr>
              <a:xfrm>
                <a:off x="6806286" y="-376676"/>
                <a:ext cx="25377" cy="25956"/>
              </a:xfrm>
              <a:custGeom>
                <a:avLst/>
                <a:gdLst>
                  <a:gd name="connsiteX0" fmla="*/ 13030 w 25377"/>
                  <a:gd name="connsiteY0" fmla="*/ 0 h 25956"/>
                  <a:gd name="connsiteX1" fmla="*/ 25326 w 25377"/>
                  <a:gd name="connsiteY1" fmla="*/ 12978 h 25956"/>
                  <a:gd name="connsiteX2" fmla="*/ 12347 w 25377"/>
                  <a:gd name="connsiteY2" fmla="*/ 25957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5"/>
                      <a:pt x="25326" y="12978"/>
                    </a:cubicBezTo>
                    <a:cubicBezTo>
                      <a:pt x="25326" y="19809"/>
                      <a:pt x="19861" y="25957"/>
                      <a:pt x="12347" y="25957"/>
                    </a:cubicBezTo>
                    <a:cubicBezTo>
                      <a:pt x="5517" y="25957"/>
                      <a:pt x="-631" y="20492"/>
                      <a:pt x="52" y="12978"/>
                    </a:cubicBezTo>
                    <a:cubicBezTo>
                      <a:pt x="735" y="5465"/>
                      <a:pt x="6199" y="0"/>
                      <a:pt x="13030" y="0"/>
                    </a:cubicBezTo>
                  </a:path>
                </a:pathLst>
              </a:custGeom>
              <a:grpFill/>
              <a:ln w="6825"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AF7E531C-AB55-4DE6-A4D9-31F5FD577810}"/>
                  </a:ext>
                </a:extLst>
              </p:cNvPr>
              <p:cNvSpPr/>
              <p:nvPr/>
            </p:nvSpPr>
            <p:spPr>
              <a:xfrm>
                <a:off x="6806281" y="-339107"/>
                <a:ext cx="25383" cy="25956"/>
              </a:xfrm>
              <a:custGeom>
                <a:avLst/>
                <a:gdLst>
                  <a:gd name="connsiteX0" fmla="*/ 13036 w 25383"/>
                  <a:gd name="connsiteY0" fmla="*/ 0 h 25956"/>
                  <a:gd name="connsiteX1" fmla="*/ 25331 w 25383"/>
                  <a:gd name="connsiteY1" fmla="*/ 12978 h 25956"/>
                  <a:gd name="connsiteX2" fmla="*/ 12353 w 25383"/>
                  <a:gd name="connsiteY2" fmla="*/ 25957 h 25956"/>
                  <a:gd name="connsiteX3" fmla="*/ 58 w 25383"/>
                  <a:gd name="connsiteY3" fmla="*/ 12978 h 25956"/>
                  <a:gd name="connsiteX4" fmla="*/ 13036 w 25383"/>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83" h="25956">
                    <a:moveTo>
                      <a:pt x="13036" y="0"/>
                    </a:moveTo>
                    <a:cubicBezTo>
                      <a:pt x="19866" y="0"/>
                      <a:pt x="26014" y="5465"/>
                      <a:pt x="25331" y="12978"/>
                    </a:cubicBezTo>
                    <a:cubicBezTo>
                      <a:pt x="25331" y="19809"/>
                      <a:pt x="19866" y="25957"/>
                      <a:pt x="12353" y="25957"/>
                    </a:cubicBezTo>
                    <a:cubicBezTo>
                      <a:pt x="4839" y="25957"/>
                      <a:pt x="-626" y="20492"/>
                      <a:pt x="58" y="12978"/>
                    </a:cubicBezTo>
                    <a:cubicBezTo>
                      <a:pt x="58" y="6148"/>
                      <a:pt x="6205" y="0"/>
                      <a:pt x="13036" y="0"/>
                    </a:cubicBezTo>
                  </a:path>
                </a:pathLst>
              </a:custGeom>
              <a:grpFill/>
              <a:ln w="6825"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795D5DAE-BB7F-47A7-91E8-95CAAE8D97FE}"/>
                  </a:ext>
                </a:extLst>
              </p:cNvPr>
              <p:cNvSpPr/>
              <p:nvPr/>
            </p:nvSpPr>
            <p:spPr>
              <a:xfrm>
                <a:off x="6768718" y="-300855"/>
                <a:ext cx="25377" cy="25956"/>
              </a:xfrm>
              <a:custGeom>
                <a:avLst/>
                <a:gdLst>
                  <a:gd name="connsiteX0" fmla="*/ 13030 w 25377"/>
                  <a:gd name="connsiteY0" fmla="*/ 0 h 25956"/>
                  <a:gd name="connsiteX1" fmla="*/ 25326 w 25377"/>
                  <a:gd name="connsiteY1" fmla="*/ 12978 h 25956"/>
                  <a:gd name="connsiteX2" fmla="*/ 12347 w 25377"/>
                  <a:gd name="connsiteY2" fmla="*/ 25957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5"/>
                      <a:pt x="25326" y="12978"/>
                    </a:cubicBezTo>
                    <a:cubicBezTo>
                      <a:pt x="25326" y="19809"/>
                      <a:pt x="19861" y="25957"/>
                      <a:pt x="12347" y="25957"/>
                    </a:cubicBezTo>
                    <a:cubicBezTo>
                      <a:pt x="5517" y="25957"/>
                      <a:pt x="-631" y="20492"/>
                      <a:pt x="52" y="12978"/>
                    </a:cubicBezTo>
                    <a:cubicBezTo>
                      <a:pt x="52" y="5465"/>
                      <a:pt x="5517" y="0"/>
                      <a:pt x="13030" y="0"/>
                    </a:cubicBezTo>
                  </a:path>
                </a:pathLst>
              </a:custGeom>
              <a:grpFill/>
              <a:ln w="6825"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D9AD6976-E72A-4EF7-8AA7-78095ABDE171}"/>
                  </a:ext>
                </a:extLst>
              </p:cNvPr>
              <p:cNvSpPr/>
              <p:nvPr/>
            </p:nvSpPr>
            <p:spPr>
              <a:xfrm>
                <a:off x="6806286" y="-300855"/>
                <a:ext cx="25377" cy="25956"/>
              </a:xfrm>
              <a:custGeom>
                <a:avLst/>
                <a:gdLst>
                  <a:gd name="connsiteX0" fmla="*/ 13030 w 25377"/>
                  <a:gd name="connsiteY0" fmla="*/ 0 h 25956"/>
                  <a:gd name="connsiteX1" fmla="*/ 25326 w 25377"/>
                  <a:gd name="connsiteY1" fmla="*/ 12978 h 25956"/>
                  <a:gd name="connsiteX2" fmla="*/ 12347 w 25377"/>
                  <a:gd name="connsiteY2" fmla="*/ 25957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5"/>
                      <a:pt x="25326" y="12978"/>
                    </a:cubicBezTo>
                    <a:cubicBezTo>
                      <a:pt x="25326" y="19809"/>
                      <a:pt x="19861" y="25957"/>
                      <a:pt x="12347" y="25957"/>
                    </a:cubicBezTo>
                    <a:cubicBezTo>
                      <a:pt x="5517" y="25957"/>
                      <a:pt x="-631" y="20492"/>
                      <a:pt x="52" y="12978"/>
                    </a:cubicBezTo>
                    <a:cubicBezTo>
                      <a:pt x="52" y="5465"/>
                      <a:pt x="5517" y="0"/>
                      <a:pt x="13030" y="0"/>
                    </a:cubicBezTo>
                  </a:path>
                </a:pathLst>
              </a:custGeom>
              <a:grpFill/>
              <a:ln w="6825"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10732F7B-AA8B-4A69-AC1A-973B7BB95709}"/>
                  </a:ext>
                </a:extLst>
              </p:cNvPr>
              <p:cNvSpPr/>
              <p:nvPr/>
            </p:nvSpPr>
            <p:spPr>
              <a:xfrm>
                <a:off x="6730466" y="-262603"/>
                <a:ext cx="25377" cy="25956"/>
              </a:xfrm>
              <a:custGeom>
                <a:avLst/>
                <a:gdLst>
                  <a:gd name="connsiteX0" fmla="*/ 13030 w 25377"/>
                  <a:gd name="connsiteY0" fmla="*/ 0 h 25956"/>
                  <a:gd name="connsiteX1" fmla="*/ 25326 w 25377"/>
                  <a:gd name="connsiteY1" fmla="*/ 12978 h 25956"/>
                  <a:gd name="connsiteX2" fmla="*/ 12348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4"/>
                      <a:pt x="25326" y="12978"/>
                    </a:cubicBezTo>
                    <a:cubicBezTo>
                      <a:pt x="25326" y="19809"/>
                      <a:pt x="19861" y="25956"/>
                      <a:pt x="12348" y="25956"/>
                    </a:cubicBezTo>
                    <a:cubicBezTo>
                      <a:pt x="5517" y="25956"/>
                      <a:pt x="-631" y="20492"/>
                      <a:pt x="52" y="12978"/>
                    </a:cubicBezTo>
                    <a:cubicBezTo>
                      <a:pt x="735" y="5464"/>
                      <a:pt x="6200" y="0"/>
                      <a:pt x="13030" y="0"/>
                    </a:cubicBezTo>
                  </a:path>
                </a:pathLst>
              </a:custGeom>
              <a:grpFill/>
              <a:ln w="6825"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A3D45DC2-6814-4495-8FF2-C2D8ED9F6555}"/>
                  </a:ext>
                </a:extLst>
              </p:cNvPr>
              <p:cNvSpPr/>
              <p:nvPr/>
            </p:nvSpPr>
            <p:spPr>
              <a:xfrm>
                <a:off x="6768718" y="-262603"/>
                <a:ext cx="25377" cy="25956"/>
              </a:xfrm>
              <a:custGeom>
                <a:avLst/>
                <a:gdLst>
                  <a:gd name="connsiteX0" fmla="*/ 13030 w 25377"/>
                  <a:gd name="connsiteY0" fmla="*/ 0 h 25956"/>
                  <a:gd name="connsiteX1" fmla="*/ 25326 w 25377"/>
                  <a:gd name="connsiteY1" fmla="*/ 12978 h 25956"/>
                  <a:gd name="connsiteX2" fmla="*/ 12347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4"/>
                      <a:pt x="25326" y="12978"/>
                    </a:cubicBezTo>
                    <a:cubicBezTo>
                      <a:pt x="25326" y="19809"/>
                      <a:pt x="19861" y="25956"/>
                      <a:pt x="12347" y="25956"/>
                    </a:cubicBezTo>
                    <a:cubicBezTo>
                      <a:pt x="5517" y="25956"/>
                      <a:pt x="-631" y="20492"/>
                      <a:pt x="52" y="12978"/>
                    </a:cubicBezTo>
                    <a:cubicBezTo>
                      <a:pt x="52" y="6148"/>
                      <a:pt x="5517" y="0"/>
                      <a:pt x="13030" y="0"/>
                    </a:cubicBezTo>
                  </a:path>
                </a:pathLst>
              </a:custGeom>
              <a:grpFill/>
              <a:ln w="6825"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2A15C4AB-4774-46DE-A7A1-98D7EE6FC79A}"/>
                  </a:ext>
                </a:extLst>
              </p:cNvPr>
              <p:cNvSpPr/>
              <p:nvPr/>
            </p:nvSpPr>
            <p:spPr>
              <a:xfrm>
                <a:off x="6806286" y="-262603"/>
                <a:ext cx="25377" cy="25956"/>
              </a:xfrm>
              <a:custGeom>
                <a:avLst/>
                <a:gdLst>
                  <a:gd name="connsiteX0" fmla="*/ 13030 w 25377"/>
                  <a:gd name="connsiteY0" fmla="*/ 0 h 25956"/>
                  <a:gd name="connsiteX1" fmla="*/ 25326 w 25377"/>
                  <a:gd name="connsiteY1" fmla="*/ 12978 h 25956"/>
                  <a:gd name="connsiteX2" fmla="*/ 12347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4"/>
                      <a:pt x="25326" y="12978"/>
                    </a:cubicBezTo>
                    <a:cubicBezTo>
                      <a:pt x="25326" y="19809"/>
                      <a:pt x="19861" y="25956"/>
                      <a:pt x="12347" y="25956"/>
                    </a:cubicBezTo>
                    <a:cubicBezTo>
                      <a:pt x="5517" y="25956"/>
                      <a:pt x="-631" y="20492"/>
                      <a:pt x="52" y="12978"/>
                    </a:cubicBezTo>
                    <a:cubicBezTo>
                      <a:pt x="52" y="6148"/>
                      <a:pt x="5517" y="0"/>
                      <a:pt x="13030" y="0"/>
                    </a:cubicBezTo>
                  </a:path>
                </a:pathLst>
              </a:custGeom>
              <a:grpFill/>
              <a:ln w="6825"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AED0B4EF-EE33-44D0-9208-0BB00270D488}"/>
                  </a:ext>
                </a:extLst>
              </p:cNvPr>
              <p:cNvSpPr/>
              <p:nvPr/>
            </p:nvSpPr>
            <p:spPr>
              <a:xfrm>
                <a:off x="6692208" y="-224403"/>
                <a:ext cx="25383" cy="26008"/>
              </a:xfrm>
              <a:custGeom>
                <a:avLst/>
                <a:gdLst>
                  <a:gd name="connsiteX0" fmla="*/ 13036 w 25383"/>
                  <a:gd name="connsiteY0" fmla="*/ 52 h 26008"/>
                  <a:gd name="connsiteX1" fmla="*/ 25331 w 25383"/>
                  <a:gd name="connsiteY1" fmla="*/ 13030 h 26008"/>
                  <a:gd name="connsiteX2" fmla="*/ 12353 w 25383"/>
                  <a:gd name="connsiteY2" fmla="*/ 26009 h 26008"/>
                  <a:gd name="connsiteX3" fmla="*/ 58 w 25383"/>
                  <a:gd name="connsiteY3" fmla="*/ 13030 h 26008"/>
                  <a:gd name="connsiteX4" fmla="*/ 13036 w 25383"/>
                  <a:gd name="connsiteY4" fmla="*/ 52 h 26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83" h="26008">
                    <a:moveTo>
                      <a:pt x="13036" y="52"/>
                    </a:moveTo>
                    <a:cubicBezTo>
                      <a:pt x="19867" y="52"/>
                      <a:pt x="26014" y="5516"/>
                      <a:pt x="25331" y="13030"/>
                    </a:cubicBezTo>
                    <a:cubicBezTo>
                      <a:pt x="25331" y="19861"/>
                      <a:pt x="19867" y="26009"/>
                      <a:pt x="12353" y="26009"/>
                    </a:cubicBezTo>
                    <a:cubicBezTo>
                      <a:pt x="4839" y="26009"/>
                      <a:pt x="-625" y="20544"/>
                      <a:pt x="58" y="13030"/>
                    </a:cubicBezTo>
                    <a:cubicBezTo>
                      <a:pt x="741" y="5516"/>
                      <a:pt x="6205" y="-631"/>
                      <a:pt x="13036" y="52"/>
                    </a:cubicBezTo>
                  </a:path>
                </a:pathLst>
              </a:custGeom>
              <a:grpFill/>
              <a:ln w="6825"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8F1074B7-1A4E-48F3-A133-DF096BE82A36}"/>
                  </a:ext>
                </a:extLst>
              </p:cNvPr>
              <p:cNvSpPr/>
              <p:nvPr/>
            </p:nvSpPr>
            <p:spPr>
              <a:xfrm>
                <a:off x="6730460" y="-224351"/>
                <a:ext cx="25383" cy="25956"/>
              </a:xfrm>
              <a:custGeom>
                <a:avLst/>
                <a:gdLst>
                  <a:gd name="connsiteX0" fmla="*/ 13036 w 25383"/>
                  <a:gd name="connsiteY0" fmla="*/ 0 h 25956"/>
                  <a:gd name="connsiteX1" fmla="*/ 25331 w 25383"/>
                  <a:gd name="connsiteY1" fmla="*/ 12978 h 25956"/>
                  <a:gd name="connsiteX2" fmla="*/ 12353 w 25383"/>
                  <a:gd name="connsiteY2" fmla="*/ 25957 h 25956"/>
                  <a:gd name="connsiteX3" fmla="*/ 58 w 25383"/>
                  <a:gd name="connsiteY3" fmla="*/ 12978 h 25956"/>
                  <a:gd name="connsiteX4" fmla="*/ 13036 w 25383"/>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83" h="25956">
                    <a:moveTo>
                      <a:pt x="13036" y="0"/>
                    </a:moveTo>
                    <a:cubicBezTo>
                      <a:pt x="19867" y="0"/>
                      <a:pt x="26015" y="5464"/>
                      <a:pt x="25331" y="12978"/>
                    </a:cubicBezTo>
                    <a:cubicBezTo>
                      <a:pt x="25331" y="19809"/>
                      <a:pt x="19867" y="25957"/>
                      <a:pt x="12353" y="25957"/>
                    </a:cubicBezTo>
                    <a:cubicBezTo>
                      <a:pt x="4839" y="25957"/>
                      <a:pt x="-625" y="20492"/>
                      <a:pt x="58" y="12978"/>
                    </a:cubicBezTo>
                    <a:cubicBezTo>
                      <a:pt x="741" y="5464"/>
                      <a:pt x="6205" y="0"/>
                      <a:pt x="13036" y="0"/>
                    </a:cubicBezTo>
                  </a:path>
                </a:pathLst>
              </a:custGeom>
              <a:grpFill/>
              <a:ln w="6825"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9B54442A-2DB3-45CA-AC84-EADC9D0D09BE}"/>
                  </a:ext>
                </a:extLst>
              </p:cNvPr>
              <p:cNvSpPr/>
              <p:nvPr/>
            </p:nvSpPr>
            <p:spPr>
              <a:xfrm>
                <a:off x="6768086" y="-224351"/>
                <a:ext cx="25325" cy="25956"/>
              </a:xfrm>
              <a:custGeom>
                <a:avLst/>
                <a:gdLst>
                  <a:gd name="connsiteX0" fmla="*/ 12978 w 25325"/>
                  <a:gd name="connsiteY0" fmla="*/ 0 h 25956"/>
                  <a:gd name="connsiteX1" fmla="*/ 25274 w 25325"/>
                  <a:gd name="connsiteY1" fmla="*/ 12978 h 25956"/>
                  <a:gd name="connsiteX2" fmla="*/ 12296 w 25325"/>
                  <a:gd name="connsiteY2" fmla="*/ 25957 h 25956"/>
                  <a:gd name="connsiteX3" fmla="*/ 0 w 25325"/>
                  <a:gd name="connsiteY3" fmla="*/ 12978 h 25956"/>
                  <a:gd name="connsiteX4" fmla="*/ 12978 w 25325"/>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25" h="25956">
                    <a:moveTo>
                      <a:pt x="12978" y="0"/>
                    </a:moveTo>
                    <a:cubicBezTo>
                      <a:pt x="19809" y="0"/>
                      <a:pt x="25957" y="5464"/>
                      <a:pt x="25274" y="12978"/>
                    </a:cubicBezTo>
                    <a:cubicBezTo>
                      <a:pt x="25274" y="19809"/>
                      <a:pt x="19809" y="25957"/>
                      <a:pt x="12296" y="25957"/>
                    </a:cubicBezTo>
                    <a:cubicBezTo>
                      <a:pt x="5465" y="25957"/>
                      <a:pt x="0" y="20492"/>
                      <a:pt x="0" y="12978"/>
                    </a:cubicBezTo>
                    <a:cubicBezTo>
                      <a:pt x="683" y="5464"/>
                      <a:pt x="6148" y="0"/>
                      <a:pt x="12978" y="0"/>
                    </a:cubicBezTo>
                  </a:path>
                </a:pathLst>
              </a:custGeom>
              <a:grpFill/>
              <a:ln w="6825"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12200D51-D7C2-47EE-9210-7E7F7281818C}"/>
                  </a:ext>
                </a:extLst>
              </p:cNvPr>
              <p:cNvSpPr/>
              <p:nvPr/>
            </p:nvSpPr>
            <p:spPr>
              <a:xfrm>
                <a:off x="6805603" y="-224351"/>
                <a:ext cx="25377" cy="25956"/>
              </a:xfrm>
              <a:custGeom>
                <a:avLst/>
                <a:gdLst>
                  <a:gd name="connsiteX0" fmla="*/ 13030 w 25377"/>
                  <a:gd name="connsiteY0" fmla="*/ 0 h 25956"/>
                  <a:gd name="connsiteX1" fmla="*/ 25326 w 25377"/>
                  <a:gd name="connsiteY1" fmla="*/ 12978 h 25956"/>
                  <a:gd name="connsiteX2" fmla="*/ 12348 w 25377"/>
                  <a:gd name="connsiteY2" fmla="*/ 25957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4"/>
                      <a:pt x="25326" y="12978"/>
                    </a:cubicBezTo>
                    <a:cubicBezTo>
                      <a:pt x="25326" y="19809"/>
                      <a:pt x="19861" y="25957"/>
                      <a:pt x="12348" y="25957"/>
                    </a:cubicBezTo>
                    <a:cubicBezTo>
                      <a:pt x="5517" y="25957"/>
                      <a:pt x="-631" y="20492"/>
                      <a:pt x="52" y="12978"/>
                    </a:cubicBezTo>
                    <a:cubicBezTo>
                      <a:pt x="735" y="5464"/>
                      <a:pt x="6200" y="0"/>
                      <a:pt x="13030" y="0"/>
                    </a:cubicBezTo>
                  </a:path>
                </a:pathLst>
              </a:custGeom>
              <a:grpFill/>
              <a:ln w="6825"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179E2B62-30E6-44E0-A736-2590503988BC}"/>
                  </a:ext>
                </a:extLst>
              </p:cNvPr>
              <p:cNvSpPr/>
              <p:nvPr/>
            </p:nvSpPr>
            <p:spPr>
              <a:xfrm>
                <a:off x="6845221" y="-338476"/>
                <a:ext cx="25377" cy="26008"/>
              </a:xfrm>
              <a:custGeom>
                <a:avLst/>
                <a:gdLst>
                  <a:gd name="connsiteX0" fmla="*/ 13030 w 25377"/>
                  <a:gd name="connsiteY0" fmla="*/ 52 h 26008"/>
                  <a:gd name="connsiteX1" fmla="*/ 25325 w 25377"/>
                  <a:gd name="connsiteY1" fmla="*/ 13030 h 26008"/>
                  <a:gd name="connsiteX2" fmla="*/ 12347 w 25377"/>
                  <a:gd name="connsiteY2" fmla="*/ 26009 h 26008"/>
                  <a:gd name="connsiteX3" fmla="*/ 52 w 25377"/>
                  <a:gd name="connsiteY3" fmla="*/ 13030 h 26008"/>
                  <a:gd name="connsiteX4" fmla="*/ 13030 w 25377"/>
                  <a:gd name="connsiteY4" fmla="*/ 52 h 26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6008">
                    <a:moveTo>
                      <a:pt x="13030" y="52"/>
                    </a:moveTo>
                    <a:cubicBezTo>
                      <a:pt x="19861" y="52"/>
                      <a:pt x="26009" y="5517"/>
                      <a:pt x="25325" y="13030"/>
                    </a:cubicBezTo>
                    <a:cubicBezTo>
                      <a:pt x="25325" y="19861"/>
                      <a:pt x="19861" y="26009"/>
                      <a:pt x="12347" y="26009"/>
                    </a:cubicBezTo>
                    <a:cubicBezTo>
                      <a:pt x="5517" y="26009"/>
                      <a:pt x="-631" y="20544"/>
                      <a:pt x="52" y="13030"/>
                    </a:cubicBezTo>
                    <a:cubicBezTo>
                      <a:pt x="735" y="5517"/>
                      <a:pt x="6199" y="-631"/>
                      <a:pt x="13030" y="52"/>
                    </a:cubicBezTo>
                  </a:path>
                </a:pathLst>
              </a:custGeom>
              <a:grpFill/>
              <a:ln w="6825"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90BF324D-117F-44DA-AD2F-4C248FA4AB2F}"/>
                  </a:ext>
                </a:extLst>
              </p:cNvPr>
              <p:cNvSpPr/>
              <p:nvPr/>
            </p:nvSpPr>
            <p:spPr>
              <a:xfrm>
                <a:off x="6845221" y="-300855"/>
                <a:ext cx="25377" cy="25956"/>
              </a:xfrm>
              <a:custGeom>
                <a:avLst/>
                <a:gdLst>
                  <a:gd name="connsiteX0" fmla="*/ 13030 w 25377"/>
                  <a:gd name="connsiteY0" fmla="*/ 0 h 25956"/>
                  <a:gd name="connsiteX1" fmla="*/ 25325 w 25377"/>
                  <a:gd name="connsiteY1" fmla="*/ 12978 h 25956"/>
                  <a:gd name="connsiteX2" fmla="*/ 12347 w 25377"/>
                  <a:gd name="connsiteY2" fmla="*/ 25957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5"/>
                      <a:pt x="25325" y="12978"/>
                    </a:cubicBezTo>
                    <a:cubicBezTo>
                      <a:pt x="24642" y="20492"/>
                      <a:pt x="19861" y="25957"/>
                      <a:pt x="12347" y="25957"/>
                    </a:cubicBezTo>
                    <a:cubicBezTo>
                      <a:pt x="5517" y="25957"/>
                      <a:pt x="-631" y="20492"/>
                      <a:pt x="52" y="12978"/>
                    </a:cubicBezTo>
                    <a:cubicBezTo>
                      <a:pt x="735" y="5465"/>
                      <a:pt x="6199" y="0"/>
                      <a:pt x="13030" y="0"/>
                    </a:cubicBezTo>
                  </a:path>
                </a:pathLst>
              </a:custGeom>
              <a:grpFill/>
              <a:ln w="6825"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A971FEA4-3B95-43B1-AF93-6D9B0C9A31DF}"/>
                  </a:ext>
                </a:extLst>
              </p:cNvPr>
              <p:cNvSpPr/>
              <p:nvPr/>
            </p:nvSpPr>
            <p:spPr>
              <a:xfrm>
                <a:off x="6845221" y="-261920"/>
                <a:ext cx="25377" cy="25956"/>
              </a:xfrm>
              <a:custGeom>
                <a:avLst/>
                <a:gdLst>
                  <a:gd name="connsiteX0" fmla="*/ 13030 w 25377"/>
                  <a:gd name="connsiteY0" fmla="*/ 0 h 25956"/>
                  <a:gd name="connsiteX1" fmla="*/ 25325 w 25377"/>
                  <a:gd name="connsiteY1" fmla="*/ 12978 h 25956"/>
                  <a:gd name="connsiteX2" fmla="*/ 12347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4"/>
                      <a:pt x="25325" y="12978"/>
                    </a:cubicBezTo>
                    <a:cubicBezTo>
                      <a:pt x="25325" y="19809"/>
                      <a:pt x="19861" y="25956"/>
                      <a:pt x="12347" y="25956"/>
                    </a:cubicBezTo>
                    <a:cubicBezTo>
                      <a:pt x="5517" y="25956"/>
                      <a:pt x="-631" y="20492"/>
                      <a:pt x="52" y="12978"/>
                    </a:cubicBezTo>
                    <a:cubicBezTo>
                      <a:pt x="52" y="5464"/>
                      <a:pt x="6199" y="0"/>
                      <a:pt x="13030" y="0"/>
                    </a:cubicBezTo>
                  </a:path>
                </a:pathLst>
              </a:custGeom>
              <a:grpFill/>
              <a:ln w="6825"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D908CC54-AF18-4634-A0C2-A623646CD632}"/>
                  </a:ext>
                </a:extLst>
              </p:cNvPr>
              <p:cNvSpPr/>
              <p:nvPr/>
            </p:nvSpPr>
            <p:spPr>
              <a:xfrm>
                <a:off x="6654640" y="-185417"/>
                <a:ext cx="25383" cy="25956"/>
              </a:xfrm>
              <a:custGeom>
                <a:avLst/>
                <a:gdLst>
                  <a:gd name="connsiteX0" fmla="*/ 13036 w 25383"/>
                  <a:gd name="connsiteY0" fmla="*/ 0 h 25956"/>
                  <a:gd name="connsiteX1" fmla="*/ 25331 w 25383"/>
                  <a:gd name="connsiteY1" fmla="*/ 12978 h 25956"/>
                  <a:gd name="connsiteX2" fmla="*/ 12353 w 25383"/>
                  <a:gd name="connsiteY2" fmla="*/ 25956 h 25956"/>
                  <a:gd name="connsiteX3" fmla="*/ 58 w 25383"/>
                  <a:gd name="connsiteY3" fmla="*/ 12978 h 25956"/>
                  <a:gd name="connsiteX4" fmla="*/ 13036 w 25383"/>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83" h="25956">
                    <a:moveTo>
                      <a:pt x="13036" y="0"/>
                    </a:moveTo>
                    <a:cubicBezTo>
                      <a:pt x="19867" y="0"/>
                      <a:pt x="26014" y="5464"/>
                      <a:pt x="25331" y="12978"/>
                    </a:cubicBezTo>
                    <a:cubicBezTo>
                      <a:pt x="24648" y="20492"/>
                      <a:pt x="19867" y="25956"/>
                      <a:pt x="12353" y="25956"/>
                    </a:cubicBezTo>
                    <a:cubicBezTo>
                      <a:pt x="4839" y="25956"/>
                      <a:pt x="-625" y="20492"/>
                      <a:pt x="58" y="12978"/>
                    </a:cubicBezTo>
                    <a:cubicBezTo>
                      <a:pt x="58" y="5464"/>
                      <a:pt x="6205" y="0"/>
                      <a:pt x="13036" y="0"/>
                    </a:cubicBezTo>
                  </a:path>
                </a:pathLst>
              </a:custGeom>
              <a:grpFill/>
              <a:ln w="6825"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5BEEC54B-A1E1-4EFA-B776-2ABF62C1F872}"/>
                  </a:ext>
                </a:extLst>
              </p:cNvPr>
              <p:cNvSpPr/>
              <p:nvPr/>
            </p:nvSpPr>
            <p:spPr>
              <a:xfrm>
                <a:off x="6692208" y="-185417"/>
                <a:ext cx="25383" cy="25956"/>
              </a:xfrm>
              <a:custGeom>
                <a:avLst/>
                <a:gdLst>
                  <a:gd name="connsiteX0" fmla="*/ 13036 w 25383"/>
                  <a:gd name="connsiteY0" fmla="*/ 0 h 25956"/>
                  <a:gd name="connsiteX1" fmla="*/ 25331 w 25383"/>
                  <a:gd name="connsiteY1" fmla="*/ 12978 h 25956"/>
                  <a:gd name="connsiteX2" fmla="*/ 12353 w 25383"/>
                  <a:gd name="connsiteY2" fmla="*/ 25956 h 25956"/>
                  <a:gd name="connsiteX3" fmla="*/ 58 w 25383"/>
                  <a:gd name="connsiteY3" fmla="*/ 12978 h 25956"/>
                  <a:gd name="connsiteX4" fmla="*/ 13036 w 25383"/>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83" h="25956">
                    <a:moveTo>
                      <a:pt x="13036" y="0"/>
                    </a:moveTo>
                    <a:cubicBezTo>
                      <a:pt x="19867" y="0"/>
                      <a:pt x="26014" y="5464"/>
                      <a:pt x="25331" y="12978"/>
                    </a:cubicBezTo>
                    <a:cubicBezTo>
                      <a:pt x="25331" y="19809"/>
                      <a:pt x="19867" y="25956"/>
                      <a:pt x="12353" y="25956"/>
                    </a:cubicBezTo>
                    <a:cubicBezTo>
                      <a:pt x="4839" y="25956"/>
                      <a:pt x="-625" y="20492"/>
                      <a:pt x="58" y="12978"/>
                    </a:cubicBezTo>
                    <a:cubicBezTo>
                      <a:pt x="741" y="5464"/>
                      <a:pt x="6205" y="0"/>
                      <a:pt x="13036" y="0"/>
                    </a:cubicBezTo>
                  </a:path>
                </a:pathLst>
              </a:custGeom>
              <a:grpFill/>
              <a:ln w="6825"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ACED731C-E73B-4F24-AA85-F2BEE1E74E1C}"/>
                  </a:ext>
                </a:extLst>
              </p:cNvPr>
              <p:cNvSpPr/>
              <p:nvPr/>
            </p:nvSpPr>
            <p:spPr>
              <a:xfrm>
                <a:off x="6730518" y="-184785"/>
                <a:ext cx="25325" cy="26008"/>
              </a:xfrm>
              <a:custGeom>
                <a:avLst/>
                <a:gdLst>
                  <a:gd name="connsiteX0" fmla="*/ 12978 w 25325"/>
                  <a:gd name="connsiteY0" fmla="*/ 52 h 26008"/>
                  <a:gd name="connsiteX1" fmla="*/ 25274 w 25325"/>
                  <a:gd name="connsiteY1" fmla="*/ 13030 h 26008"/>
                  <a:gd name="connsiteX2" fmla="*/ 12296 w 25325"/>
                  <a:gd name="connsiteY2" fmla="*/ 26008 h 26008"/>
                  <a:gd name="connsiteX3" fmla="*/ 0 w 25325"/>
                  <a:gd name="connsiteY3" fmla="*/ 13030 h 26008"/>
                  <a:gd name="connsiteX4" fmla="*/ 12978 w 25325"/>
                  <a:gd name="connsiteY4" fmla="*/ 52 h 26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25" h="26008">
                    <a:moveTo>
                      <a:pt x="12978" y="52"/>
                    </a:moveTo>
                    <a:cubicBezTo>
                      <a:pt x="19809" y="52"/>
                      <a:pt x="25957" y="5516"/>
                      <a:pt x="25274" y="13030"/>
                    </a:cubicBezTo>
                    <a:cubicBezTo>
                      <a:pt x="25274" y="19861"/>
                      <a:pt x="19809" y="26008"/>
                      <a:pt x="12296" y="26008"/>
                    </a:cubicBezTo>
                    <a:cubicBezTo>
                      <a:pt x="5465" y="26008"/>
                      <a:pt x="0" y="20544"/>
                      <a:pt x="0" y="13030"/>
                    </a:cubicBezTo>
                    <a:cubicBezTo>
                      <a:pt x="683" y="5516"/>
                      <a:pt x="6148" y="-631"/>
                      <a:pt x="12978" y="52"/>
                    </a:cubicBezTo>
                  </a:path>
                </a:pathLst>
              </a:custGeom>
              <a:grpFill/>
              <a:ln w="6825"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DB6EEA92-269E-44C9-96E7-7E6803AE5BEA}"/>
                  </a:ext>
                </a:extLst>
              </p:cNvPr>
              <p:cNvSpPr/>
              <p:nvPr/>
            </p:nvSpPr>
            <p:spPr>
              <a:xfrm>
                <a:off x="6768034" y="-184733"/>
                <a:ext cx="25377" cy="25956"/>
              </a:xfrm>
              <a:custGeom>
                <a:avLst/>
                <a:gdLst>
                  <a:gd name="connsiteX0" fmla="*/ 13030 w 25377"/>
                  <a:gd name="connsiteY0" fmla="*/ 0 h 25956"/>
                  <a:gd name="connsiteX1" fmla="*/ 25326 w 25377"/>
                  <a:gd name="connsiteY1" fmla="*/ 12978 h 25956"/>
                  <a:gd name="connsiteX2" fmla="*/ 12348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4"/>
                      <a:pt x="25326" y="12978"/>
                    </a:cubicBezTo>
                    <a:cubicBezTo>
                      <a:pt x="25326" y="19809"/>
                      <a:pt x="19861" y="25956"/>
                      <a:pt x="12348" y="25956"/>
                    </a:cubicBezTo>
                    <a:cubicBezTo>
                      <a:pt x="5517" y="25956"/>
                      <a:pt x="-631" y="20492"/>
                      <a:pt x="52" y="12978"/>
                    </a:cubicBezTo>
                    <a:cubicBezTo>
                      <a:pt x="735" y="5464"/>
                      <a:pt x="6200" y="0"/>
                      <a:pt x="13030" y="0"/>
                    </a:cubicBezTo>
                  </a:path>
                </a:pathLst>
              </a:custGeom>
              <a:grpFill/>
              <a:ln w="6825"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CC409E83-5FE3-4186-9AE0-3F79C44974BD}"/>
                  </a:ext>
                </a:extLst>
              </p:cNvPr>
              <p:cNvSpPr/>
              <p:nvPr/>
            </p:nvSpPr>
            <p:spPr>
              <a:xfrm>
                <a:off x="6882784" y="-300855"/>
                <a:ext cx="25382" cy="25956"/>
              </a:xfrm>
              <a:custGeom>
                <a:avLst/>
                <a:gdLst>
                  <a:gd name="connsiteX0" fmla="*/ 13036 w 25382"/>
                  <a:gd name="connsiteY0" fmla="*/ 0 h 25956"/>
                  <a:gd name="connsiteX1" fmla="*/ 25331 w 25382"/>
                  <a:gd name="connsiteY1" fmla="*/ 12978 h 25956"/>
                  <a:gd name="connsiteX2" fmla="*/ 12353 w 25382"/>
                  <a:gd name="connsiteY2" fmla="*/ 25957 h 25956"/>
                  <a:gd name="connsiteX3" fmla="*/ 58 w 25382"/>
                  <a:gd name="connsiteY3" fmla="*/ 12978 h 25956"/>
                  <a:gd name="connsiteX4" fmla="*/ 13036 w 25382"/>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82" h="25956">
                    <a:moveTo>
                      <a:pt x="13036" y="0"/>
                    </a:moveTo>
                    <a:cubicBezTo>
                      <a:pt x="19866" y="0"/>
                      <a:pt x="26014" y="5465"/>
                      <a:pt x="25331" y="12978"/>
                    </a:cubicBezTo>
                    <a:cubicBezTo>
                      <a:pt x="25331" y="19809"/>
                      <a:pt x="19866" y="25957"/>
                      <a:pt x="12353" y="25957"/>
                    </a:cubicBezTo>
                    <a:cubicBezTo>
                      <a:pt x="4839" y="25957"/>
                      <a:pt x="-626" y="20492"/>
                      <a:pt x="58" y="12978"/>
                    </a:cubicBezTo>
                    <a:cubicBezTo>
                      <a:pt x="741" y="5465"/>
                      <a:pt x="6205" y="0"/>
                      <a:pt x="13036" y="0"/>
                    </a:cubicBezTo>
                  </a:path>
                </a:pathLst>
              </a:custGeom>
              <a:grpFill/>
              <a:ln w="6825"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93EBB113-2CD4-43F8-B779-0EDE823F2695}"/>
                  </a:ext>
                </a:extLst>
              </p:cNvPr>
              <p:cNvSpPr/>
              <p:nvPr/>
            </p:nvSpPr>
            <p:spPr>
              <a:xfrm>
                <a:off x="6809018" y="-415610"/>
                <a:ext cx="25377" cy="25956"/>
              </a:xfrm>
              <a:custGeom>
                <a:avLst/>
                <a:gdLst>
                  <a:gd name="connsiteX0" fmla="*/ 13030 w 25377"/>
                  <a:gd name="connsiteY0" fmla="*/ 0 h 25956"/>
                  <a:gd name="connsiteX1" fmla="*/ 25326 w 25377"/>
                  <a:gd name="connsiteY1" fmla="*/ 12978 h 25956"/>
                  <a:gd name="connsiteX2" fmla="*/ 12348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4"/>
                      <a:pt x="25326" y="12978"/>
                    </a:cubicBezTo>
                    <a:cubicBezTo>
                      <a:pt x="25326" y="19809"/>
                      <a:pt x="19861" y="25956"/>
                      <a:pt x="12348" y="25956"/>
                    </a:cubicBezTo>
                    <a:cubicBezTo>
                      <a:pt x="5517" y="25956"/>
                      <a:pt x="-631" y="20492"/>
                      <a:pt x="52" y="12978"/>
                    </a:cubicBezTo>
                    <a:cubicBezTo>
                      <a:pt x="52" y="5464"/>
                      <a:pt x="5517" y="0"/>
                      <a:pt x="13030" y="0"/>
                    </a:cubicBezTo>
                  </a:path>
                </a:pathLst>
              </a:custGeom>
              <a:grpFill/>
              <a:ln w="6825"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9635D8D0-54BA-443D-838D-A7A72C6992F1}"/>
                  </a:ext>
                </a:extLst>
              </p:cNvPr>
              <p:cNvSpPr/>
              <p:nvPr/>
            </p:nvSpPr>
            <p:spPr>
              <a:xfrm>
                <a:off x="6846639" y="-377358"/>
                <a:ext cx="25325" cy="25956"/>
              </a:xfrm>
              <a:custGeom>
                <a:avLst/>
                <a:gdLst>
                  <a:gd name="connsiteX0" fmla="*/ 12978 w 25325"/>
                  <a:gd name="connsiteY0" fmla="*/ 0 h 25956"/>
                  <a:gd name="connsiteX1" fmla="*/ 25274 w 25325"/>
                  <a:gd name="connsiteY1" fmla="*/ 12978 h 25956"/>
                  <a:gd name="connsiteX2" fmla="*/ 12296 w 25325"/>
                  <a:gd name="connsiteY2" fmla="*/ 25956 h 25956"/>
                  <a:gd name="connsiteX3" fmla="*/ 0 w 25325"/>
                  <a:gd name="connsiteY3" fmla="*/ 12978 h 25956"/>
                  <a:gd name="connsiteX4" fmla="*/ 12978 w 25325"/>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25" h="25956">
                    <a:moveTo>
                      <a:pt x="12978" y="0"/>
                    </a:moveTo>
                    <a:cubicBezTo>
                      <a:pt x="19809" y="0"/>
                      <a:pt x="25957" y="5464"/>
                      <a:pt x="25274" y="12978"/>
                    </a:cubicBezTo>
                    <a:cubicBezTo>
                      <a:pt x="25274" y="19809"/>
                      <a:pt x="19809" y="25956"/>
                      <a:pt x="12296" y="25956"/>
                    </a:cubicBezTo>
                    <a:cubicBezTo>
                      <a:pt x="5465" y="25956"/>
                      <a:pt x="0" y="20492"/>
                      <a:pt x="0" y="12978"/>
                    </a:cubicBezTo>
                    <a:cubicBezTo>
                      <a:pt x="0" y="6148"/>
                      <a:pt x="5465" y="0"/>
                      <a:pt x="12978" y="0"/>
                    </a:cubicBezTo>
                  </a:path>
                </a:pathLst>
              </a:custGeom>
              <a:grpFill/>
              <a:ln w="6825"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50099570-1F53-4AB0-82DD-23B4C09972C5}"/>
                  </a:ext>
                </a:extLst>
              </p:cNvPr>
              <p:cNvSpPr/>
              <p:nvPr/>
            </p:nvSpPr>
            <p:spPr>
              <a:xfrm>
                <a:off x="6846587" y="-415610"/>
                <a:ext cx="25377" cy="25956"/>
              </a:xfrm>
              <a:custGeom>
                <a:avLst/>
                <a:gdLst>
                  <a:gd name="connsiteX0" fmla="*/ 13030 w 25377"/>
                  <a:gd name="connsiteY0" fmla="*/ 0 h 25956"/>
                  <a:gd name="connsiteX1" fmla="*/ 25326 w 25377"/>
                  <a:gd name="connsiteY1" fmla="*/ 12978 h 25956"/>
                  <a:gd name="connsiteX2" fmla="*/ 12348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4"/>
                      <a:pt x="25326" y="12978"/>
                    </a:cubicBezTo>
                    <a:cubicBezTo>
                      <a:pt x="25326" y="19809"/>
                      <a:pt x="19861" y="25956"/>
                      <a:pt x="12348" y="25956"/>
                    </a:cubicBezTo>
                    <a:cubicBezTo>
                      <a:pt x="5517" y="25956"/>
                      <a:pt x="-631" y="20492"/>
                      <a:pt x="52" y="12978"/>
                    </a:cubicBezTo>
                    <a:cubicBezTo>
                      <a:pt x="52" y="5464"/>
                      <a:pt x="5517" y="0"/>
                      <a:pt x="13030" y="0"/>
                    </a:cubicBezTo>
                  </a:path>
                </a:pathLst>
              </a:custGeom>
              <a:grpFill/>
              <a:ln w="6825"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BD79AF76-B87B-4F5B-A574-8604C35121B4}"/>
                  </a:ext>
                </a:extLst>
              </p:cNvPr>
              <p:cNvSpPr/>
              <p:nvPr/>
            </p:nvSpPr>
            <p:spPr>
              <a:xfrm>
                <a:off x="6884833" y="-376676"/>
                <a:ext cx="25383" cy="25956"/>
              </a:xfrm>
              <a:custGeom>
                <a:avLst/>
                <a:gdLst>
                  <a:gd name="connsiteX0" fmla="*/ 13036 w 25383"/>
                  <a:gd name="connsiteY0" fmla="*/ 0 h 25956"/>
                  <a:gd name="connsiteX1" fmla="*/ 25331 w 25383"/>
                  <a:gd name="connsiteY1" fmla="*/ 12978 h 25956"/>
                  <a:gd name="connsiteX2" fmla="*/ 12353 w 25383"/>
                  <a:gd name="connsiteY2" fmla="*/ 25957 h 25956"/>
                  <a:gd name="connsiteX3" fmla="*/ 58 w 25383"/>
                  <a:gd name="connsiteY3" fmla="*/ 12978 h 25956"/>
                  <a:gd name="connsiteX4" fmla="*/ 13036 w 25383"/>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83" h="25956">
                    <a:moveTo>
                      <a:pt x="13036" y="0"/>
                    </a:moveTo>
                    <a:cubicBezTo>
                      <a:pt x="19866" y="0"/>
                      <a:pt x="26014" y="5465"/>
                      <a:pt x="25331" y="12978"/>
                    </a:cubicBezTo>
                    <a:cubicBezTo>
                      <a:pt x="25331" y="19809"/>
                      <a:pt x="19866" y="25957"/>
                      <a:pt x="12353" y="25957"/>
                    </a:cubicBezTo>
                    <a:cubicBezTo>
                      <a:pt x="4839" y="25957"/>
                      <a:pt x="-626" y="20492"/>
                      <a:pt x="58" y="12978"/>
                    </a:cubicBezTo>
                    <a:cubicBezTo>
                      <a:pt x="58" y="5465"/>
                      <a:pt x="5522" y="0"/>
                      <a:pt x="13036" y="0"/>
                    </a:cubicBezTo>
                  </a:path>
                </a:pathLst>
              </a:custGeom>
              <a:grpFill/>
              <a:ln w="6825"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54FC2A02-5CD1-4A35-863D-3EB1A80D2A15}"/>
                  </a:ext>
                </a:extLst>
              </p:cNvPr>
              <p:cNvSpPr/>
              <p:nvPr/>
            </p:nvSpPr>
            <p:spPr>
              <a:xfrm>
                <a:off x="6884833" y="-339107"/>
                <a:ext cx="25383" cy="25956"/>
              </a:xfrm>
              <a:custGeom>
                <a:avLst/>
                <a:gdLst>
                  <a:gd name="connsiteX0" fmla="*/ 13036 w 25383"/>
                  <a:gd name="connsiteY0" fmla="*/ 0 h 25956"/>
                  <a:gd name="connsiteX1" fmla="*/ 25331 w 25383"/>
                  <a:gd name="connsiteY1" fmla="*/ 12978 h 25956"/>
                  <a:gd name="connsiteX2" fmla="*/ 12353 w 25383"/>
                  <a:gd name="connsiteY2" fmla="*/ 25957 h 25956"/>
                  <a:gd name="connsiteX3" fmla="*/ 58 w 25383"/>
                  <a:gd name="connsiteY3" fmla="*/ 12978 h 25956"/>
                  <a:gd name="connsiteX4" fmla="*/ 13036 w 25383"/>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83" h="25956">
                    <a:moveTo>
                      <a:pt x="13036" y="0"/>
                    </a:moveTo>
                    <a:cubicBezTo>
                      <a:pt x="19866" y="0"/>
                      <a:pt x="26014" y="5465"/>
                      <a:pt x="25331" y="12978"/>
                    </a:cubicBezTo>
                    <a:cubicBezTo>
                      <a:pt x="25331" y="19809"/>
                      <a:pt x="19866" y="25957"/>
                      <a:pt x="12353" y="25957"/>
                    </a:cubicBezTo>
                    <a:cubicBezTo>
                      <a:pt x="4839" y="25957"/>
                      <a:pt x="-626" y="20492"/>
                      <a:pt x="58" y="12978"/>
                    </a:cubicBezTo>
                    <a:cubicBezTo>
                      <a:pt x="58" y="5465"/>
                      <a:pt x="5522" y="0"/>
                      <a:pt x="13036" y="0"/>
                    </a:cubicBezTo>
                  </a:path>
                </a:pathLst>
              </a:custGeom>
              <a:grpFill/>
              <a:ln w="6825"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5BA00B23-9C4B-4CEE-9C01-80D57D756869}"/>
                  </a:ext>
                </a:extLst>
              </p:cNvPr>
              <p:cNvSpPr/>
              <p:nvPr/>
            </p:nvSpPr>
            <p:spPr>
              <a:xfrm>
                <a:off x="6884839" y="-415610"/>
                <a:ext cx="25377" cy="25956"/>
              </a:xfrm>
              <a:custGeom>
                <a:avLst/>
                <a:gdLst>
                  <a:gd name="connsiteX0" fmla="*/ 13030 w 25377"/>
                  <a:gd name="connsiteY0" fmla="*/ 0 h 25956"/>
                  <a:gd name="connsiteX1" fmla="*/ 25326 w 25377"/>
                  <a:gd name="connsiteY1" fmla="*/ 12978 h 25956"/>
                  <a:gd name="connsiteX2" fmla="*/ 12347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4"/>
                      <a:pt x="25326" y="12978"/>
                    </a:cubicBezTo>
                    <a:cubicBezTo>
                      <a:pt x="25326" y="19809"/>
                      <a:pt x="19861" y="25956"/>
                      <a:pt x="12347" y="25956"/>
                    </a:cubicBezTo>
                    <a:cubicBezTo>
                      <a:pt x="5517" y="25956"/>
                      <a:pt x="-631" y="20492"/>
                      <a:pt x="52" y="12978"/>
                    </a:cubicBezTo>
                    <a:cubicBezTo>
                      <a:pt x="52" y="5464"/>
                      <a:pt x="6199" y="0"/>
                      <a:pt x="13030" y="0"/>
                    </a:cubicBezTo>
                  </a:path>
                </a:pathLst>
              </a:custGeom>
              <a:grpFill/>
              <a:ln w="6825"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05A575C2-A001-4962-B0B6-90A0FB81C221}"/>
                  </a:ext>
                </a:extLst>
              </p:cNvPr>
              <p:cNvSpPr/>
              <p:nvPr/>
            </p:nvSpPr>
            <p:spPr>
              <a:xfrm>
                <a:off x="6922460" y="-376676"/>
                <a:ext cx="25325" cy="25956"/>
              </a:xfrm>
              <a:custGeom>
                <a:avLst/>
                <a:gdLst>
                  <a:gd name="connsiteX0" fmla="*/ 12978 w 25325"/>
                  <a:gd name="connsiteY0" fmla="*/ 0 h 25956"/>
                  <a:gd name="connsiteX1" fmla="*/ 25274 w 25325"/>
                  <a:gd name="connsiteY1" fmla="*/ 12978 h 25956"/>
                  <a:gd name="connsiteX2" fmla="*/ 12295 w 25325"/>
                  <a:gd name="connsiteY2" fmla="*/ 25957 h 25956"/>
                  <a:gd name="connsiteX3" fmla="*/ 0 w 25325"/>
                  <a:gd name="connsiteY3" fmla="*/ 12978 h 25956"/>
                  <a:gd name="connsiteX4" fmla="*/ 12978 w 25325"/>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25" h="25956">
                    <a:moveTo>
                      <a:pt x="12978" y="0"/>
                    </a:moveTo>
                    <a:cubicBezTo>
                      <a:pt x="19809" y="0"/>
                      <a:pt x="25956" y="5465"/>
                      <a:pt x="25274" y="12978"/>
                    </a:cubicBezTo>
                    <a:cubicBezTo>
                      <a:pt x="25274" y="19809"/>
                      <a:pt x="19809" y="25957"/>
                      <a:pt x="12295" y="25957"/>
                    </a:cubicBezTo>
                    <a:cubicBezTo>
                      <a:pt x="5464" y="25957"/>
                      <a:pt x="0" y="20492"/>
                      <a:pt x="0" y="12978"/>
                    </a:cubicBezTo>
                    <a:cubicBezTo>
                      <a:pt x="0" y="5465"/>
                      <a:pt x="5464" y="0"/>
                      <a:pt x="12978" y="0"/>
                    </a:cubicBezTo>
                  </a:path>
                </a:pathLst>
              </a:custGeom>
              <a:grpFill/>
              <a:ln w="6825"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5D80290F-5A88-4FAB-9C7E-33E113A822D8}"/>
                  </a:ext>
                </a:extLst>
              </p:cNvPr>
              <p:cNvSpPr/>
              <p:nvPr/>
            </p:nvSpPr>
            <p:spPr>
              <a:xfrm>
                <a:off x="6922408" y="-339107"/>
                <a:ext cx="25377" cy="25956"/>
              </a:xfrm>
              <a:custGeom>
                <a:avLst/>
                <a:gdLst>
                  <a:gd name="connsiteX0" fmla="*/ 13030 w 25377"/>
                  <a:gd name="connsiteY0" fmla="*/ 0 h 25956"/>
                  <a:gd name="connsiteX1" fmla="*/ 25326 w 25377"/>
                  <a:gd name="connsiteY1" fmla="*/ 12978 h 25956"/>
                  <a:gd name="connsiteX2" fmla="*/ 12347 w 25377"/>
                  <a:gd name="connsiteY2" fmla="*/ 25957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5"/>
                      <a:pt x="25326" y="12978"/>
                    </a:cubicBezTo>
                    <a:cubicBezTo>
                      <a:pt x="25326" y="19809"/>
                      <a:pt x="19861" y="25957"/>
                      <a:pt x="12347" y="25957"/>
                    </a:cubicBezTo>
                    <a:cubicBezTo>
                      <a:pt x="5517" y="25957"/>
                      <a:pt x="-631" y="20492"/>
                      <a:pt x="52" y="12978"/>
                    </a:cubicBezTo>
                    <a:cubicBezTo>
                      <a:pt x="52" y="5465"/>
                      <a:pt x="5517" y="0"/>
                      <a:pt x="13030" y="0"/>
                    </a:cubicBezTo>
                  </a:path>
                </a:pathLst>
              </a:custGeom>
              <a:grpFill/>
              <a:ln w="6825"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8FA63DEC-15CE-4382-AD4A-F4831BDAF3BE}"/>
                  </a:ext>
                </a:extLst>
              </p:cNvPr>
              <p:cNvSpPr/>
              <p:nvPr/>
            </p:nvSpPr>
            <p:spPr>
              <a:xfrm>
                <a:off x="6922460" y="-415610"/>
                <a:ext cx="25325" cy="25956"/>
              </a:xfrm>
              <a:custGeom>
                <a:avLst/>
                <a:gdLst>
                  <a:gd name="connsiteX0" fmla="*/ 12978 w 25325"/>
                  <a:gd name="connsiteY0" fmla="*/ 0 h 25956"/>
                  <a:gd name="connsiteX1" fmla="*/ 25274 w 25325"/>
                  <a:gd name="connsiteY1" fmla="*/ 12978 h 25956"/>
                  <a:gd name="connsiteX2" fmla="*/ 12295 w 25325"/>
                  <a:gd name="connsiteY2" fmla="*/ 25956 h 25956"/>
                  <a:gd name="connsiteX3" fmla="*/ 0 w 25325"/>
                  <a:gd name="connsiteY3" fmla="*/ 12978 h 25956"/>
                  <a:gd name="connsiteX4" fmla="*/ 12978 w 25325"/>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25" h="25956">
                    <a:moveTo>
                      <a:pt x="12978" y="0"/>
                    </a:moveTo>
                    <a:cubicBezTo>
                      <a:pt x="19809" y="0"/>
                      <a:pt x="25956" y="5464"/>
                      <a:pt x="25274" y="12978"/>
                    </a:cubicBezTo>
                    <a:cubicBezTo>
                      <a:pt x="25274" y="19809"/>
                      <a:pt x="19809" y="25956"/>
                      <a:pt x="12295" y="25956"/>
                    </a:cubicBezTo>
                    <a:cubicBezTo>
                      <a:pt x="5464" y="25956"/>
                      <a:pt x="0" y="20492"/>
                      <a:pt x="0" y="12978"/>
                    </a:cubicBezTo>
                    <a:cubicBezTo>
                      <a:pt x="0" y="5464"/>
                      <a:pt x="6147" y="0"/>
                      <a:pt x="12978" y="0"/>
                    </a:cubicBezTo>
                  </a:path>
                </a:pathLst>
              </a:custGeom>
              <a:grpFill/>
              <a:ln w="6825"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69DC6210-7C8B-440C-9E8D-3FCDCCCD41DC}"/>
                  </a:ext>
                </a:extLst>
              </p:cNvPr>
              <p:cNvSpPr/>
              <p:nvPr/>
            </p:nvSpPr>
            <p:spPr>
              <a:xfrm>
                <a:off x="6959971" y="-376676"/>
                <a:ext cx="25383" cy="25956"/>
              </a:xfrm>
              <a:custGeom>
                <a:avLst/>
                <a:gdLst>
                  <a:gd name="connsiteX0" fmla="*/ 13036 w 25383"/>
                  <a:gd name="connsiteY0" fmla="*/ 0 h 25956"/>
                  <a:gd name="connsiteX1" fmla="*/ 25331 w 25383"/>
                  <a:gd name="connsiteY1" fmla="*/ 12978 h 25956"/>
                  <a:gd name="connsiteX2" fmla="*/ 12353 w 25383"/>
                  <a:gd name="connsiteY2" fmla="*/ 25957 h 25956"/>
                  <a:gd name="connsiteX3" fmla="*/ 58 w 25383"/>
                  <a:gd name="connsiteY3" fmla="*/ 12978 h 25956"/>
                  <a:gd name="connsiteX4" fmla="*/ 13036 w 25383"/>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83" h="25956">
                    <a:moveTo>
                      <a:pt x="13036" y="0"/>
                    </a:moveTo>
                    <a:cubicBezTo>
                      <a:pt x="19866" y="0"/>
                      <a:pt x="26014" y="5465"/>
                      <a:pt x="25331" y="12978"/>
                    </a:cubicBezTo>
                    <a:cubicBezTo>
                      <a:pt x="25331" y="19809"/>
                      <a:pt x="19866" y="25957"/>
                      <a:pt x="12353" y="25957"/>
                    </a:cubicBezTo>
                    <a:cubicBezTo>
                      <a:pt x="4839" y="25957"/>
                      <a:pt x="-626" y="20492"/>
                      <a:pt x="58" y="12978"/>
                    </a:cubicBezTo>
                    <a:cubicBezTo>
                      <a:pt x="58" y="5465"/>
                      <a:pt x="6205" y="0"/>
                      <a:pt x="13036" y="0"/>
                    </a:cubicBezTo>
                  </a:path>
                </a:pathLst>
              </a:custGeom>
              <a:grpFill/>
              <a:ln w="6825"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02132AB4-78A3-459D-B06E-F0ECFDCE723D}"/>
                  </a:ext>
                </a:extLst>
              </p:cNvPr>
              <p:cNvSpPr/>
              <p:nvPr/>
            </p:nvSpPr>
            <p:spPr>
              <a:xfrm>
                <a:off x="6959976" y="-339107"/>
                <a:ext cx="25377" cy="25956"/>
              </a:xfrm>
              <a:custGeom>
                <a:avLst/>
                <a:gdLst>
                  <a:gd name="connsiteX0" fmla="*/ 13030 w 25377"/>
                  <a:gd name="connsiteY0" fmla="*/ 0 h 25956"/>
                  <a:gd name="connsiteX1" fmla="*/ 25326 w 25377"/>
                  <a:gd name="connsiteY1" fmla="*/ 12978 h 25956"/>
                  <a:gd name="connsiteX2" fmla="*/ 12347 w 25377"/>
                  <a:gd name="connsiteY2" fmla="*/ 25957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5"/>
                      <a:pt x="25326" y="12978"/>
                    </a:cubicBezTo>
                    <a:cubicBezTo>
                      <a:pt x="25326" y="19809"/>
                      <a:pt x="19861" y="25957"/>
                      <a:pt x="12347" y="25957"/>
                    </a:cubicBezTo>
                    <a:cubicBezTo>
                      <a:pt x="5517" y="25957"/>
                      <a:pt x="-631" y="20492"/>
                      <a:pt x="52" y="12978"/>
                    </a:cubicBezTo>
                    <a:cubicBezTo>
                      <a:pt x="52" y="6148"/>
                      <a:pt x="5517" y="0"/>
                      <a:pt x="13030" y="0"/>
                    </a:cubicBezTo>
                  </a:path>
                </a:pathLst>
              </a:custGeom>
              <a:grpFill/>
              <a:ln w="6825"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FAA02F2E-9385-4121-8DB2-BD928BC47AA5}"/>
                  </a:ext>
                </a:extLst>
              </p:cNvPr>
              <p:cNvSpPr/>
              <p:nvPr/>
            </p:nvSpPr>
            <p:spPr>
              <a:xfrm>
                <a:off x="6921724" y="-300855"/>
                <a:ext cx="25377" cy="25956"/>
              </a:xfrm>
              <a:custGeom>
                <a:avLst/>
                <a:gdLst>
                  <a:gd name="connsiteX0" fmla="*/ 13030 w 25377"/>
                  <a:gd name="connsiteY0" fmla="*/ 0 h 25956"/>
                  <a:gd name="connsiteX1" fmla="*/ 25326 w 25377"/>
                  <a:gd name="connsiteY1" fmla="*/ 12978 h 25956"/>
                  <a:gd name="connsiteX2" fmla="*/ 12348 w 25377"/>
                  <a:gd name="connsiteY2" fmla="*/ 25957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5"/>
                      <a:pt x="25326" y="12978"/>
                    </a:cubicBezTo>
                    <a:cubicBezTo>
                      <a:pt x="25326" y="19809"/>
                      <a:pt x="19861" y="25957"/>
                      <a:pt x="12348" y="25957"/>
                    </a:cubicBezTo>
                    <a:cubicBezTo>
                      <a:pt x="5517" y="25957"/>
                      <a:pt x="-631" y="20492"/>
                      <a:pt x="52" y="12978"/>
                    </a:cubicBezTo>
                    <a:cubicBezTo>
                      <a:pt x="735" y="5465"/>
                      <a:pt x="6200" y="0"/>
                      <a:pt x="13030" y="0"/>
                    </a:cubicBezTo>
                  </a:path>
                </a:pathLst>
              </a:custGeom>
              <a:grpFill/>
              <a:ln w="6825"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C4527CD6-61F9-4360-9553-15605075D4E9}"/>
                  </a:ext>
                </a:extLst>
              </p:cNvPr>
              <p:cNvSpPr/>
              <p:nvPr/>
            </p:nvSpPr>
            <p:spPr>
              <a:xfrm>
                <a:off x="6959288" y="-300855"/>
                <a:ext cx="25383" cy="25956"/>
              </a:xfrm>
              <a:custGeom>
                <a:avLst/>
                <a:gdLst>
                  <a:gd name="connsiteX0" fmla="*/ 13036 w 25383"/>
                  <a:gd name="connsiteY0" fmla="*/ 0 h 25956"/>
                  <a:gd name="connsiteX1" fmla="*/ 25331 w 25383"/>
                  <a:gd name="connsiteY1" fmla="*/ 12978 h 25956"/>
                  <a:gd name="connsiteX2" fmla="*/ 12353 w 25383"/>
                  <a:gd name="connsiteY2" fmla="*/ 25957 h 25956"/>
                  <a:gd name="connsiteX3" fmla="*/ 58 w 25383"/>
                  <a:gd name="connsiteY3" fmla="*/ 12978 h 25956"/>
                  <a:gd name="connsiteX4" fmla="*/ 13036 w 25383"/>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83" h="25956">
                    <a:moveTo>
                      <a:pt x="13036" y="0"/>
                    </a:moveTo>
                    <a:cubicBezTo>
                      <a:pt x="19867" y="0"/>
                      <a:pt x="26015" y="5465"/>
                      <a:pt x="25331" y="12978"/>
                    </a:cubicBezTo>
                    <a:cubicBezTo>
                      <a:pt x="25331" y="19809"/>
                      <a:pt x="19867" y="25957"/>
                      <a:pt x="12353" y="25957"/>
                    </a:cubicBezTo>
                    <a:cubicBezTo>
                      <a:pt x="4839" y="25957"/>
                      <a:pt x="-625" y="20492"/>
                      <a:pt x="58" y="12978"/>
                    </a:cubicBezTo>
                    <a:cubicBezTo>
                      <a:pt x="741" y="5465"/>
                      <a:pt x="6205" y="0"/>
                      <a:pt x="13036" y="0"/>
                    </a:cubicBezTo>
                  </a:path>
                </a:pathLst>
              </a:custGeom>
              <a:grpFill/>
              <a:ln w="6825"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149615F2-390E-4B9C-A2DA-F0E4FA6237B0}"/>
                  </a:ext>
                </a:extLst>
              </p:cNvPr>
              <p:cNvSpPr/>
              <p:nvPr/>
            </p:nvSpPr>
            <p:spPr>
              <a:xfrm>
                <a:off x="6884156" y="-262603"/>
                <a:ext cx="25377" cy="25956"/>
              </a:xfrm>
              <a:custGeom>
                <a:avLst/>
                <a:gdLst>
                  <a:gd name="connsiteX0" fmla="*/ 13030 w 25377"/>
                  <a:gd name="connsiteY0" fmla="*/ 0 h 25956"/>
                  <a:gd name="connsiteX1" fmla="*/ 25326 w 25377"/>
                  <a:gd name="connsiteY1" fmla="*/ 12978 h 25956"/>
                  <a:gd name="connsiteX2" fmla="*/ 12348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4"/>
                      <a:pt x="25326" y="12978"/>
                    </a:cubicBezTo>
                    <a:cubicBezTo>
                      <a:pt x="25326" y="19809"/>
                      <a:pt x="19861" y="25956"/>
                      <a:pt x="12348" y="25956"/>
                    </a:cubicBezTo>
                    <a:cubicBezTo>
                      <a:pt x="5517" y="25956"/>
                      <a:pt x="-631" y="20492"/>
                      <a:pt x="52" y="12978"/>
                    </a:cubicBezTo>
                    <a:cubicBezTo>
                      <a:pt x="735" y="5464"/>
                      <a:pt x="6200" y="0"/>
                      <a:pt x="13030" y="0"/>
                    </a:cubicBezTo>
                  </a:path>
                </a:pathLst>
              </a:custGeom>
              <a:grpFill/>
              <a:ln w="6825"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617CB9DF-693B-416B-8CDF-6A137229F988}"/>
                  </a:ext>
                </a:extLst>
              </p:cNvPr>
              <p:cNvSpPr/>
              <p:nvPr/>
            </p:nvSpPr>
            <p:spPr>
              <a:xfrm>
                <a:off x="6921724" y="-262603"/>
                <a:ext cx="25377" cy="25956"/>
              </a:xfrm>
              <a:custGeom>
                <a:avLst/>
                <a:gdLst>
                  <a:gd name="connsiteX0" fmla="*/ 13030 w 25377"/>
                  <a:gd name="connsiteY0" fmla="*/ 0 h 25956"/>
                  <a:gd name="connsiteX1" fmla="*/ 25326 w 25377"/>
                  <a:gd name="connsiteY1" fmla="*/ 12978 h 25956"/>
                  <a:gd name="connsiteX2" fmla="*/ 12348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4"/>
                      <a:pt x="25326" y="12978"/>
                    </a:cubicBezTo>
                    <a:cubicBezTo>
                      <a:pt x="25326" y="19809"/>
                      <a:pt x="19861" y="25956"/>
                      <a:pt x="12348" y="25956"/>
                    </a:cubicBezTo>
                    <a:cubicBezTo>
                      <a:pt x="5517" y="25956"/>
                      <a:pt x="-631" y="20492"/>
                      <a:pt x="52" y="12978"/>
                    </a:cubicBezTo>
                    <a:cubicBezTo>
                      <a:pt x="735" y="6148"/>
                      <a:pt x="6200" y="0"/>
                      <a:pt x="13030" y="0"/>
                    </a:cubicBezTo>
                  </a:path>
                </a:pathLst>
              </a:custGeom>
              <a:grpFill/>
              <a:ln w="6825"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8724F3EA-0895-4B71-83CE-D293698247C8}"/>
                  </a:ext>
                </a:extLst>
              </p:cNvPr>
              <p:cNvSpPr/>
              <p:nvPr/>
            </p:nvSpPr>
            <p:spPr>
              <a:xfrm>
                <a:off x="6959293" y="-262603"/>
                <a:ext cx="25377" cy="25956"/>
              </a:xfrm>
              <a:custGeom>
                <a:avLst/>
                <a:gdLst>
                  <a:gd name="connsiteX0" fmla="*/ 13030 w 25377"/>
                  <a:gd name="connsiteY0" fmla="*/ 0 h 25956"/>
                  <a:gd name="connsiteX1" fmla="*/ 25326 w 25377"/>
                  <a:gd name="connsiteY1" fmla="*/ 12978 h 25956"/>
                  <a:gd name="connsiteX2" fmla="*/ 12348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4"/>
                      <a:pt x="25326" y="12978"/>
                    </a:cubicBezTo>
                    <a:cubicBezTo>
                      <a:pt x="25326" y="19809"/>
                      <a:pt x="19861" y="25956"/>
                      <a:pt x="12348" y="25956"/>
                    </a:cubicBezTo>
                    <a:cubicBezTo>
                      <a:pt x="5517" y="25956"/>
                      <a:pt x="-631" y="20492"/>
                      <a:pt x="52" y="12978"/>
                    </a:cubicBezTo>
                    <a:cubicBezTo>
                      <a:pt x="735" y="6148"/>
                      <a:pt x="6200" y="0"/>
                      <a:pt x="13030" y="0"/>
                    </a:cubicBezTo>
                  </a:path>
                </a:pathLst>
              </a:custGeom>
              <a:grpFill/>
              <a:ln w="6825"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E4937310-E382-453E-8416-444A61A56BFE}"/>
                  </a:ext>
                </a:extLst>
              </p:cNvPr>
              <p:cNvSpPr/>
              <p:nvPr/>
            </p:nvSpPr>
            <p:spPr>
              <a:xfrm>
                <a:off x="6845956" y="-224403"/>
                <a:ext cx="25325" cy="26008"/>
              </a:xfrm>
              <a:custGeom>
                <a:avLst/>
                <a:gdLst>
                  <a:gd name="connsiteX0" fmla="*/ 12978 w 25325"/>
                  <a:gd name="connsiteY0" fmla="*/ 52 h 26008"/>
                  <a:gd name="connsiteX1" fmla="*/ 25274 w 25325"/>
                  <a:gd name="connsiteY1" fmla="*/ 13030 h 26008"/>
                  <a:gd name="connsiteX2" fmla="*/ 12295 w 25325"/>
                  <a:gd name="connsiteY2" fmla="*/ 26009 h 26008"/>
                  <a:gd name="connsiteX3" fmla="*/ 0 w 25325"/>
                  <a:gd name="connsiteY3" fmla="*/ 13030 h 26008"/>
                  <a:gd name="connsiteX4" fmla="*/ 12978 w 25325"/>
                  <a:gd name="connsiteY4" fmla="*/ 52 h 26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25" h="26008">
                    <a:moveTo>
                      <a:pt x="12978" y="52"/>
                    </a:moveTo>
                    <a:cubicBezTo>
                      <a:pt x="19809" y="52"/>
                      <a:pt x="25956" y="5516"/>
                      <a:pt x="25274" y="13030"/>
                    </a:cubicBezTo>
                    <a:cubicBezTo>
                      <a:pt x="25274" y="19861"/>
                      <a:pt x="19809" y="26009"/>
                      <a:pt x="12295" y="26009"/>
                    </a:cubicBezTo>
                    <a:cubicBezTo>
                      <a:pt x="5464" y="26009"/>
                      <a:pt x="0" y="20544"/>
                      <a:pt x="0" y="13030"/>
                    </a:cubicBezTo>
                    <a:cubicBezTo>
                      <a:pt x="0" y="5516"/>
                      <a:pt x="6148" y="-631"/>
                      <a:pt x="12978" y="52"/>
                    </a:cubicBezTo>
                  </a:path>
                </a:pathLst>
              </a:custGeom>
              <a:grpFill/>
              <a:ln w="6825"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943A74FF-BDDF-4783-896C-BB71390C4834}"/>
                  </a:ext>
                </a:extLst>
              </p:cNvPr>
              <p:cNvSpPr/>
              <p:nvPr/>
            </p:nvSpPr>
            <p:spPr>
              <a:xfrm>
                <a:off x="6884150" y="-224351"/>
                <a:ext cx="25383" cy="25956"/>
              </a:xfrm>
              <a:custGeom>
                <a:avLst/>
                <a:gdLst>
                  <a:gd name="connsiteX0" fmla="*/ 13036 w 25383"/>
                  <a:gd name="connsiteY0" fmla="*/ 0 h 25956"/>
                  <a:gd name="connsiteX1" fmla="*/ 25331 w 25383"/>
                  <a:gd name="connsiteY1" fmla="*/ 12978 h 25956"/>
                  <a:gd name="connsiteX2" fmla="*/ 12353 w 25383"/>
                  <a:gd name="connsiteY2" fmla="*/ 25957 h 25956"/>
                  <a:gd name="connsiteX3" fmla="*/ 58 w 25383"/>
                  <a:gd name="connsiteY3" fmla="*/ 12978 h 25956"/>
                  <a:gd name="connsiteX4" fmla="*/ 13036 w 25383"/>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83" h="25956">
                    <a:moveTo>
                      <a:pt x="13036" y="0"/>
                    </a:moveTo>
                    <a:cubicBezTo>
                      <a:pt x="19867" y="0"/>
                      <a:pt x="26015" y="5464"/>
                      <a:pt x="25331" y="12978"/>
                    </a:cubicBezTo>
                    <a:cubicBezTo>
                      <a:pt x="25331" y="19809"/>
                      <a:pt x="19867" y="25957"/>
                      <a:pt x="12353" y="25957"/>
                    </a:cubicBezTo>
                    <a:cubicBezTo>
                      <a:pt x="4839" y="25957"/>
                      <a:pt x="-625" y="20492"/>
                      <a:pt x="58" y="12978"/>
                    </a:cubicBezTo>
                    <a:cubicBezTo>
                      <a:pt x="58" y="5464"/>
                      <a:pt x="6205" y="0"/>
                      <a:pt x="13036" y="0"/>
                    </a:cubicBezTo>
                  </a:path>
                </a:pathLst>
              </a:custGeom>
              <a:grpFill/>
              <a:ln w="6825"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5380A33A-FE5C-4825-987D-197BBB4CF405}"/>
                  </a:ext>
                </a:extLst>
              </p:cNvPr>
              <p:cNvSpPr/>
              <p:nvPr/>
            </p:nvSpPr>
            <p:spPr>
              <a:xfrm>
                <a:off x="6921724" y="-224351"/>
                <a:ext cx="25377" cy="25956"/>
              </a:xfrm>
              <a:custGeom>
                <a:avLst/>
                <a:gdLst>
                  <a:gd name="connsiteX0" fmla="*/ 13030 w 25377"/>
                  <a:gd name="connsiteY0" fmla="*/ 0 h 25956"/>
                  <a:gd name="connsiteX1" fmla="*/ 25326 w 25377"/>
                  <a:gd name="connsiteY1" fmla="*/ 12978 h 25956"/>
                  <a:gd name="connsiteX2" fmla="*/ 12348 w 25377"/>
                  <a:gd name="connsiteY2" fmla="*/ 25957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4"/>
                      <a:pt x="25326" y="12978"/>
                    </a:cubicBezTo>
                    <a:cubicBezTo>
                      <a:pt x="25326" y="19809"/>
                      <a:pt x="19861" y="25957"/>
                      <a:pt x="12348" y="25957"/>
                    </a:cubicBezTo>
                    <a:cubicBezTo>
                      <a:pt x="5517" y="25957"/>
                      <a:pt x="-631" y="20492"/>
                      <a:pt x="52" y="12978"/>
                    </a:cubicBezTo>
                    <a:cubicBezTo>
                      <a:pt x="735" y="5464"/>
                      <a:pt x="6200" y="0"/>
                      <a:pt x="13030" y="0"/>
                    </a:cubicBezTo>
                  </a:path>
                </a:pathLst>
              </a:custGeom>
              <a:grpFill/>
              <a:ln w="6825"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D18618F7-898C-43D7-9B4C-4ACE4312AFEB}"/>
                  </a:ext>
                </a:extLst>
              </p:cNvPr>
              <p:cNvSpPr/>
              <p:nvPr/>
            </p:nvSpPr>
            <p:spPr>
              <a:xfrm>
                <a:off x="6959293" y="-224351"/>
                <a:ext cx="25377" cy="25956"/>
              </a:xfrm>
              <a:custGeom>
                <a:avLst/>
                <a:gdLst>
                  <a:gd name="connsiteX0" fmla="*/ 13030 w 25377"/>
                  <a:gd name="connsiteY0" fmla="*/ 0 h 25956"/>
                  <a:gd name="connsiteX1" fmla="*/ 25326 w 25377"/>
                  <a:gd name="connsiteY1" fmla="*/ 12978 h 25956"/>
                  <a:gd name="connsiteX2" fmla="*/ 12348 w 25377"/>
                  <a:gd name="connsiteY2" fmla="*/ 25957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4"/>
                      <a:pt x="25326" y="12978"/>
                    </a:cubicBezTo>
                    <a:cubicBezTo>
                      <a:pt x="25326" y="19809"/>
                      <a:pt x="19861" y="25957"/>
                      <a:pt x="12348" y="25957"/>
                    </a:cubicBezTo>
                    <a:cubicBezTo>
                      <a:pt x="5517" y="25957"/>
                      <a:pt x="-631" y="20492"/>
                      <a:pt x="52" y="12978"/>
                    </a:cubicBezTo>
                    <a:cubicBezTo>
                      <a:pt x="735" y="5464"/>
                      <a:pt x="6200" y="0"/>
                      <a:pt x="13030" y="0"/>
                    </a:cubicBezTo>
                  </a:path>
                </a:pathLst>
              </a:custGeom>
              <a:grpFill/>
              <a:ln w="6825"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82647D54-B6FC-4599-8D7F-682F6C518661}"/>
                  </a:ext>
                </a:extLst>
              </p:cNvPr>
              <p:cNvSpPr/>
              <p:nvPr/>
            </p:nvSpPr>
            <p:spPr>
              <a:xfrm>
                <a:off x="6998911" y="-338476"/>
                <a:ext cx="25377" cy="26008"/>
              </a:xfrm>
              <a:custGeom>
                <a:avLst/>
                <a:gdLst>
                  <a:gd name="connsiteX0" fmla="*/ 13030 w 25377"/>
                  <a:gd name="connsiteY0" fmla="*/ 52 h 26008"/>
                  <a:gd name="connsiteX1" fmla="*/ 25325 w 25377"/>
                  <a:gd name="connsiteY1" fmla="*/ 13030 h 26008"/>
                  <a:gd name="connsiteX2" fmla="*/ 12347 w 25377"/>
                  <a:gd name="connsiteY2" fmla="*/ 26009 h 26008"/>
                  <a:gd name="connsiteX3" fmla="*/ 52 w 25377"/>
                  <a:gd name="connsiteY3" fmla="*/ 13030 h 26008"/>
                  <a:gd name="connsiteX4" fmla="*/ 13030 w 25377"/>
                  <a:gd name="connsiteY4" fmla="*/ 52 h 26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6008">
                    <a:moveTo>
                      <a:pt x="13030" y="52"/>
                    </a:moveTo>
                    <a:cubicBezTo>
                      <a:pt x="19861" y="52"/>
                      <a:pt x="26009" y="5517"/>
                      <a:pt x="25325" y="13030"/>
                    </a:cubicBezTo>
                    <a:cubicBezTo>
                      <a:pt x="25325" y="19861"/>
                      <a:pt x="19861" y="26009"/>
                      <a:pt x="12347" y="26009"/>
                    </a:cubicBezTo>
                    <a:cubicBezTo>
                      <a:pt x="5517" y="26009"/>
                      <a:pt x="-631" y="20544"/>
                      <a:pt x="52" y="13030"/>
                    </a:cubicBezTo>
                    <a:cubicBezTo>
                      <a:pt x="52" y="5517"/>
                      <a:pt x="6199" y="-631"/>
                      <a:pt x="13030" y="52"/>
                    </a:cubicBezTo>
                  </a:path>
                </a:pathLst>
              </a:custGeom>
              <a:grpFill/>
              <a:ln w="6825"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DD3E110B-FBBC-4F4E-AE28-2E19BF767190}"/>
                  </a:ext>
                </a:extLst>
              </p:cNvPr>
              <p:cNvSpPr/>
              <p:nvPr/>
            </p:nvSpPr>
            <p:spPr>
              <a:xfrm>
                <a:off x="6998911" y="-300855"/>
                <a:ext cx="25377" cy="25956"/>
              </a:xfrm>
              <a:custGeom>
                <a:avLst/>
                <a:gdLst>
                  <a:gd name="connsiteX0" fmla="*/ 13030 w 25377"/>
                  <a:gd name="connsiteY0" fmla="*/ 0 h 25956"/>
                  <a:gd name="connsiteX1" fmla="*/ 25325 w 25377"/>
                  <a:gd name="connsiteY1" fmla="*/ 12978 h 25956"/>
                  <a:gd name="connsiteX2" fmla="*/ 12347 w 25377"/>
                  <a:gd name="connsiteY2" fmla="*/ 25957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5"/>
                      <a:pt x="25325" y="12978"/>
                    </a:cubicBezTo>
                    <a:cubicBezTo>
                      <a:pt x="25325" y="19809"/>
                      <a:pt x="19861" y="25957"/>
                      <a:pt x="12347" y="25957"/>
                    </a:cubicBezTo>
                    <a:cubicBezTo>
                      <a:pt x="5517" y="25957"/>
                      <a:pt x="-631" y="20492"/>
                      <a:pt x="52" y="12978"/>
                    </a:cubicBezTo>
                    <a:cubicBezTo>
                      <a:pt x="52" y="5465"/>
                      <a:pt x="6199" y="0"/>
                      <a:pt x="13030" y="0"/>
                    </a:cubicBezTo>
                  </a:path>
                </a:pathLst>
              </a:custGeom>
              <a:grpFill/>
              <a:ln w="6825"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E48AE43B-7C18-48A6-8344-3DE8A9F30349}"/>
                  </a:ext>
                </a:extLst>
              </p:cNvPr>
              <p:cNvSpPr/>
              <p:nvPr/>
            </p:nvSpPr>
            <p:spPr>
              <a:xfrm>
                <a:off x="6998906" y="-261920"/>
                <a:ext cx="25382" cy="25956"/>
              </a:xfrm>
              <a:custGeom>
                <a:avLst/>
                <a:gdLst>
                  <a:gd name="connsiteX0" fmla="*/ 13036 w 25382"/>
                  <a:gd name="connsiteY0" fmla="*/ 0 h 25956"/>
                  <a:gd name="connsiteX1" fmla="*/ 25331 w 25382"/>
                  <a:gd name="connsiteY1" fmla="*/ 12978 h 25956"/>
                  <a:gd name="connsiteX2" fmla="*/ 12353 w 25382"/>
                  <a:gd name="connsiteY2" fmla="*/ 25956 h 25956"/>
                  <a:gd name="connsiteX3" fmla="*/ 58 w 25382"/>
                  <a:gd name="connsiteY3" fmla="*/ 12978 h 25956"/>
                  <a:gd name="connsiteX4" fmla="*/ 13036 w 25382"/>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82" h="25956">
                    <a:moveTo>
                      <a:pt x="13036" y="0"/>
                    </a:moveTo>
                    <a:cubicBezTo>
                      <a:pt x="19866" y="0"/>
                      <a:pt x="26014" y="5464"/>
                      <a:pt x="25331" y="12978"/>
                    </a:cubicBezTo>
                    <a:cubicBezTo>
                      <a:pt x="25331" y="19809"/>
                      <a:pt x="19866" y="25956"/>
                      <a:pt x="12353" y="25956"/>
                    </a:cubicBezTo>
                    <a:cubicBezTo>
                      <a:pt x="4839" y="25956"/>
                      <a:pt x="-626" y="20492"/>
                      <a:pt x="58" y="12978"/>
                    </a:cubicBezTo>
                    <a:cubicBezTo>
                      <a:pt x="58" y="5464"/>
                      <a:pt x="5522" y="0"/>
                      <a:pt x="13036" y="0"/>
                    </a:cubicBezTo>
                  </a:path>
                </a:pathLst>
              </a:custGeom>
              <a:grpFill/>
              <a:ln w="6825"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A1C1411A-3BBE-45B2-B695-5EE1BF64F492}"/>
                  </a:ext>
                </a:extLst>
              </p:cNvPr>
              <p:cNvSpPr/>
              <p:nvPr/>
            </p:nvSpPr>
            <p:spPr>
              <a:xfrm>
                <a:off x="6808387" y="-185417"/>
                <a:ext cx="25325" cy="25956"/>
              </a:xfrm>
              <a:custGeom>
                <a:avLst/>
                <a:gdLst>
                  <a:gd name="connsiteX0" fmla="*/ 12978 w 25325"/>
                  <a:gd name="connsiteY0" fmla="*/ 0 h 25956"/>
                  <a:gd name="connsiteX1" fmla="*/ 25274 w 25325"/>
                  <a:gd name="connsiteY1" fmla="*/ 12978 h 25956"/>
                  <a:gd name="connsiteX2" fmla="*/ 12295 w 25325"/>
                  <a:gd name="connsiteY2" fmla="*/ 25956 h 25956"/>
                  <a:gd name="connsiteX3" fmla="*/ 0 w 25325"/>
                  <a:gd name="connsiteY3" fmla="*/ 12978 h 25956"/>
                  <a:gd name="connsiteX4" fmla="*/ 12978 w 25325"/>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25" h="25956">
                    <a:moveTo>
                      <a:pt x="12978" y="0"/>
                    </a:moveTo>
                    <a:cubicBezTo>
                      <a:pt x="19809" y="0"/>
                      <a:pt x="25956" y="5464"/>
                      <a:pt x="25274" y="12978"/>
                    </a:cubicBezTo>
                    <a:cubicBezTo>
                      <a:pt x="25274" y="19809"/>
                      <a:pt x="19809" y="25956"/>
                      <a:pt x="12295" y="25956"/>
                    </a:cubicBezTo>
                    <a:cubicBezTo>
                      <a:pt x="5464" y="25956"/>
                      <a:pt x="0" y="20492"/>
                      <a:pt x="0" y="12978"/>
                    </a:cubicBezTo>
                    <a:cubicBezTo>
                      <a:pt x="0" y="5464"/>
                      <a:pt x="5464" y="0"/>
                      <a:pt x="12978" y="0"/>
                    </a:cubicBezTo>
                  </a:path>
                </a:pathLst>
              </a:custGeom>
              <a:grpFill/>
              <a:ln w="6825"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39F5544E-373A-498A-B1BD-4CE99F0F2C76}"/>
                  </a:ext>
                </a:extLst>
              </p:cNvPr>
              <p:cNvSpPr/>
              <p:nvPr/>
            </p:nvSpPr>
            <p:spPr>
              <a:xfrm>
                <a:off x="6845904" y="-185417"/>
                <a:ext cx="25377" cy="25956"/>
              </a:xfrm>
              <a:custGeom>
                <a:avLst/>
                <a:gdLst>
                  <a:gd name="connsiteX0" fmla="*/ 13030 w 25377"/>
                  <a:gd name="connsiteY0" fmla="*/ 0 h 25956"/>
                  <a:gd name="connsiteX1" fmla="*/ 25326 w 25377"/>
                  <a:gd name="connsiteY1" fmla="*/ 12978 h 25956"/>
                  <a:gd name="connsiteX2" fmla="*/ 12347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8" y="5464"/>
                      <a:pt x="25326" y="12978"/>
                    </a:cubicBezTo>
                    <a:cubicBezTo>
                      <a:pt x="25326" y="19809"/>
                      <a:pt x="19861" y="25956"/>
                      <a:pt x="12347" y="25956"/>
                    </a:cubicBezTo>
                    <a:cubicBezTo>
                      <a:pt x="5516" y="25956"/>
                      <a:pt x="-631" y="20492"/>
                      <a:pt x="52" y="12978"/>
                    </a:cubicBezTo>
                    <a:cubicBezTo>
                      <a:pt x="52" y="6148"/>
                      <a:pt x="5516" y="0"/>
                      <a:pt x="13030" y="0"/>
                    </a:cubicBezTo>
                  </a:path>
                </a:pathLst>
              </a:custGeom>
              <a:grpFill/>
              <a:ln w="6825"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072EF360-205A-4AD7-8E68-1749B3887B35}"/>
                  </a:ext>
                </a:extLst>
              </p:cNvPr>
              <p:cNvSpPr/>
              <p:nvPr/>
            </p:nvSpPr>
            <p:spPr>
              <a:xfrm>
                <a:off x="6884150" y="-184785"/>
                <a:ext cx="25383" cy="26008"/>
              </a:xfrm>
              <a:custGeom>
                <a:avLst/>
                <a:gdLst>
                  <a:gd name="connsiteX0" fmla="*/ 13036 w 25383"/>
                  <a:gd name="connsiteY0" fmla="*/ 52 h 26008"/>
                  <a:gd name="connsiteX1" fmla="*/ 25331 w 25383"/>
                  <a:gd name="connsiteY1" fmla="*/ 13030 h 26008"/>
                  <a:gd name="connsiteX2" fmla="*/ 12353 w 25383"/>
                  <a:gd name="connsiteY2" fmla="*/ 26008 h 26008"/>
                  <a:gd name="connsiteX3" fmla="*/ 58 w 25383"/>
                  <a:gd name="connsiteY3" fmla="*/ 13030 h 26008"/>
                  <a:gd name="connsiteX4" fmla="*/ 13036 w 25383"/>
                  <a:gd name="connsiteY4" fmla="*/ 52 h 26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83" h="26008">
                    <a:moveTo>
                      <a:pt x="13036" y="52"/>
                    </a:moveTo>
                    <a:cubicBezTo>
                      <a:pt x="19867" y="52"/>
                      <a:pt x="26015" y="5516"/>
                      <a:pt x="25331" y="13030"/>
                    </a:cubicBezTo>
                    <a:cubicBezTo>
                      <a:pt x="25331" y="19861"/>
                      <a:pt x="19867" y="26008"/>
                      <a:pt x="12353" y="26008"/>
                    </a:cubicBezTo>
                    <a:cubicBezTo>
                      <a:pt x="4839" y="26008"/>
                      <a:pt x="-625" y="20544"/>
                      <a:pt x="58" y="13030"/>
                    </a:cubicBezTo>
                    <a:cubicBezTo>
                      <a:pt x="58" y="5516"/>
                      <a:pt x="6205" y="-631"/>
                      <a:pt x="13036" y="52"/>
                    </a:cubicBezTo>
                  </a:path>
                </a:pathLst>
              </a:custGeom>
              <a:grpFill/>
              <a:ln w="6825"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239ED160-8526-4D66-9501-0403E4BE9DFC}"/>
                  </a:ext>
                </a:extLst>
              </p:cNvPr>
              <p:cNvSpPr/>
              <p:nvPr/>
            </p:nvSpPr>
            <p:spPr>
              <a:xfrm>
                <a:off x="6921724" y="-184733"/>
                <a:ext cx="25377" cy="25956"/>
              </a:xfrm>
              <a:custGeom>
                <a:avLst/>
                <a:gdLst>
                  <a:gd name="connsiteX0" fmla="*/ 13030 w 25377"/>
                  <a:gd name="connsiteY0" fmla="*/ 0 h 25956"/>
                  <a:gd name="connsiteX1" fmla="*/ 25326 w 25377"/>
                  <a:gd name="connsiteY1" fmla="*/ 12978 h 25956"/>
                  <a:gd name="connsiteX2" fmla="*/ 12348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4"/>
                      <a:pt x="25326" y="12978"/>
                    </a:cubicBezTo>
                    <a:cubicBezTo>
                      <a:pt x="24643" y="20492"/>
                      <a:pt x="19861" y="25956"/>
                      <a:pt x="12348" y="25956"/>
                    </a:cubicBezTo>
                    <a:cubicBezTo>
                      <a:pt x="5517" y="25956"/>
                      <a:pt x="-631" y="20492"/>
                      <a:pt x="52" y="12978"/>
                    </a:cubicBezTo>
                    <a:cubicBezTo>
                      <a:pt x="52" y="5464"/>
                      <a:pt x="6200" y="0"/>
                      <a:pt x="13030" y="0"/>
                    </a:cubicBezTo>
                  </a:path>
                </a:pathLst>
              </a:custGeom>
              <a:grpFill/>
              <a:ln w="6825"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0149C629-82BE-4EE7-8815-0962AF7B1BFB}"/>
                  </a:ext>
                </a:extLst>
              </p:cNvPr>
              <p:cNvSpPr/>
              <p:nvPr/>
            </p:nvSpPr>
            <p:spPr>
              <a:xfrm>
                <a:off x="7036480" y="-300855"/>
                <a:ext cx="25377" cy="25956"/>
              </a:xfrm>
              <a:custGeom>
                <a:avLst/>
                <a:gdLst>
                  <a:gd name="connsiteX0" fmla="*/ 13030 w 25377"/>
                  <a:gd name="connsiteY0" fmla="*/ 0 h 25956"/>
                  <a:gd name="connsiteX1" fmla="*/ 25325 w 25377"/>
                  <a:gd name="connsiteY1" fmla="*/ 12978 h 25956"/>
                  <a:gd name="connsiteX2" fmla="*/ 12347 w 25377"/>
                  <a:gd name="connsiteY2" fmla="*/ 25957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5"/>
                      <a:pt x="25325" y="12978"/>
                    </a:cubicBezTo>
                    <a:cubicBezTo>
                      <a:pt x="25325" y="19809"/>
                      <a:pt x="19861" y="25957"/>
                      <a:pt x="12347" y="25957"/>
                    </a:cubicBezTo>
                    <a:cubicBezTo>
                      <a:pt x="5517" y="25957"/>
                      <a:pt x="-631" y="20492"/>
                      <a:pt x="52" y="12978"/>
                    </a:cubicBezTo>
                    <a:cubicBezTo>
                      <a:pt x="52" y="5465"/>
                      <a:pt x="6199" y="0"/>
                      <a:pt x="13030" y="0"/>
                    </a:cubicBezTo>
                  </a:path>
                </a:pathLst>
              </a:custGeom>
              <a:grpFill/>
              <a:ln w="6825"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32A84FF8-7B5C-4C1B-BD9E-B69B0962E623}"/>
                  </a:ext>
                </a:extLst>
              </p:cNvPr>
              <p:cNvSpPr/>
              <p:nvPr/>
            </p:nvSpPr>
            <p:spPr>
              <a:xfrm>
                <a:off x="6964075" y="-415610"/>
                <a:ext cx="25377" cy="25956"/>
              </a:xfrm>
              <a:custGeom>
                <a:avLst/>
                <a:gdLst>
                  <a:gd name="connsiteX0" fmla="*/ 13030 w 25377"/>
                  <a:gd name="connsiteY0" fmla="*/ 0 h 25956"/>
                  <a:gd name="connsiteX1" fmla="*/ 25326 w 25377"/>
                  <a:gd name="connsiteY1" fmla="*/ 12978 h 25956"/>
                  <a:gd name="connsiteX2" fmla="*/ 12347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8" y="5464"/>
                      <a:pt x="25326" y="12978"/>
                    </a:cubicBezTo>
                    <a:cubicBezTo>
                      <a:pt x="25326" y="19809"/>
                      <a:pt x="19861" y="25956"/>
                      <a:pt x="12347" y="25956"/>
                    </a:cubicBezTo>
                    <a:cubicBezTo>
                      <a:pt x="5516" y="25956"/>
                      <a:pt x="-631" y="20492"/>
                      <a:pt x="52" y="12978"/>
                    </a:cubicBezTo>
                    <a:cubicBezTo>
                      <a:pt x="52" y="5464"/>
                      <a:pt x="6200" y="0"/>
                      <a:pt x="13030" y="0"/>
                    </a:cubicBezTo>
                  </a:path>
                </a:pathLst>
              </a:custGeom>
              <a:grpFill/>
              <a:ln w="6825"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DF5C3339-A84D-4423-8BBA-E19BDE14FC4F}"/>
                  </a:ext>
                </a:extLst>
              </p:cNvPr>
              <p:cNvSpPr/>
              <p:nvPr/>
            </p:nvSpPr>
            <p:spPr>
              <a:xfrm>
                <a:off x="7001643" y="-377358"/>
                <a:ext cx="25377" cy="25956"/>
              </a:xfrm>
              <a:custGeom>
                <a:avLst/>
                <a:gdLst>
                  <a:gd name="connsiteX0" fmla="*/ 13030 w 25377"/>
                  <a:gd name="connsiteY0" fmla="*/ 0 h 25956"/>
                  <a:gd name="connsiteX1" fmla="*/ 25326 w 25377"/>
                  <a:gd name="connsiteY1" fmla="*/ 12978 h 25956"/>
                  <a:gd name="connsiteX2" fmla="*/ 12347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8" y="5464"/>
                      <a:pt x="25326" y="12978"/>
                    </a:cubicBezTo>
                    <a:cubicBezTo>
                      <a:pt x="25326" y="19809"/>
                      <a:pt x="19861" y="25956"/>
                      <a:pt x="12347" y="25956"/>
                    </a:cubicBezTo>
                    <a:cubicBezTo>
                      <a:pt x="5516" y="25956"/>
                      <a:pt x="-631" y="20492"/>
                      <a:pt x="52" y="12978"/>
                    </a:cubicBezTo>
                    <a:cubicBezTo>
                      <a:pt x="52" y="6148"/>
                      <a:pt x="5516" y="0"/>
                      <a:pt x="13030" y="0"/>
                    </a:cubicBezTo>
                  </a:path>
                </a:pathLst>
              </a:custGeom>
              <a:grpFill/>
              <a:ln w="6825"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286808C2-725C-49DC-B7A3-0ADCBDEB6E3E}"/>
                  </a:ext>
                </a:extLst>
              </p:cNvPr>
              <p:cNvSpPr/>
              <p:nvPr/>
            </p:nvSpPr>
            <p:spPr>
              <a:xfrm>
                <a:off x="7001643" y="-415610"/>
                <a:ext cx="25377" cy="25956"/>
              </a:xfrm>
              <a:custGeom>
                <a:avLst/>
                <a:gdLst>
                  <a:gd name="connsiteX0" fmla="*/ 13030 w 25377"/>
                  <a:gd name="connsiteY0" fmla="*/ 0 h 25956"/>
                  <a:gd name="connsiteX1" fmla="*/ 25326 w 25377"/>
                  <a:gd name="connsiteY1" fmla="*/ 12978 h 25956"/>
                  <a:gd name="connsiteX2" fmla="*/ 12347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8" y="5464"/>
                      <a:pt x="25326" y="12978"/>
                    </a:cubicBezTo>
                    <a:cubicBezTo>
                      <a:pt x="25326" y="19809"/>
                      <a:pt x="19861" y="25956"/>
                      <a:pt x="12347" y="25956"/>
                    </a:cubicBezTo>
                    <a:cubicBezTo>
                      <a:pt x="5516" y="25956"/>
                      <a:pt x="-631" y="20492"/>
                      <a:pt x="52" y="12978"/>
                    </a:cubicBezTo>
                    <a:cubicBezTo>
                      <a:pt x="52" y="5464"/>
                      <a:pt x="6200" y="0"/>
                      <a:pt x="13030" y="0"/>
                    </a:cubicBezTo>
                  </a:path>
                </a:pathLst>
              </a:custGeom>
              <a:grpFill/>
              <a:ln w="6825"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0E0AB82F-2658-4792-B274-BC36B7F98A15}"/>
                  </a:ext>
                </a:extLst>
              </p:cNvPr>
              <p:cNvSpPr/>
              <p:nvPr/>
            </p:nvSpPr>
            <p:spPr>
              <a:xfrm>
                <a:off x="7039890" y="-376676"/>
                <a:ext cx="25382" cy="25956"/>
              </a:xfrm>
              <a:custGeom>
                <a:avLst/>
                <a:gdLst>
                  <a:gd name="connsiteX0" fmla="*/ 13036 w 25382"/>
                  <a:gd name="connsiteY0" fmla="*/ 0 h 25956"/>
                  <a:gd name="connsiteX1" fmla="*/ 25331 w 25382"/>
                  <a:gd name="connsiteY1" fmla="*/ 12978 h 25956"/>
                  <a:gd name="connsiteX2" fmla="*/ 12353 w 25382"/>
                  <a:gd name="connsiteY2" fmla="*/ 25957 h 25956"/>
                  <a:gd name="connsiteX3" fmla="*/ 58 w 25382"/>
                  <a:gd name="connsiteY3" fmla="*/ 12978 h 25956"/>
                  <a:gd name="connsiteX4" fmla="*/ 13036 w 25382"/>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82" h="25956">
                    <a:moveTo>
                      <a:pt x="13036" y="0"/>
                    </a:moveTo>
                    <a:cubicBezTo>
                      <a:pt x="19866" y="0"/>
                      <a:pt x="26014" y="5465"/>
                      <a:pt x="25331" y="12978"/>
                    </a:cubicBezTo>
                    <a:cubicBezTo>
                      <a:pt x="25331" y="19809"/>
                      <a:pt x="19866" y="25957"/>
                      <a:pt x="12353" y="25957"/>
                    </a:cubicBezTo>
                    <a:cubicBezTo>
                      <a:pt x="4839" y="25957"/>
                      <a:pt x="-626" y="20492"/>
                      <a:pt x="58" y="12978"/>
                    </a:cubicBezTo>
                    <a:cubicBezTo>
                      <a:pt x="58" y="5465"/>
                      <a:pt x="6205" y="0"/>
                      <a:pt x="13036" y="0"/>
                    </a:cubicBezTo>
                  </a:path>
                </a:pathLst>
              </a:custGeom>
              <a:grpFill/>
              <a:ln w="6825"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AA0F3820-B399-4010-B9F8-5D408E1F4FD7}"/>
                  </a:ext>
                </a:extLst>
              </p:cNvPr>
              <p:cNvSpPr/>
              <p:nvPr/>
            </p:nvSpPr>
            <p:spPr>
              <a:xfrm>
                <a:off x="7039895" y="-339107"/>
                <a:ext cx="25377" cy="25956"/>
              </a:xfrm>
              <a:custGeom>
                <a:avLst/>
                <a:gdLst>
                  <a:gd name="connsiteX0" fmla="*/ 13030 w 25377"/>
                  <a:gd name="connsiteY0" fmla="*/ 0 h 25956"/>
                  <a:gd name="connsiteX1" fmla="*/ 25325 w 25377"/>
                  <a:gd name="connsiteY1" fmla="*/ 12978 h 25956"/>
                  <a:gd name="connsiteX2" fmla="*/ 12347 w 25377"/>
                  <a:gd name="connsiteY2" fmla="*/ 25957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5"/>
                      <a:pt x="25325" y="12978"/>
                    </a:cubicBezTo>
                    <a:cubicBezTo>
                      <a:pt x="25325" y="19809"/>
                      <a:pt x="19861" y="25957"/>
                      <a:pt x="12347" y="25957"/>
                    </a:cubicBezTo>
                    <a:cubicBezTo>
                      <a:pt x="5517" y="25957"/>
                      <a:pt x="-631" y="20492"/>
                      <a:pt x="52" y="12978"/>
                    </a:cubicBezTo>
                    <a:cubicBezTo>
                      <a:pt x="52" y="5465"/>
                      <a:pt x="5517" y="0"/>
                      <a:pt x="13030" y="0"/>
                    </a:cubicBezTo>
                  </a:path>
                </a:pathLst>
              </a:custGeom>
              <a:grpFill/>
              <a:ln w="6825"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84998B24-0191-4D18-A4B2-84D5CB62C77C}"/>
                  </a:ext>
                </a:extLst>
              </p:cNvPr>
              <p:cNvSpPr/>
              <p:nvPr/>
            </p:nvSpPr>
            <p:spPr>
              <a:xfrm>
                <a:off x="7039895" y="-415610"/>
                <a:ext cx="25377" cy="25956"/>
              </a:xfrm>
              <a:custGeom>
                <a:avLst/>
                <a:gdLst>
                  <a:gd name="connsiteX0" fmla="*/ 13030 w 25377"/>
                  <a:gd name="connsiteY0" fmla="*/ 0 h 25956"/>
                  <a:gd name="connsiteX1" fmla="*/ 25325 w 25377"/>
                  <a:gd name="connsiteY1" fmla="*/ 12978 h 25956"/>
                  <a:gd name="connsiteX2" fmla="*/ 12347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4"/>
                      <a:pt x="25325" y="12978"/>
                    </a:cubicBezTo>
                    <a:cubicBezTo>
                      <a:pt x="25325" y="19809"/>
                      <a:pt x="19861" y="25956"/>
                      <a:pt x="12347" y="25956"/>
                    </a:cubicBezTo>
                    <a:cubicBezTo>
                      <a:pt x="5517" y="25956"/>
                      <a:pt x="-631" y="20492"/>
                      <a:pt x="52" y="12978"/>
                    </a:cubicBezTo>
                    <a:cubicBezTo>
                      <a:pt x="52" y="5464"/>
                      <a:pt x="6199" y="0"/>
                      <a:pt x="13030" y="0"/>
                    </a:cubicBezTo>
                  </a:path>
                </a:pathLst>
              </a:custGeom>
              <a:grpFill/>
              <a:ln w="6825"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DC36AF62-CA40-4D50-8AC7-8DD369754C6E}"/>
                  </a:ext>
                </a:extLst>
              </p:cNvPr>
              <p:cNvSpPr/>
              <p:nvPr/>
            </p:nvSpPr>
            <p:spPr>
              <a:xfrm>
                <a:off x="7077464" y="-376676"/>
                <a:ext cx="25377" cy="25956"/>
              </a:xfrm>
              <a:custGeom>
                <a:avLst/>
                <a:gdLst>
                  <a:gd name="connsiteX0" fmla="*/ 13030 w 25377"/>
                  <a:gd name="connsiteY0" fmla="*/ 0 h 25956"/>
                  <a:gd name="connsiteX1" fmla="*/ 25325 w 25377"/>
                  <a:gd name="connsiteY1" fmla="*/ 12978 h 25956"/>
                  <a:gd name="connsiteX2" fmla="*/ 12347 w 25377"/>
                  <a:gd name="connsiteY2" fmla="*/ 25957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5"/>
                      <a:pt x="25325" y="12978"/>
                    </a:cubicBezTo>
                    <a:cubicBezTo>
                      <a:pt x="25325" y="19809"/>
                      <a:pt x="19861" y="25957"/>
                      <a:pt x="12347" y="25957"/>
                    </a:cubicBezTo>
                    <a:cubicBezTo>
                      <a:pt x="5517" y="25957"/>
                      <a:pt x="-631" y="20492"/>
                      <a:pt x="52" y="12978"/>
                    </a:cubicBezTo>
                    <a:cubicBezTo>
                      <a:pt x="52" y="5465"/>
                      <a:pt x="6199" y="0"/>
                      <a:pt x="13030" y="0"/>
                    </a:cubicBezTo>
                  </a:path>
                </a:pathLst>
              </a:custGeom>
              <a:grpFill/>
              <a:ln w="6825"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9AE3623A-0059-4D04-A190-8C4841238B84}"/>
                  </a:ext>
                </a:extLst>
              </p:cNvPr>
              <p:cNvSpPr/>
              <p:nvPr/>
            </p:nvSpPr>
            <p:spPr>
              <a:xfrm>
                <a:off x="7077464" y="-339107"/>
                <a:ext cx="25377" cy="25956"/>
              </a:xfrm>
              <a:custGeom>
                <a:avLst/>
                <a:gdLst>
                  <a:gd name="connsiteX0" fmla="*/ 13030 w 25377"/>
                  <a:gd name="connsiteY0" fmla="*/ 0 h 25956"/>
                  <a:gd name="connsiteX1" fmla="*/ 25325 w 25377"/>
                  <a:gd name="connsiteY1" fmla="*/ 12978 h 25956"/>
                  <a:gd name="connsiteX2" fmla="*/ 12347 w 25377"/>
                  <a:gd name="connsiteY2" fmla="*/ 25957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5"/>
                      <a:pt x="25325" y="12978"/>
                    </a:cubicBezTo>
                    <a:cubicBezTo>
                      <a:pt x="25325" y="19809"/>
                      <a:pt x="19861" y="25957"/>
                      <a:pt x="12347" y="25957"/>
                    </a:cubicBezTo>
                    <a:cubicBezTo>
                      <a:pt x="5517" y="25957"/>
                      <a:pt x="-631" y="20492"/>
                      <a:pt x="52" y="12978"/>
                    </a:cubicBezTo>
                    <a:cubicBezTo>
                      <a:pt x="52" y="5465"/>
                      <a:pt x="6199" y="0"/>
                      <a:pt x="13030" y="0"/>
                    </a:cubicBezTo>
                  </a:path>
                </a:pathLst>
              </a:custGeom>
              <a:grpFill/>
              <a:ln w="6825"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6049AE7E-0B4F-42D2-9FE2-0BF83870883D}"/>
                  </a:ext>
                </a:extLst>
              </p:cNvPr>
              <p:cNvSpPr/>
              <p:nvPr/>
            </p:nvSpPr>
            <p:spPr>
              <a:xfrm>
                <a:off x="7077459" y="-415610"/>
                <a:ext cx="25382" cy="25956"/>
              </a:xfrm>
              <a:custGeom>
                <a:avLst/>
                <a:gdLst>
                  <a:gd name="connsiteX0" fmla="*/ 13036 w 25382"/>
                  <a:gd name="connsiteY0" fmla="*/ 0 h 25956"/>
                  <a:gd name="connsiteX1" fmla="*/ 25331 w 25382"/>
                  <a:gd name="connsiteY1" fmla="*/ 12978 h 25956"/>
                  <a:gd name="connsiteX2" fmla="*/ 12353 w 25382"/>
                  <a:gd name="connsiteY2" fmla="*/ 25956 h 25956"/>
                  <a:gd name="connsiteX3" fmla="*/ 58 w 25382"/>
                  <a:gd name="connsiteY3" fmla="*/ 12978 h 25956"/>
                  <a:gd name="connsiteX4" fmla="*/ 13036 w 25382"/>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82" h="25956">
                    <a:moveTo>
                      <a:pt x="13036" y="0"/>
                    </a:moveTo>
                    <a:cubicBezTo>
                      <a:pt x="19866" y="0"/>
                      <a:pt x="26014" y="5464"/>
                      <a:pt x="25331" y="12978"/>
                    </a:cubicBezTo>
                    <a:cubicBezTo>
                      <a:pt x="25331" y="19809"/>
                      <a:pt x="19866" y="25956"/>
                      <a:pt x="12353" y="25956"/>
                    </a:cubicBezTo>
                    <a:cubicBezTo>
                      <a:pt x="4839" y="25956"/>
                      <a:pt x="-626" y="20492"/>
                      <a:pt x="58" y="12978"/>
                    </a:cubicBezTo>
                    <a:cubicBezTo>
                      <a:pt x="741" y="5464"/>
                      <a:pt x="6205" y="0"/>
                      <a:pt x="13036" y="0"/>
                    </a:cubicBezTo>
                  </a:path>
                </a:pathLst>
              </a:custGeom>
              <a:grpFill/>
              <a:ln w="6825"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5D56CD2B-EFDF-4DA0-AAE7-1EE42D8F3B8D}"/>
                  </a:ext>
                </a:extLst>
              </p:cNvPr>
              <p:cNvSpPr/>
              <p:nvPr/>
            </p:nvSpPr>
            <p:spPr>
              <a:xfrm>
                <a:off x="7115033" y="-376676"/>
                <a:ext cx="25377" cy="25956"/>
              </a:xfrm>
              <a:custGeom>
                <a:avLst/>
                <a:gdLst>
                  <a:gd name="connsiteX0" fmla="*/ 13030 w 25377"/>
                  <a:gd name="connsiteY0" fmla="*/ 0 h 25956"/>
                  <a:gd name="connsiteX1" fmla="*/ 25325 w 25377"/>
                  <a:gd name="connsiteY1" fmla="*/ 12978 h 25956"/>
                  <a:gd name="connsiteX2" fmla="*/ 12347 w 25377"/>
                  <a:gd name="connsiteY2" fmla="*/ 25957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5"/>
                      <a:pt x="25325" y="12978"/>
                    </a:cubicBezTo>
                    <a:cubicBezTo>
                      <a:pt x="25325" y="19809"/>
                      <a:pt x="19861" y="25957"/>
                      <a:pt x="12347" y="25957"/>
                    </a:cubicBezTo>
                    <a:cubicBezTo>
                      <a:pt x="5517" y="25957"/>
                      <a:pt x="-631" y="20492"/>
                      <a:pt x="52" y="12978"/>
                    </a:cubicBezTo>
                    <a:cubicBezTo>
                      <a:pt x="52" y="5465"/>
                      <a:pt x="6199" y="0"/>
                      <a:pt x="13030" y="0"/>
                    </a:cubicBezTo>
                  </a:path>
                </a:pathLst>
              </a:custGeom>
              <a:grpFill/>
              <a:ln w="6825"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0DB8FC61-8EC3-4013-B2DB-396B5C928891}"/>
                  </a:ext>
                </a:extLst>
              </p:cNvPr>
              <p:cNvSpPr/>
              <p:nvPr/>
            </p:nvSpPr>
            <p:spPr>
              <a:xfrm>
                <a:off x="7115033" y="-339107"/>
                <a:ext cx="25377" cy="25956"/>
              </a:xfrm>
              <a:custGeom>
                <a:avLst/>
                <a:gdLst>
                  <a:gd name="connsiteX0" fmla="*/ 13030 w 25377"/>
                  <a:gd name="connsiteY0" fmla="*/ 0 h 25956"/>
                  <a:gd name="connsiteX1" fmla="*/ 25325 w 25377"/>
                  <a:gd name="connsiteY1" fmla="*/ 12978 h 25956"/>
                  <a:gd name="connsiteX2" fmla="*/ 12347 w 25377"/>
                  <a:gd name="connsiteY2" fmla="*/ 25957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5"/>
                      <a:pt x="25325" y="12978"/>
                    </a:cubicBezTo>
                    <a:cubicBezTo>
                      <a:pt x="25325" y="19809"/>
                      <a:pt x="19861" y="25957"/>
                      <a:pt x="12347" y="25957"/>
                    </a:cubicBezTo>
                    <a:cubicBezTo>
                      <a:pt x="5517" y="25957"/>
                      <a:pt x="-631" y="20492"/>
                      <a:pt x="52" y="12978"/>
                    </a:cubicBezTo>
                    <a:cubicBezTo>
                      <a:pt x="52" y="6148"/>
                      <a:pt x="6199" y="0"/>
                      <a:pt x="13030" y="0"/>
                    </a:cubicBezTo>
                  </a:path>
                </a:pathLst>
              </a:custGeom>
              <a:grpFill/>
              <a:ln w="6825" cap="flat">
                <a:noFill/>
                <a:prstDash val="solid"/>
                <a:miter/>
              </a:ln>
            </p:spPr>
            <p:txBody>
              <a:bodyPr rtlCol="0" anchor="ctr"/>
              <a:lstStyle/>
              <a:p>
                <a:endParaRPr lang="en-US"/>
              </a:p>
            </p:txBody>
          </p:sp>
          <p:sp>
            <p:nvSpPr>
              <p:cNvPr id="93" name="Freeform: Shape 92">
                <a:extLst>
                  <a:ext uri="{FF2B5EF4-FFF2-40B4-BE49-F238E27FC236}">
                    <a16:creationId xmlns:a16="http://schemas.microsoft.com/office/drawing/2014/main" id="{BB58D842-410A-4358-92D4-B7960EF43482}"/>
                  </a:ext>
                </a:extLst>
              </p:cNvPr>
              <p:cNvSpPr/>
              <p:nvPr/>
            </p:nvSpPr>
            <p:spPr>
              <a:xfrm>
                <a:off x="7077464" y="-300855"/>
                <a:ext cx="25377" cy="25956"/>
              </a:xfrm>
              <a:custGeom>
                <a:avLst/>
                <a:gdLst>
                  <a:gd name="connsiteX0" fmla="*/ 13030 w 25377"/>
                  <a:gd name="connsiteY0" fmla="*/ 0 h 25956"/>
                  <a:gd name="connsiteX1" fmla="*/ 25325 w 25377"/>
                  <a:gd name="connsiteY1" fmla="*/ 12978 h 25956"/>
                  <a:gd name="connsiteX2" fmla="*/ 12347 w 25377"/>
                  <a:gd name="connsiteY2" fmla="*/ 25957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5"/>
                      <a:pt x="25325" y="12978"/>
                    </a:cubicBezTo>
                    <a:cubicBezTo>
                      <a:pt x="25325" y="19809"/>
                      <a:pt x="19861" y="25957"/>
                      <a:pt x="12347" y="25957"/>
                    </a:cubicBezTo>
                    <a:cubicBezTo>
                      <a:pt x="5517" y="25957"/>
                      <a:pt x="-631" y="20492"/>
                      <a:pt x="52" y="12978"/>
                    </a:cubicBezTo>
                    <a:cubicBezTo>
                      <a:pt x="52" y="5465"/>
                      <a:pt x="5517" y="0"/>
                      <a:pt x="13030" y="0"/>
                    </a:cubicBezTo>
                  </a:path>
                </a:pathLst>
              </a:custGeom>
              <a:grpFill/>
              <a:ln w="6825" cap="flat">
                <a:noFill/>
                <a:prstDash val="solid"/>
                <a:miter/>
              </a:ln>
            </p:spPr>
            <p:txBody>
              <a:bodyPr rtlCol="0" anchor="ctr"/>
              <a:lstStyle/>
              <a:p>
                <a:endParaRPr lang="en-US"/>
              </a:p>
            </p:txBody>
          </p:sp>
          <p:sp>
            <p:nvSpPr>
              <p:cNvPr id="94" name="Freeform: Shape 93">
                <a:extLst>
                  <a:ext uri="{FF2B5EF4-FFF2-40B4-BE49-F238E27FC236}">
                    <a16:creationId xmlns:a16="http://schemas.microsoft.com/office/drawing/2014/main" id="{A7A996A8-5C28-4E44-81AA-D779C4810BE6}"/>
                  </a:ext>
                </a:extLst>
              </p:cNvPr>
              <p:cNvSpPr/>
              <p:nvPr/>
            </p:nvSpPr>
            <p:spPr>
              <a:xfrm>
                <a:off x="7115027" y="-300855"/>
                <a:ext cx="25382" cy="25956"/>
              </a:xfrm>
              <a:custGeom>
                <a:avLst/>
                <a:gdLst>
                  <a:gd name="connsiteX0" fmla="*/ 13036 w 25382"/>
                  <a:gd name="connsiteY0" fmla="*/ 0 h 25956"/>
                  <a:gd name="connsiteX1" fmla="*/ 25331 w 25382"/>
                  <a:gd name="connsiteY1" fmla="*/ 12978 h 25956"/>
                  <a:gd name="connsiteX2" fmla="*/ 12353 w 25382"/>
                  <a:gd name="connsiteY2" fmla="*/ 25957 h 25956"/>
                  <a:gd name="connsiteX3" fmla="*/ 58 w 25382"/>
                  <a:gd name="connsiteY3" fmla="*/ 12978 h 25956"/>
                  <a:gd name="connsiteX4" fmla="*/ 13036 w 25382"/>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82" h="25956">
                    <a:moveTo>
                      <a:pt x="13036" y="0"/>
                    </a:moveTo>
                    <a:cubicBezTo>
                      <a:pt x="19866" y="0"/>
                      <a:pt x="26014" y="5465"/>
                      <a:pt x="25331" y="12978"/>
                    </a:cubicBezTo>
                    <a:cubicBezTo>
                      <a:pt x="25331" y="19809"/>
                      <a:pt x="19866" y="25957"/>
                      <a:pt x="12353" y="25957"/>
                    </a:cubicBezTo>
                    <a:cubicBezTo>
                      <a:pt x="4839" y="25957"/>
                      <a:pt x="-626" y="20492"/>
                      <a:pt x="58" y="12978"/>
                    </a:cubicBezTo>
                    <a:cubicBezTo>
                      <a:pt x="58" y="5465"/>
                      <a:pt x="5522" y="0"/>
                      <a:pt x="13036" y="0"/>
                    </a:cubicBezTo>
                  </a:path>
                </a:pathLst>
              </a:custGeom>
              <a:grpFill/>
              <a:ln w="6825"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EFF0CCD1-C9F7-4E90-906F-2BCAD2D5B968}"/>
                  </a:ext>
                </a:extLst>
              </p:cNvPr>
              <p:cNvSpPr/>
              <p:nvPr/>
            </p:nvSpPr>
            <p:spPr>
              <a:xfrm>
                <a:off x="7039212" y="-262603"/>
                <a:ext cx="25377" cy="25956"/>
              </a:xfrm>
              <a:custGeom>
                <a:avLst/>
                <a:gdLst>
                  <a:gd name="connsiteX0" fmla="*/ 13030 w 25377"/>
                  <a:gd name="connsiteY0" fmla="*/ 0 h 25956"/>
                  <a:gd name="connsiteX1" fmla="*/ 25326 w 25377"/>
                  <a:gd name="connsiteY1" fmla="*/ 12978 h 25956"/>
                  <a:gd name="connsiteX2" fmla="*/ 12347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8" y="5464"/>
                      <a:pt x="25326" y="12978"/>
                    </a:cubicBezTo>
                    <a:cubicBezTo>
                      <a:pt x="25326" y="19809"/>
                      <a:pt x="19861" y="25956"/>
                      <a:pt x="12347" y="25956"/>
                    </a:cubicBezTo>
                    <a:cubicBezTo>
                      <a:pt x="5516" y="25956"/>
                      <a:pt x="-631" y="20492"/>
                      <a:pt x="52" y="12978"/>
                    </a:cubicBezTo>
                    <a:cubicBezTo>
                      <a:pt x="735" y="5464"/>
                      <a:pt x="6200" y="0"/>
                      <a:pt x="13030" y="0"/>
                    </a:cubicBezTo>
                  </a:path>
                </a:pathLst>
              </a:custGeom>
              <a:grpFill/>
              <a:ln w="6825"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E36E05BE-833B-4A69-B9BE-CC47F5EE9EE7}"/>
                  </a:ext>
                </a:extLst>
              </p:cNvPr>
              <p:cNvSpPr/>
              <p:nvPr/>
            </p:nvSpPr>
            <p:spPr>
              <a:xfrm>
                <a:off x="7076781" y="-262603"/>
                <a:ext cx="25377" cy="25956"/>
              </a:xfrm>
              <a:custGeom>
                <a:avLst/>
                <a:gdLst>
                  <a:gd name="connsiteX0" fmla="*/ 13030 w 25377"/>
                  <a:gd name="connsiteY0" fmla="*/ 0 h 25956"/>
                  <a:gd name="connsiteX1" fmla="*/ 25326 w 25377"/>
                  <a:gd name="connsiteY1" fmla="*/ 12978 h 25956"/>
                  <a:gd name="connsiteX2" fmla="*/ 12347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8" y="5464"/>
                      <a:pt x="25326" y="12978"/>
                    </a:cubicBezTo>
                    <a:cubicBezTo>
                      <a:pt x="25326" y="19809"/>
                      <a:pt x="19861" y="25956"/>
                      <a:pt x="12347" y="25956"/>
                    </a:cubicBezTo>
                    <a:cubicBezTo>
                      <a:pt x="5516" y="25956"/>
                      <a:pt x="-631" y="20492"/>
                      <a:pt x="52" y="12978"/>
                    </a:cubicBezTo>
                    <a:cubicBezTo>
                      <a:pt x="735" y="6148"/>
                      <a:pt x="6200" y="0"/>
                      <a:pt x="13030" y="0"/>
                    </a:cubicBezTo>
                  </a:path>
                </a:pathLst>
              </a:custGeom>
              <a:grpFill/>
              <a:ln w="6825"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63C644F7-BE7C-4431-B97E-C22FA1493C18}"/>
                  </a:ext>
                </a:extLst>
              </p:cNvPr>
              <p:cNvSpPr/>
              <p:nvPr/>
            </p:nvSpPr>
            <p:spPr>
              <a:xfrm>
                <a:off x="7114350" y="-262603"/>
                <a:ext cx="25377" cy="25956"/>
              </a:xfrm>
              <a:custGeom>
                <a:avLst/>
                <a:gdLst>
                  <a:gd name="connsiteX0" fmla="*/ 13030 w 25377"/>
                  <a:gd name="connsiteY0" fmla="*/ 0 h 25956"/>
                  <a:gd name="connsiteX1" fmla="*/ 25326 w 25377"/>
                  <a:gd name="connsiteY1" fmla="*/ 12978 h 25956"/>
                  <a:gd name="connsiteX2" fmla="*/ 12347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8" y="5464"/>
                      <a:pt x="25326" y="12978"/>
                    </a:cubicBezTo>
                    <a:cubicBezTo>
                      <a:pt x="25326" y="19809"/>
                      <a:pt x="19861" y="25956"/>
                      <a:pt x="12347" y="25956"/>
                    </a:cubicBezTo>
                    <a:cubicBezTo>
                      <a:pt x="5516" y="25956"/>
                      <a:pt x="-631" y="20492"/>
                      <a:pt x="52" y="12978"/>
                    </a:cubicBezTo>
                    <a:cubicBezTo>
                      <a:pt x="735" y="6148"/>
                      <a:pt x="6200" y="0"/>
                      <a:pt x="13030" y="0"/>
                    </a:cubicBezTo>
                  </a:path>
                </a:pathLst>
              </a:custGeom>
              <a:grpFill/>
              <a:ln w="6825" cap="flat">
                <a:no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72CAF668-A254-433A-8B64-9632E7C203D0}"/>
                  </a:ext>
                </a:extLst>
              </p:cNvPr>
              <p:cNvSpPr/>
              <p:nvPr/>
            </p:nvSpPr>
            <p:spPr>
              <a:xfrm>
                <a:off x="7000955" y="-224403"/>
                <a:ext cx="25383" cy="26008"/>
              </a:xfrm>
              <a:custGeom>
                <a:avLst/>
                <a:gdLst>
                  <a:gd name="connsiteX0" fmla="*/ 13036 w 25383"/>
                  <a:gd name="connsiteY0" fmla="*/ 52 h 26008"/>
                  <a:gd name="connsiteX1" fmla="*/ 25331 w 25383"/>
                  <a:gd name="connsiteY1" fmla="*/ 13030 h 26008"/>
                  <a:gd name="connsiteX2" fmla="*/ 12353 w 25383"/>
                  <a:gd name="connsiteY2" fmla="*/ 26009 h 26008"/>
                  <a:gd name="connsiteX3" fmla="*/ 58 w 25383"/>
                  <a:gd name="connsiteY3" fmla="*/ 13030 h 26008"/>
                  <a:gd name="connsiteX4" fmla="*/ 13036 w 25383"/>
                  <a:gd name="connsiteY4" fmla="*/ 52 h 26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83" h="26008">
                    <a:moveTo>
                      <a:pt x="13036" y="52"/>
                    </a:moveTo>
                    <a:cubicBezTo>
                      <a:pt x="19866" y="52"/>
                      <a:pt x="26014" y="5516"/>
                      <a:pt x="25331" y="13030"/>
                    </a:cubicBezTo>
                    <a:cubicBezTo>
                      <a:pt x="25331" y="19861"/>
                      <a:pt x="19866" y="26009"/>
                      <a:pt x="12353" y="26009"/>
                    </a:cubicBezTo>
                    <a:cubicBezTo>
                      <a:pt x="4839" y="26009"/>
                      <a:pt x="-626" y="20544"/>
                      <a:pt x="58" y="13030"/>
                    </a:cubicBezTo>
                    <a:cubicBezTo>
                      <a:pt x="58" y="5516"/>
                      <a:pt x="6205" y="-631"/>
                      <a:pt x="13036" y="52"/>
                    </a:cubicBezTo>
                  </a:path>
                </a:pathLst>
              </a:custGeom>
              <a:grpFill/>
              <a:ln w="6825" cap="flat">
                <a:noFill/>
                <a:prstDash val="solid"/>
                <a:miter/>
              </a:ln>
            </p:spPr>
            <p:txBody>
              <a:bodyPr rtlCol="0" anchor="ctr"/>
              <a:lstStyle/>
              <a:p>
                <a:endParaRPr lang="en-US"/>
              </a:p>
            </p:txBody>
          </p:sp>
          <p:sp>
            <p:nvSpPr>
              <p:cNvPr id="99" name="Freeform: Shape 98">
                <a:extLst>
                  <a:ext uri="{FF2B5EF4-FFF2-40B4-BE49-F238E27FC236}">
                    <a16:creationId xmlns:a16="http://schemas.microsoft.com/office/drawing/2014/main" id="{FADD4B19-4836-493D-BEC8-F26D92263C14}"/>
                  </a:ext>
                </a:extLst>
              </p:cNvPr>
              <p:cNvSpPr/>
              <p:nvPr/>
            </p:nvSpPr>
            <p:spPr>
              <a:xfrm>
                <a:off x="7039207" y="-224351"/>
                <a:ext cx="25383" cy="25956"/>
              </a:xfrm>
              <a:custGeom>
                <a:avLst/>
                <a:gdLst>
                  <a:gd name="connsiteX0" fmla="*/ 13036 w 25383"/>
                  <a:gd name="connsiteY0" fmla="*/ 0 h 25956"/>
                  <a:gd name="connsiteX1" fmla="*/ 25331 w 25383"/>
                  <a:gd name="connsiteY1" fmla="*/ 12978 h 25956"/>
                  <a:gd name="connsiteX2" fmla="*/ 12353 w 25383"/>
                  <a:gd name="connsiteY2" fmla="*/ 25957 h 25956"/>
                  <a:gd name="connsiteX3" fmla="*/ 58 w 25383"/>
                  <a:gd name="connsiteY3" fmla="*/ 12978 h 25956"/>
                  <a:gd name="connsiteX4" fmla="*/ 13036 w 25383"/>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83" h="25956">
                    <a:moveTo>
                      <a:pt x="13036" y="0"/>
                    </a:moveTo>
                    <a:cubicBezTo>
                      <a:pt x="19867" y="0"/>
                      <a:pt x="26014" y="5464"/>
                      <a:pt x="25331" y="12978"/>
                    </a:cubicBezTo>
                    <a:cubicBezTo>
                      <a:pt x="25331" y="19809"/>
                      <a:pt x="19867" y="25957"/>
                      <a:pt x="12353" y="25957"/>
                    </a:cubicBezTo>
                    <a:cubicBezTo>
                      <a:pt x="4839" y="25957"/>
                      <a:pt x="-625" y="20492"/>
                      <a:pt x="58" y="12978"/>
                    </a:cubicBezTo>
                    <a:cubicBezTo>
                      <a:pt x="741" y="5464"/>
                      <a:pt x="6205" y="0"/>
                      <a:pt x="13036" y="0"/>
                    </a:cubicBezTo>
                  </a:path>
                </a:pathLst>
              </a:custGeom>
              <a:grpFill/>
              <a:ln w="6825"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12415FA5-F708-466B-BC33-B2E9398E002B}"/>
                  </a:ext>
                </a:extLst>
              </p:cNvPr>
              <p:cNvSpPr/>
              <p:nvPr/>
            </p:nvSpPr>
            <p:spPr>
              <a:xfrm>
                <a:off x="7076833" y="-224351"/>
                <a:ext cx="25325" cy="25956"/>
              </a:xfrm>
              <a:custGeom>
                <a:avLst/>
                <a:gdLst>
                  <a:gd name="connsiteX0" fmla="*/ 12978 w 25325"/>
                  <a:gd name="connsiteY0" fmla="*/ 0 h 25956"/>
                  <a:gd name="connsiteX1" fmla="*/ 25274 w 25325"/>
                  <a:gd name="connsiteY1" fmla="*/ 12978 h 25956"/>
                  <a:gd name="connsiteX2" fmla="*/ 12295 w 25325"/>
                  <a:gd name="connsiteY2" fmla="*/ 25957 h 25956"/>
                  <a:gd name="connsiteX3" fmla="*/ 0 w 25325"/>
                  <a:gd name="connsiteY3" fmla="*/ 12978 h 25956"/>
                  <a:gd name="connsiteX4" fmla="*/ 12978 w 25325"/>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25" h="25956">
                    <a:moveTo>
                      <a:pt x="12978" y="0"/>
                    </a:moveTo>
                    <a:cubicBezTo>
                      <a:pt x="19809" y="0"/>
                      <a:pt x="25956" y="5464"/>
                      <a:pt x="25274" y="12978"/>
                    </a:cubicBezTo>
                    <a:cubicBezTo>
                      <a:pt x="25274" y="19809"/>
                      <a:pt x="19809" y="25957"/>
                      <a:pt x="12295" y="25957"/>
                    </a:cubicBezTo>
                    <a:cubicBezTo>
                      <a:pt x="5464" y="25957"/>
                      <a:pt x="0" y="20492"/>
                      <a:pt x="0" y="12978"/>
                    </a:cubicBezTo>
                    <a:cubicBezTo>
                      <a:pt x="683" y="5464"/>
                      <a:pt x="6148" y="0"/>
                      <a:pt x="12978" y="0"/>
                    </a:cubicBezTo>
                  </a:path>
                </a:pathLst>
              </a:custGeom>
              <a:grpFill/>
              <a:ln w="6825"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5310081A-33F2-450C-9EBB-E97026EC9497}"/>
                  </a:ext>
                </a:extLst>
              </p:cNvPr>
              <p:cNvSpPr/>
              <p:nvPr/>
            </p:nvSpPr>
            <p:spPr>
              <a:xfrm>
                <a:off x="7114350" y="-224351"/>
                <a:ext cx="25377" cy="25956"/>
              </a:xfrm>
              <a:custGeom>
                <a:avLst/>
                <a:gdLst>
                  <a:gd name="connsiteX0" fmla="*/ 13030 w 25377"/>
                  <a:gd name="connsiteY0" fmla="*/ 0 h 25956"/>
                  <a:gd name="connsiteX1" fmla="*/ 25326 w 25377"/>
                  <a:gd name="connsiteY1" fmla="*/ 12978 h 25956"/>
                  <a:gd name="connsiteX2" fmla="*/ 12347 w 25377"/>
                  <a:gd name="connsiteY2" fmla="*/ 25957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8" y="5464"/>
                      <a:pt x="25326" y="12978"/>
                    </a:cubicBezTo>
                    <a:cubicBezTo>
                      <a:pt x="25326" y="19809"/>
                      <a:pt x="19861" y="25957"/>
                      <a:pt x="12347" y="25957"/>
                    </a:cubicBezTo>
                    <a:cubicBezTo>
                      <a:pt x="5516" y="25957"/>
                      <a:pt x="-631" y="20492"/>
                      <a:pt x="52" y="12978"/>
                    </a:cubicBezTo>
                    <a:cubicBezTo>
                      <a:pt x="735" y="5464"/>
                      <a:pt x="6200" y="0"/>
                      <a:pt x="13030" y="0"/>
                    </a:cubicBezTo>
                  </a:path>
                </a:pathLst>
              </a:custGeom>
              <a:grpFill/>
              <a:ln w="6825"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452E5096-1482-4F51-B4F9-D86EDD2644EE}"/>
                  </a:ext>
                </a:extLst>
              </p:cNvPr>
              <p:cNvSpPr/>
              <p:nvPr/>
            </p:nvSpPr>
            <p:spPr>
              <a:xfrm>
                <a:off x="7153968" y="-338476"/>
                <a:ext cx="25377" cy="26008"/>
              </a:xfrm>
              <a:custGeom>
                <a:avLst/>
                <a:gdLst>
                  <a:gd name="connsiteX0" fmla="*/ 13030 w 25377"/>
                  <a:gd name="connsiteY0" fmla="*/ 52 h 26008"/>
                  <a:gd name="connsiteX1" fmla="*/ 25326 w 25377"/>
                  <a:gd name="connsiteY1" fmla="*/ 13030 h 26008"/>
                  <a:gd name="connsiteX2" fmla="*/ 12348 w 25377"/>
                  <a:gd name="connsiteY2" fmla="*/ 26009 h 26008"/>
                  <a:gd name="connsiteX3" fmla="*/ 52 w 25377"/>
                  <a:gd name="connsiteY3" fmla="*/ 13030 h 26008"/>
                  <a:gd name="connsiteX4" fmla="*/ 13030 w 25377"/>
                  <a:gd name="connsiteY4" fmla="*/ 52 h 26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6008">
                    <a:moveTo>
                      <a:pt x="13030" y="52"/>
                    </a:moveTo>
                    <a:cubicBezTo>
                      <a:pt x="19861" y="52"/>
                      <a:pt x="26009" y="5517"/>
                      <a:pt x="25326" y="13030"/>
                    </a:cubicBezTo>
                    <a:cubicBezTo>
                      <a:pt x="25326" y="19861"/>
                      <a:pt x="19861" y="26009"/>
                      <a:pt x="12348" y="26009"/>
                    </a:cubicBezTo>
                    <a:cubicBezTo>
                      <a:pt x="5517" y="26009"/>
                      <a:pt x="-631" y="20544"/>
                      <a:pt x="52" y="13030"/>
                    </a:cubicBezTo>
                    <a:cubicBezTo>
                      <a:pt x="735" y="5517"/>
                      <a:pt x="6200" y="-631"/>
                      <a:pt x="13030" y="52"/>
                    </a:cubicBezTo>
                  </a:path>
                </a:pathLst>
              </a:custGeom>
              <a:grpFill/>
              <a:ln w="6825" cap="flat">
                <a:noFill/>
                <a:prstDash val="solid"/>
                <a:miter/>
              </a:ln>
            </p:spPr>
            <p:txBody>
              <a:bodyPr rtlCol="0" anchor="ctr"/>
              <a:lstStyle/>
              <a:p>
                <a:endParaRPr lang="en-US"/>
              </a:p>
            </p:txBody>
          </p:sp>
          <p:sp>
            <p:nvSpPr>
              <p:cNvPr id="103" name="Freeform: Shape 102">
                <a:extLst>
                  <a:ext uri="{FF2B5EF4-FFF2-40B4-BE49-F238E27FC236}">
                    <a16:creationId xmlns:a16="http://schemas.microsoft.com/office/drawing/2014/main" id="{BBCB520F-8852-4889-AEA4-92ED32014053}"/>
                  </a:ext>
                </a:extLst>
              </p:cNvPr>
              <p:cNvSpPr/>
              <p:nvPr/>
            </p:nvSpPr>
            <p:spPr>
              <a:xfrm>
                <a:off x="7153968" y="-300855"/>
                <a:ext cx="25377" cy="25956"/>
              </a:xfrm>
              <a:custGeom>
                <a:avLst/>
                <a:gdLst>
                  <a:gd name="connsiteX0" fmla="*/ 13030 w 25377"/>
                  <a:gd name="connsiteY0" fmla="*/ 0 h 25956"/>
                  <a:gd name="connsiteX1" fmla="*/ 25326 w 25377"/>
                  <a:gd name="connsiteY1" fmla="*/ 12978 h 25956"/>
                  <a:gd name="connsiteX2" fmla="*/ 12348 w 25377"/>
                  <a:gd name="connsiteY2" fmla="*/ 25957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5"/>
                      <a:pt x="25326" y="12978"/>
                    </a:cubicBezTo>
                    <a:cubicBezTo>
                      <a:pt x="25326" y="19809"/>
                      <a:pt x="19861" y="25957"/>
                      <a:pt x="12348" y="25957"/>
                    </a:cubicBezTo>
                    <a:cubicBezTo>
                      <a:pt x="5517" y="25957"/>
                      <a:pt x="-631" y="20492"/>
                      <a:pt x="52" y="12978"/>
                    </a:cubicBezTo>
                    <a:cubicBezTo>
                      <a:pt x="52" y="5465"/>
                      <a:pt x="6200" y="0"/>
                      <a:pt x="13030" y="0"/>
                    </a:cubicBezTo>
                  </a:path>
                </a:pathLst>
              </a:custGeom>
              <a:grpFill/>
              <a:ln w="6825" cap="flat">
                <a:noFill/>
                <a:prstDash val="solid"/>
                <a:miter/>
              </a:ln>
            </p:spPr>
            <p:txBody>
              <a:bodyPr rtlCol="0" anchor="ctr"/>
              <a:lstStyle/>
              <a:p>
                <a:endParaRPr lang="en-US"/>
              </a:p>
            </p:txBody>
          </p:sp>
          <p:sp>
            <p:nvSpPr>
              <p:cNvPr id="104" name="Freeform: Shape 103">
                <a:extLst>
                  <a:ext uri="{FF2B5EF4-FFF2-40B4-BE49-F238E27FC236}">
                    <a16:creationId xmlns:a16="http://schemas.microsoft.com/office/drawing/2014/main" id="{C83A5ABD-C1DB-453E-AFCB-62144CEBB83D}"/>
                  </a:ext>
                </a:extLst>
              </p:cNvPr>
              <p:cNvSpPr/>
              <p:nvPr/>
            </p:nvSpPr>
            <p:spPr>
              <a:xfrm>
                <a:off x="7153962" y="-261920"/>
                <a:ext cx="25383" cy="25956"/>
              </a:xfrm>
              <a:custGeom>
                <a:avLst/>
                <a:gdLst>
                  <a:gd name="connsiteX0" fmla="*/ 13036 w 25383"/>
                  <a:gd name="connsiteY0" fmla="*/ 0 h 25956"/>
                  <a:gd name="connsiteX1" fmla="*/ 25331 w 25383"/>
                  <a:gd name="connsiteY1" fmla="*/ 12978 h 25956"/>
                  <a:gd name="connsiteX2" fmla="*/ 12353 w 25383"/>
                  <a:gd name="connsiteY2" fmla="*/ 25956 h 25956"/>
                  <a:gd name="connsiteX3" fmla="*/ 58 w 25383"/>
                  <a:gd name="connsiteY3" fmla="*/ 12978 h 25956"/>
                  <a:gd name="connsiteX4" fmla="*/ 13036 w 25383"/>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83" h="25956">
                    <a:moveTo>
                      <a:pt x="13036" y="0"/>
                    </a:moveTo>
                    <a:cubicBezTo>
                      <a:pt x="19867" y="0"/>
                      <a:pt x="26015" y="5464"/>
                      <a:pt x="25331" y="12978"/>
                    </a:cubicBezTo>
                    <a:cubicBezTo>
                      <a:pt x="25331" y="19809"/>
                      <a:pt x="19867" y="25956"/>
                      <a:pt x="12353" y="25956"/>
                    </a:cubicBezTo>
                    <a:cubicBezTo>
                      <a:pt x="4839" y="25956"/>
                      <a:pt x="-625" y="20492"/>
                      <a:pt x="58" y="12978"/>
                    </a:cubicBezTo>
                    <a:cubicBezTo>
                      <a:pt x="58" y="5464"/>
                      <a:pt x="6205" y="0"/>
                      <a:pt x="13036" y="0"/>
                    </a:cubicBezTo>
                  </a:path>
                </a:pathLst>
              </a:custGeom>
              <a:grpFill/>
              <a:ln w="6825" cap="flat">
                <a:noFill/>
                <a:prstDash val="solid"/>
                <a:miter/>
              </a:ln>
            </p:spPr>
            <p:txBody>
              <a:bodyPr rtlCol="0" anchor="ctr"/>
              <a:lstStyle/>
              <a:p>
                <a:endParaRPr lang="en-US"/>
              </a:p>
            </p:txBody>
          </p:sp>
          <p:sp>
            <p:nvSpPr>
              <p:cNvPr id="105" name="Freeform: Shape 104">
                <a:extLst>
                  <a:ext uri="{FF2B5EF4-FFF2-40B4-BE49-F238E27FC236}">
                    <a16:creationId xmlns:a16="http://schemas.microsoft.com/office/drawing/2014/main" id="{39D6809B-688F-42D2-AF69-F6BC3ACFE2D0}"/>
                  </a:ext>
                </a:extLst>
              </p:cNvPr>
              <p:cNvSpPr/>
              <p:nvPr/>
            </p:nvSpPr>
            <p:spPr>
              <a:xfrm>
                <a:off x="6963392" y="-185417"/>
                <a:ext cx="25377" cy="25956"/>
              </a:xfrm>
              <a:custGeom>
                <a:avLst/>
                <a:gdLst>
                  <a:gd name="connsiteX0" fmla="*/ 13030 w 25377"/>
                  <a:gd name="connsiteY0" fmla="*/ 0 h 25956"/>
                  <a:gd name="connsiteX1" fmla="*/ 25326 w 25377"/>
                  <a:gd name="connsiteY1" fmla="*/ 12978 h 25956"/>
                  <a:gd name="connsiteX2" fmla="*/ 12347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4"/>
                      <a:pt x="25326" y="12978"/>
                    </a:cubicBezTo>
                    <a:cubicBezTo>
                      <a:pt x="24642" y="20492"/>
                      <a:pt x="19861" y="25956"/>
                      <a:pt x="12347" y="25956"/>
                    </a:cubicBezTo>
                    <a:cubicBezTo>
                      <a:pt x="5517" y="25956"/>
                      <a:pt x="-631" y="20492"/>
                      <a:pt x="52" y="12978"/>
                    </a:cubicBezTo>
                    <a:cubicBezTo>
                      <a:pt x="52" y="5464"/>
                      <a:pt x="6199" y="0"/>
                      <a:pt x="13030" y="0"/>
                    </a:cubicBezTo>
                  </a:path>
                </a:pathLst>
              </a:custGeom>
              <a:grpFill/>
              <a:ln w="6825" cap="flat">
                <a:noFill/>
                <a:prstDash val="solid"/>
                <a:miter/>
              </a:ln>
            </p:spPr>
            <p:txBody>
              <a:bodyPr rtlCol="0" anchor="ctr"/>
              <a:lstStyle/>
              <a:p>
                <a:endParaRPr lang="en-US"/>
              </a:p>
            </p:txBody>
          </p:sp>
          <p:sp>
            <p:nvSpPr>
              <p:cNvPr id="106" name="Freeform: Shape 105">
                <a:extLst>
                  <a:ext uri="{FF2B5EF4-FFF2-40B4-BE49-F238E27FC236}">
                    <a16:creationId xmlns:a16="http://schemas.microsoft.com/office/drawing/2014/main" id="{1F0B87F9-1D87-4E9D-97C4-E84558DBC360}"/>
                  </a:ext>
                </a:extLst>
              </p:cNvPr>
              <p:cNvSpPr/>
              <p:nvPr/>
            </p:nvSpPr>
            <p:spPr>
              <a:xfrm>
                <a:off x="7000961" y="-185417"/>
                <a:ext cx="25377" cy="25956"/>
              </a:xfrm>
              <a:custGeom>
                <a:avLst/>
                <a:gdLst>
                  <a:gd name="connsiteX0" fmla="*/ 13030 w 25377"/>
                  <a:gd name="connsiteY0" fmla="*/ 0 h 25956"/>
                  <a:gd name="connsiteX1" fmla="*/ 25326 w 25377"/>
                  <a:gd name="connsiteY1" fmla="*/ 12978 h 25956"/>
                  <a:gd name="connsiteX2" fmla="*/ 12347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4"/>
                      <a:pt x="25326" y="12978"/>
                    </a:cubicBezTo>
                    <a:cubicBezTo>
                      <a:pt x="25326" y="19809"/>
                      <a:pt x="19861" y="25956"/>
                      <a:pt x="12347" y="25956"/>
                    </a:cubicBezTo>
                    <a:cubicBezTo>
                      <a:pt x="5517" y="25956"/>
                      <a:pt x="-631" y="20492"/>
                      <a:pt x="52" y="12978"/>
                    </a:cubicBezTo>
                    <a:cubicBezTo>
                      <a:pt x="52" y="6148"/>
                      <a:pt x="6199" y="0"/>
                      <a:pt x="13030" y="0"/>
                    </a:cubicBezTo>
                  </a:path>
                </a:pathLst>
              </a:custGeom>
              <a:grpFill/>
              <a:ln w="6825" cap="flat">
                <a:noFill/>
                <a:prstDash val="solid"/>
                <a:miter/>
              </a:ln>
            </p:spPr>
            <p:txBody>
              <a:bodyPr rtlCol="0" anchor="ctr"/>
              <a:lstStyle/>
              <a:p>
                <a:endParaRPr lang="en-US"/>
              </a:p>
            </p:txBody>
          </p:sp>
          <p:sp>
            <p:nvSpPr>
              <p:cNvPr id="107" name="Freeform: Shape 106">
                <a:extLst>
                  <a:ext uri="{FF2B5EF4-FFF2-40B4-BE49-F238E27FC236}">
                    <a16:creationId xmlns:a16="http://schemas.microsoft.com/office/drawing/2014/main" id="{79390E36-D6BA-4BAB-8627-048A96157A88}"/>
                  </a:ext>
                </a:extLst>
              </p:cNvPr>
              <p:cNvSpPr/>
              <p:nvPr/>
            </p:nvSpPr>
            <p:spPr>
              <a:xfrm>
                <a:off x="7039264" y="-184785"/>
                <a:ext cx="25325" cy="26008"/>
              </a:xfrm>
              <a:custGeom>
                <a:avLst/>
                <a:gdLst>
                  <a:gd name="connsiteX0" fmla="*/ 12978 w 25325"/>
                  <a:gd name="connsiteY0" fmla="*/ 52 h 26008"/>
                  <a:gd name="connsiteX1" fmla="*/ 25274 w 25325"/>
                  <a:gd name="connsiteY1" fmla="*/ 13030 h 26008"/>
                  <a:gd name="connsiteX2" fmla="*/ 12295 w 25325"/>
                  <a:gd name="connsiteY2" fmla="*/ 26008 h 26008"/>
                  <a:gd name="connsiteX3" fmla="*/ 0 w 25325"/>
                  <a:gd name="connsiteY3" fmla="*/ 13030 h 26008"/>
                  <a:gd name="connsiteX4" fmla="*/ 12978 w 25325"/>
                  <a:gd name="connsiteY4" fmla="*/ 52 h 26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25" h="26008">
                    <a:moveTo>
                      <a:pt x="12978" y="52"/>
                    </a:moveTo>
                    <a:cubicBezTo>
                      <a:pt x="19809" y="52"/>
                      <a:pt x="25956" y="5516"/>
                      <a:pt x="25274" y="13030"/>
                    </a:cubicBezTo>
                    <a:cubicBezTo>
                      <a:pt x="25274" y="19861"/>
                      <a:pt x="19809" y="26008"/>
                      <a:pt x="12295" y="26008"/>
                    </a:cubicBezTo>
                    <a:cubicBezTo>
                      <a:pt x="5464" y="26008"/>
                      <a:pt x="0" y="20544"/>
                      <a:pt x="0" y="13030"/>
                    </a:cubicBezTo>
                    <a:cubicBezTo>
                      <a:pt x="0" y="5516"/>
                      <a:pt x="6148" y="-631"/>
                      <a:pt x="12978" y="52"/>
                    </a:cubicBezTo>
                  </a:path>
                </a:pathLst>
              </a:custGeom>
              <a:grpFill/>
              <a:ln w="6825" cap="flat">
                <a:noFill/>
                <a:prstDash val="solid"/>
                <a:miter/>
              </a:ln>
            </p:spPr>
            <p:txBody>
              <a:bodyPr rtlCol="0" anchor="ctr"/>
              <a:lstStyle/>
              <a:p>
                <a:endParaRPr lang="en-US"/>
              </a:p>
            </p:txBody>
          </p:sp>
          <p:sp>
            <p:nvSpPr>
              <p:cNvPr id="108" name="Freeform: Shape 107">
                <a:extLst>
                  <a:ext uri="{FF2B5EF4-FFF2-40B4-BE49-F238E27FC236}">
                    <a16:creationId xmlns:a16="http://schemas.microsoft.com/office/drawing/2014/main" id="{3ECA50DC-BA1D-4005-900D-4A6F68E30515}"/>
                  </a:ext>
                </a:extLst>
              </p:cNvPr>
              <p:cNvSpPr/>
              <p:nvPr/>
            </p:nvSpPr>
            <p:spPr>
              <a:xfrm>
                <a:off x="7076781" y="-184733"/>
                <a:ext cx="25377" cy="25956"/>
              </a:xfrm>
              <a:custGeom>
                <a:avLst/>
                <a:gdLst>
                  <a:gd name="connsiteX0" fmla="*/ 13030 w 25377"/>
                  <a:gd name="connsiteY0" fmla="*/ 0 h 25956"/>
                  <a:gd name="connsiteX1" fmla="*/ 25326 w 25377"/>
                  <a:gd name="connsiteY1" fmla="*/ 12978 h 25956"/>
                  <a:gd name="connsiteX2" fmla="*/ 12347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8" y="5464"/>
                      <a:pt x="25326" y="12978"/>
                    </a:cubicBezTo>
                    <a:cubicBezTo>
                      <a:pt x="24643" y="20492"/>
                      <a:pt x="19861" y="25956"/>
                      <a:pt x="12347" y="25956"/>
                    </a:cubicBezTo>
                    <a:cubicBezTo>
                      <a:pt x="5516" y="25956"/>
                      <a:pt x="-631" y="20492"/>
                      <a:pt x="52" y="12978"/>
                    </a:cubicBezTo>
                    <a:cubicBezTo>
                      <a:pt x="735" y="5464"/>
                      <a:pt x="6200" y="0"/>
                      <a:pt x="13030" y="0"/>
                    </a:cubicBezTo>
                  </a:path>
                </a:pathLst>
              </a:custGeom>
              <a:grpFill/>
              <a:ln w="6825" cap="flat">
                <a:noFill/>
                <a:prstDash val="solid"/>
                <a:miter/>
              </a:ln>
            </p:spPr>
            <p:txBody>
              <a:bodyPr rtlCol="0" anchor="ctr"/>
              <a:lstStyle/>
              <a:p>
                <a:endParaRPr lang="en-US"/>
              </a:p>
            </p:txBody>
          </p:sp>
          <p:sp>
            <p:nvSpPr>
              <p:cNvPr id="109" name="Freeform: Shape 108">
                <a:extLst>
                  <a:ext uri="{FF2B5EF4-FFF2-40B4-BE49-F238E27FC236}">
                    <a16:creationId xmlns:a16="http://schemas.microsoft.com/office/drawing/2014/main" id="{AD499395-083F-424A-8E89-E488E0352AE8}"/>
                  </a:ext>
                </a:extLst>
              </p:cNvPr>
              <p:cNvSpPr/>
              <p:nvPr/>
            </p:nvSpPr>
            <p:spPr>
              <a:xfrm>
                <a:off x="7191536" y="-300855"/>
                <a:ext cx="25377" cy="25956"/>
              </a:xfrm>
              <a:custGeom>
                <a:avLst/>
                <a:gdLst>
                  <a:gd name="connsiteX0" fmla="*/ 13030 w 25377"/>
                  <a:gd name="connsiteY0" fmla="*/ 0 h 25956"/>
                  <a:gd name="connsiteX1" fmla="*/ 25326 w 25377"/>
                  <a:gd name="connsiteY1" fmla="*/ 12978 h 25956"/>
                  <a:gd name="connsiteX2" fmla="*/ 12348 w 25377"/>
                  <a:gd name="connsiteY2" fmla="*/ 25957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5"/>
                      <a:pt x="25326" y="12978"/>
                    </a:cubicBezTo>
                    <a:cubicBezTo>
                      <a:pt x="25326" y="19809"/>
                      <a:pt x="19861" y="25957"/>
                      <a:pt x="12348" y="25957"/>
                    </a:cubicBezTo>
                    <a:cubicBezTo>
                      <a:pt x="5517" y="25957"/>
                      <a:pt x="-631" y="20492"/>
                      <a:pt x="52" y="12978"/>
                    </a:cubicBezTo>
                    <a:cubicBezTo>
                      <a:pt x="735" y="5465"/>
                      <a:pt x="6200" y="0"/>
                      <a:pt x="13030" y="0"/>
                    </a:cubicBezTo>
                  </a:path>
                </a:pathLst>
              </a:custGeom>
              <a:grpFill/>
              <a:ln w="6825" cap="flat">
                <a:noFill/>
                <a:prstDash val="solid"/>
                <a:miter/>
              </a:ln>
            </p:spPr>
            <p:txBody>
              <a:bodyPr rtlCol="0" anchor="ctr"/>
              <a:lstStyle/>
              <a:p>
                <a:endParaRPr lang="en-US"/>
              </a:p>
            </p:txBody>
          </p:sp>
        </p:grpSp>
      </p:grpSp>
      <p:grpSp>
        <p:nvGrpSpPr>
          <p:cNvPr id="123" name="Group 122">
            <a:extLst>
              <a:ext uri="{FF2B5EF4-FFF2-40B4-BE49-F238E27FC236}">
                <a16:creationId xmlns:a16="http://schemas.microsoft.com/office/drawing/2014/main" id="{0848304E-AF91-4F8B-A92A-504CD33B6EDE}"/>
              </a:ext>
            </a:extLst>
          </p:cNvPr>
          <p:cNvGrpSpPr/>
          <p:nvPr userDrawn="1"/>
        </p:nvGrpSpPr>
        <p:grpSpPr>
          <a:xfrm>
            <a:off x="10469613" y="5374510"/>
            <a:ext cx="1373199" cy="627246"/>
            <a:chOff x="10427989" y="4826453"/>
            <a:chExt cx="1611611" cy="736147"/>
          </a:xfrm>
        </p:grpSpPr>
        <p:sp>
          <p:nvSpPr>
            <p:cNvPr id="124" name="Freeform: Shape 123">
              <a:extLst>
                <a:ext uri="{FF2B5EF4-FFF2-40B4-BE49-F238E27FC236}">
                  <a16:creationId xmlns:a16="http://schemas.microsoft.com/office/drawing/2014/main" id="{A21FC47E-D2FB-4BBE-88D2-66BDF0D414F0}"/>
                </a:ext>
              </a:extLst>
            </p:cNvPr>
            <p:cNvSpPr/>
            <p:nvPr/>
          </p:nvSpPr>
          <p:spPr>
            <a:xfrm>
              <a:off x="10427989" y="4826453"/>
              <a:ext cx="726668" cy="736147"/>
            </a:xfrm>
            <a:custGeom>
              <a:avLst/>
              <a:gdLst>
                <a:gd name="connsiteX0" fmla="*/ 335354 w 956848"/>
                <a:gd name="connsiteY0" fmla="*/ 871365 h 969327"/>
                <a:gd name="connsiteX1" fmla="*/ 381761 w 956848"/>
                <a:gd name="connsiteY1" fmla="*/ 920346 h 969327"/>
                <a:gd name="connsiteX2" fmla="*/ 332780 w 956848"/>
                <a:gd name="connsiteY2" fmla="*/ 969327 h 969327"/>
                <a:gd name="connsiteX3" fmla="*/ 286373 w 956848"/>
                <a:gd name="connsiteY3" fmla="*/ 920346 h 969327"/>
                <a:gd name="connsiteX4" fmla="*/ 335354 w 956848"/>
                <a:gd name="connsiteY4" fmla="*/ 871365 h 969327"/>
                <a:gd name="connsiteX5" fmla="*/ 477141 w 956848"/>
                <a:gd name="connsiteY5" fmla="*/ 871365 h 969327"/>
                <a:gd name="connsiteX6" fmla="*/ 523549 w 956848"/>
                <a:gd name="connsiteY6" fmla="*/ 920346 h 969327"/>
                <a:gd name="connsiteX7" fmla="*/ 474567 w 956848"/>
                <a:gd name="connsiteY7" fmla="*/ 969327 h 969327"/>
                <a:gd name="connsiteX8" fmla="*/ 428160 w 956848"/>
                <a:gd name="connsiteY8" fmla="*/ 920346 h 969327"/>
                <a:gd name="connsiteX9" fmla="*/ 477141 w 956848"/>
                <a:gd name="connsiteY9" fmla="*/ 871365 h 969327"/>
                <a:gd name="connsiteX10" fmla="*/ 190985 w 956848"/>
                <a:gd name="connsiteY10" fmla="*/ 868784 h 969327"/>
                <a:gd name="connsiteX11" fmla="*/ 237388 w 956848"/>
                <a:gd name="connsiteY11" fmla="*/ 917765 h 969327"/>
                <a:gd name="connsiteX12" fmla="*/ 188407 w 956848"/>
                <a:gd name="connsiteY12" fmla="*/ 966746 h 969327"/>
                <a:gd name="connsiteX13" fmla="*/ 142004 w 956848"/>
                <a:gd name="connsiteY13" fmla="*/ 917765 h 969327"/>
                <a:gd name="connsiteX14" fmla="*/ 190985 w 956848"/>
                <a:gd name="connsiteY14" fmla="*/ 868784 h 969327"/>
                <a:gd name="connsiteX15" fmla="*/ 49198 w 956848"/>
                <a:gd name="connsiteY15" fmla="*/ 868784 h 969327"/>
                <a:gd name="connsiteX16" fmla="*/ 95601 w 956848"/>
                <a:gd name="connsiteY16" fmla="*/ 917765 h 969327"/>
                <a:gd name="connsiteX17" fmla="*/ 46620 w 956848"/>
                <a:gd name="connsiteY17" fmla="*/ 966746 h 969327"/>
                <a:gd name="connsiteX18" fmla="*/ 217 w 956848"/>
                <a:gd name="connsiteY18" fmla="*/ 917765 h 969327"/>
                <a:gd name="connsiteX19" fmla="*/ 49198 w 956848"/>
                <a:gd name="connsiteY19" fmla="*/ 868784 h 969327"/>
                <a:gd name="connsiteX20" fmla="*/ 618932 w 956848"/>
                <a:gd name="connsiteY20" fmla="*/ 721841 h 969327"/>
                <a:gd name="connsiteX21" fmla="*/ 665340 w 956848"/>
                <a:gd name="connsiteY21" fmla="*/ 770822 h 969327"/>
                <a:gd name="connsiteX22" fmla="*/ 616358 w 956848"/>
                <a:gd name="connsiteY22" fmla="*/ 819807 h 969327"/>
                <a:gd name="connsiteX23" fmla="*/ 569951 w 956848"/>
                <a:gd name="connsiteY23" fmla="*/ 770822 h 969327"/>
                <a:gd name="connsiteX24" fmla="*/ 618932 w 956848"/>
                <a:gd name="connsiteY24" fmla="*/ 721841 h 969327"/>
                <a:gd name="connsiteX25" fmla="*/ 477141 w 956848"/>
                <a:gd name="connsiteY25" fmla="*/ 721841 h 969327"/>
                <a:gd name="connsiteX26" fmla="*/ 523548 w 956848"/>
                <a:gd name="connsiteY26" fmla="*/ 770822 h 969327"/>
                <a:gd name="connsiteX27" fmla="*/ 474567 w 956848"/>
                <a:gd name="connsiteY27" fmla="*/ 819807 h 969327"/>
                <a:gd name="connsiteX28" fmla="*/ 428160 w 956848"/>
                <a:gd name="connsiteY28" fmla="*/ 770822 h 969327"/>
                <a:gd name="connsiteX29" fmla="*/ 477141 w 956848"/>
                <a:gd name="connsiteY29" fmla="*/ 721841 h 969327"/>
                <a:gd name="connsiteX30" fmla="*/ 335354 w 956848"/>
                <a:gd name="connsiteY30" fmla="*/ 721841 h 969327"/>
                <a:gd name="connsiteX31" fmla="*/ 381757 w 956848"/>
                <a:gd name="connsiteY31" fmla="*/ 770822 h 969327"/>
                <a:gd name="connsiteX32" fmla="*/ 332776 w 956848"/>
                <a:gd name="connsiteY32" fmla="*/ 819807 h 969327"/>
                <a:gd name="connsiteX33" fmla="*/ 286373 w 956848"/>
                <a:gd name="connsiteY33" fmla="*/ 770822 h 969327"/>
                <a:gd name="connsiteX34" fmla="*/ 335354 w 956848"/>
                <a:gd name="connsiteY34" fmla="*/ 721841 h 969327"/>
                <a:gd name="connsiteX35" fmla="*/ 190985 w 956848"/>
                <a:gd name="connsiteY35" fmla="*/ 721840 h 969327"/>
                <a:gd name="connsiteX36" fmla="*/ 237388 w 956848"/>
                <a:gd name="connsiteY36" fmla="*/ 770821 h 969327"/>
                <a:gd name="connsiteX37" fmla="*/ 188407 w 956848"/>
                <a:gd name="connsiteY37" fmla="*/ 819806 h 969327"/>
                <a:gd name="connsiteX38" fmla="*/ 142004 w 956848"/>
                <a:gd name="connsiteY38" fmla="*/ 770821 h 969327"/>
                <a:gd name="connsiteX39" fmla="*/ 190985 w 956848"/>
                <a:gd name="connsiteY39" fmla="*/ 721840 h 969327"/>
                <a:gd name="connsiteX40" fmla="*/ 768457 w 956848"/>
                <a:gd name="connsiteY40" fmla="*/ 580050 h 969327"/>
                <a:gd name="connsiteX41" fmla="*/ 814861 w 956848"/>
                <a:gd name="connsiteY41" fmla="*/ 629031 h 969327"/>
                <a:gd name="connsiteX42" fmla="*/ 765880 w 956848"/>
                <a:gd name="connsiteY42" fmla="*/ 678012 h 969327"/>
                <a:gd name="connsiteX43" fmla="*/ 719476 w 956848"/>
                <a:gd name="connsiteY43" fmla="*/ 629031 h 969327"/>
                <a:gd name="connsiteX44" fmla="*/ 768457 w 956848"/>
                <a:gd name="connsiteY44" fmla="*/ 580050 h 969327"/>
                <a:gd name="connsiteX45" fmla="*/ 621510 w 956848"/>
                <a:gd name="connsiteY45" fmla="*/ 577472 h 969327"/>
                <a:gd name="connsiteX46" fmla="*/ 667918 w 956848"/>
                <a:gd name="connsiteY46" fmla="*/ 626453 h 969327"/>
                <a:gd name="connsiteX47" fmla="*/ 618933 w 956848"/>
                <a:gd name="connsiteY47" fmla="*/ 675434 h 969327"/>
                <a:gd name="connsiteX48" fmla="*/ 572529 w 956848"/>
                <a:gd name="connsiteY48" fmla="*/ 626453 h 969327"/>
                <a:gd name="connsiteX49" fmla="*/ 621510 w 956848"/>
                <a:gd name="connsiteY49" fmla="*/ 577472 h 969327"/>
                <a:gd name="connsiteX50" fmla="*/ 479723 w 956848"/>
                <a:gd name="connsiteY50" fmla="*/ 577472 h 969327"/>
                <a:gd name="connsiteX51" fmla="*/ 526131 w 956848"/>
                <a:gd name="connsiteY51" fmla="*/ 626453 h 969327"/>
                <a:gd name="connsiteX52" fmla="*/ 477146 w 956848"/>
                <a:gd name="connsiteY52" fmla="*/ 675434 h 969327"/>
                <a:gd name="connsiteX53" fmla="*/ 430742 w 956848"/>
                <a:gd name="connsiteY53" fmla="*/ 626453 h 969327"/>
                <a:gd name="connsiteX54" fmla="*/ 479723 w 956848"/>
                <a:gd name="connsiteY54" fmla="*/ 577472 h 969327"/>
                <a:gd name="connsiteX55" fmla="*/ 335354 w 956848"/>
                <a:gd name="connsiteY55" fmla="*/ 577472 h 969327"/>
                <a:gd name="connsiteX56" fmla="*/ 381762 w 956848"/>
                <a:gd name="connsiteY56" fmla="*/ 626453 h 969327"/>
                <a:gd name="connsiteX57" fmla="*/ 332780 w 956848"/>
                <a:gd name="connsiteY57" fmla="*/ 675434 h 969327"/>
                <a:gd name="connsiteX58" fmla="*/ 286373 w 956848"/>
                <a:gd name="connsiteY58" fmla="*/ 626453 h 969327"/>
                <a:gd name="connsiteX59" fmla="*/ 335354 w 956848"/>
                <a:gd name="connsiteY59" fmla="*/ 577472 h 969327"/>
                <a:gd name="connsiteX60" fmla="*/ 910248 w 956848"/>
                <a:gd name="connsiteY60" fmla="*/ 433103 h 969327"/>
                <a:gd name="connsiteX61" fmla="*/ 956652 w 956848"/>
                <a:gd name="connsiteY61" fmla="*/ 482084 h 969327"/>
                <a:gd name="connsiteX62" fmla="*/ 907670 w 956848"/>
                <a:gd name="connsiteY62" fmla="*/ 531069 h 969327"/>
                <a:gd name="connsiteX63" fmla="*/ 861267 w 956848"/>
                <a:gd name="connsiteY63" fmla="*/ 482084 h 969327"/>
                <a:gd name="connsiteX64" fmla="*/ 910248 w 956848"/>
                <a:gd name="connsiteY64" fmla="*/ 433103 h 969327"/>
                <a:gd name="connsiteX65" fmla="*/ 768457 w 956848"/>
                <a:gd name="connsiteY65" fmla="*/ 433103 h 969327"/>
                <a:gd name="connsiteX66" fmla="*/ 814861 w 956848"/>
                <a:gd name="connsiteY66" fmla="*/ 482084 h 969327"/>
                <a:gd name="connsiteX67" fmla="*/ 765880 w 956848"/>
                <a:gd name="connsiteY67" fmla="*/ 531069 h 969327"/>
                <a:gd name="connsiteX68" fmla="*/ 719476 w 956848"/>
                <a:gd name="connsiteY68" fmla="*/ 482084 h 969327"/>
                <a:gd name="connsiteX69" fmla="*/ 768457 w 956848"/>
                <a:gd name="connsiteY69" fmla="*/ 433103 h 969327"/>
                <a:gd name="connsiteX70" fmla="*/ 621510 w 956848"/>
                <a:gd name="connsiteY70" fmla="*/ 433103 h 969327"/>
                <a:gd name="connsiteX71" fmla="*/ 667918 w 956848"/>
                <a:gd name="connsiteY71" fmla="*/ 482084 h 969327"/>
                <a:gd name="connsiteX72" fmla="*/ 618933 w 956848"/>
                <a:gd name="connsiteY72" fmla="*/ 531069 h 969327"/>
                <a:gd name="connsiteX73" fmla="*/ 572529 w 956848"/>
                <a:gd name="connsiteY73" fmla="*/ 482084 h 969327"/>
                <a:gd name="connsiteX74" fmla="*/ 621510 w 956848"/>
                <a:gd name="connsiteY74" fmla="*/ 433103 h 969327"/>
                <a:gd name="connsiteX75" fmla="*/ 479723 w 956848"/>
                <a:gd name="connsiteY75" fmla="*/ 433103 h 969327"/>
                <a:gd name="connsiteX76" fmla="*/ 526131 w 956848"/>
                <a:gd name="connsiteY76" fmla="*/ 482084 h 969327"/>
                <a:gd name="connsiteX77" fmla="*/ 477146 w 956848"/>
                <a:gd name="connsiteY77" fmla="*/ 531069 h 969327"/>
                <a:gd name="connsiteX78" fmla="*/ 430742 w 956848"/>
                <a:gd name="connsiteY78" fmla="*/ 482084 h 969327"/>
                <a:gd name="connsiteX79" fmla="*/ 479723 w 956848"/>
                <a:gd name="connsiteY79" fmla="*/ 433103 h 969327"/>
                <a:gd name="connsiteX80" fmla="*/ 768457 w 956848"/>
                <a:gd name="connsiteY80" fmla="*/ 291312 h 969327"/>
                <a:gd name="connsiteX81" fmla="*/ 814861 w 956848"/>
                <a:gd name="connsiteY81" fmla="*/ 340293 h 969327"/>
                <a:gd name="connsiteX82" fmla="*/ 765880 w 956848"/>
                <a:gd name="connsiteY82" fmla="*/ 389278 h 969327"/>
                <a:gd name="connsiteX83" fmla="*/ 719476 w 956848"/>
                <a:gd name="connsiteY83" fmla="*/ 340293 h 969327"/>
                <a:gd name="connsiteX84" fmla="*/ 768457 w 956848"/>
                <a:gd name="connsiteY84" fmla="*/ 291312 h 969327"/>
                <a:gd name="connsiteX85" fmla="*/ 621514 w 956848"/>
                <a:gd name="connsiteY85" fmla="*/ 288734 h 969327"/>
                <a:gd name="connsiteX86" fmla="*/ 667917 w 956848"/>
                <a:gd name="connsiteY86" fmla="*/ 337715 h 969327"/>
                <a:gd name="connsiteX87" fmla="*/ 618936 w 956848"/>
                <a:gd name="connsiteY87" fmla="*/ 386700 h 969327"/>
                <a:gd name="connsiteX88" fmla="*/ 572533 w 956848"/>
                <a:gd name="connsiteY88" fmla="*/ 337715 h 969327"/>
                <a:gd name="connsiteX89" fmla="*/ 621514 w 956848"/>
                <a:gd name="connsiteY89" fmla="*/ 288734 h 969327"/>
                <a:gd name="connsiteX90" fmla="*/ 479723 w 956848"/>
                <a:gd name="connsiteY90" fmla="*/ 288734 h 969327"/>
                <a:gd name="connsiteX91" fmla="*/ 526126 w 956848"/>
                <a:gd name="connsiteY91" fmla="*/ 337715 h 969327"/>
                <a:gd name="connsiteX92" fmla="*/ 477145 w 956848"/>
                <a:gd name="connsiteY92" fmla="*/ 386700 h 969327"/>
                <a:gd name="connsiteX93" fmla="*/ 430742 w 956848"/>
                <a:gd name="connsiteY93" fmla="*/ 337715 h 969327"/>
                <a:gd name="connsiteX94" fmla="*/ 479723 w 956848"/>
                <a:gd name="connsiteY94" fmla="*/ 288734 h 969327"/>
                <a:gd name="connsiteX95" fmla="*/ 337931 w 956848"/>
                <a:gd name="connsiteY95" fmla="*/ 288734 h 969327"/>
                <a:gd name="connsiteX96" fmla="*/ 384339 w 956848"/>
                <a:gd name="connsiteY96" fmla="*/ 337715 h 969327"/>
                <a:gd name="connsiteX97" fmla="*/ 335354 w 956848"/>
                <a:gd name="connsiteY97" fmla="*/ 386700 h 969327"/>
                <a:gd name="connsiteX98" fmla="*/ 288950 w 956848"/>
                <a:gd name="connsiteY98" fmla="*/ 337715 h 969327"/>
                <a:gd name="connsiteX99" fmla="*/ 337931 w 956848"/>
                <a:gd name="connsiteY99" fmla="*/ 288734 h 969327"/>
                <a:gd name="connsiteX100" fmla="*/ 621510 w 956848"/>
                <a:gd name="connsiteY100" fmla="*/ 146943 h 969327"/>
                <a:gd name="connsiteX101" fmla="*/ 667918 w 956848"/>
                <a:gd name="connsiteY101" fmla="*/ 195924 h 969327"/>
                <a:gd name="connsiteX102" fmla="*/ 618933 w 956848"/>
                <a:gd name="connsiteY102" fmla="*/ 244909 h 969327"/>
                <a:gd name="connsiteX103" fmla="*/ 572529 w 956848"/>
                <a:gd name="connsiteY103" fmla="*/ 195924 h 969327"/>
                <a:gd name="connsiteX104" fmla="*/ 621510 w 956848"/>
                <a:gd name="connsiteY104" fmla="*/ 146943 h 969327"/>
                <a:gd name="connsiteX105" fmla="*/ 479723 w 956848"/>
                <a:gd name="connsiteY105" fmla="*/ 146943 h 969327"/>
                <a:gd name="connsiteX106" fmla="*/ 526131 w 956848"/>
                <a:gd name="connsiteY106" fmla="*/ 195924 h 969327"/>
                <a:gd name="connsiteX107" fmla="*/ 477146 w 956848"/>
                <a:gd name="connsiteY107" fmla="*/ 244909 h 969327"/>
                <a:gd name="connsiteX108" fmla="*/ 430742 w 956848"/>
                <a:gd name="connsiteY108" fmla="*/ 195924 h 969327"/>
                <a:gd name="connsiteX109" fmla="*/ 479723 w 956848"/>
                <a:gd name="connsiteY109" fmla="*/ 146943 h 969327"/>
                <a:gd name="connsiteX110" fmla="*/ 337931 w 956848"/>
                <a:gd name="connsiteY110" fmla="*/ 146943 h 969327"/>
                <a:gd name="connsiteX111" fmla="*/ 384339 w 956848"/>
                <a:gd name="connsiteY111" fmla="*/ 195924 h 969327"/>
                <a:gd name="connsiteX112" fmla="*/ 335354 w 956848"/>
                <a:gd name="connsiteY112" fmla="*/ 244909 h 969327"/>
                <a:gd name="connsiteX113" fmla="*/ 288950 w 956848"/>
                <a:gd name="connsiteY113" fmla="*/ 195924 h 969327"/>
                <a:gd name="connsiteX114" fmla="*/ 337931 w 956848"/>
                <a:gd name="connsiteY114" fmla="*/ 146943 h 969327"/>
                <a:gd name="connsiteX115" fmla="*/ 193562 w 956848"/>
                <a:gd name="connsiteY115" fmla="*/ 144369 h 969327"/>
                <a:gd name="connsiteX116" fmla="*/ 239970 w 956848"/>
                <a:gd name="connsiteY116" fmla="*/ 193350 h 969327"/>
                <a:gd name="connsiteX117" fmla="*/ 190988 w 956848"/>
                <a:gd name="connsiteY117" fmla="*/ 242331 h 969327"/>
                <a:gd name="connsiteX118" fmla="*/ 144581 w 956848"/>
                <a:gd name="connsiteY118" fmla="*/ 193350 h 969327"/>
                <a:gd name="connsiteX119" fmla="*/ 193562 w 956848"/>
                <a:gd name="connsiteY119" fmla="*/ 144369 h 969327"/>
                <a:gd name="connsiteX120" fmla="*/ 479723 w 956848"/>
                <a:gd name="connsiteY120" fmla="*/ 0 h 969327"/>
                <a:gd name="connsiteX121" fmla="*/ 526131 w 956848"/>
                <a:gd name="connsiteY121" fmla="*/ 48981 h 969327"/>
                <a:gd name="connsiteX122" fmla="*/ 477146 w 956848"/>
                <a:gd name="connsiteY122" fmla="*/ 97962 h 969327"/>
                <a:gd name="connsiteX123" fmla="*/ 430742 w 956848"/>
                <a:gd name="connsiteY123" fmla="*/ 48981 h 969327"/>
                <a:gd name="connsiteX124" fmla="*/ 479723 w 956848"/>
                <a:gd name="connsiteY124" fmla="*/ 0 h 969327"/>
                <a:gd name="connsiteX125" fmla="*/ 337932 w 956848"/>
                <a:gd name="connsiteY125" fmla="*/ 0 h 969327"/>
                <a:gd name="connsiteX126" fmla="*/ 384335 w 956848"/>
                <a:gd name="connsiteY126" fmla="*/ 48981 h 969327"/>
                <a:gd name="connsiteX127" fmla="*/ 335354 w 956848"/>
                <a:gd name="connsiteY127" fmla="*/ 97962 h 969327"/>
                <a:gd name="connsiteX128" fmla="*/ 288951 w 956848"/>
                <a:gd name="connsiteY128" fmla="*/ 48981 h 969327"/>
                <a:gd name="connsiteX129" fmla="*/ 337932 w 956848"/>
                <a:gd name="connsiteY129" fmla="*/ 0 h 969327"/>
                <a:gd name="connsiteX130" fmla="*/ 193562 w 956848"/>
                <a:gd name="connsiteY130" fmla="*/ 0 h 969327"/>
                <a:gd name="connsiteX131" fmla="*/ 239970 w 956848"/>
                <a:gd name="connsiteY131" fmla="*/ 48981 h 969327"/>
                <a:gd name="connsiteX132" fmla="*/ 190988 w 956848"/>
                <a:gd name="connsiteY132" fmla="*/ 97962 h 969327"/>
                <a:gd name="connsiteX133" fmla="*/ 144581 w 956848"/>
                <a:gd name="connsiteY133" fmla="*/ 48981 h 969327"/>
                <a:gd name="connsiteX134" fmla="*/ 193562 w 956848"/>
                <a:gd name="connsiteY134" fmla="*/ 0 h 969327"/>
                <a:gd name="connsiteX135" fmla="*/ 51771 w 956848"/>
                <a:gd name="connsiteY135" fmla="*/ 0 h 969327"/>
                <a:gd name="connsiteX136" fmla="*/ 98179 w 956848"/>
                <a:gd name="connsiteY136" fmla="*/ 48981 h 969327"/>
                <a:gd name="connsiteX137" fmla="*/ 49197 w 956848"/>
                <a:gd name="connsiteY137" fmla="*/ 97962 h 969327"/>
                <a:gd name="connsiteX138" fmla="*/ 2790 w 956848"/>
                <a:gd name="connsiteY138" fmla="*/ 48981 h 969327"/>
                <a:gd name="connsiteX139" fmla="*/ 51771 w 956848"/>
                <a:gd name="connsiteY139" fmla="*/ 0 h 969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956848" h="969327">
                  <a:moveTo>
                    <a:pt x="335354" y="871365"/>
                  </a:moveTo>
                  <a:cubicBezTo>
                    <a:pt x="361135" y="871365"/>
                    <a:pt x="384338" y="891987"/>
                    <a:pt x="381761" y="920346"/>
                  </a:cubicBezTo>
                  <a:cubicBezTo>
                    <a:pt x="381761" y="946127"/>
                    <a:pt x="361135" y="969327"/>
                    <a:pt x="332780" y="969327"/>
                  </a:cubicBezTo>
                  <a:cubicBezTo>
                    <a:pt x="306999" y="969327"/>
                    <a:pt x="286373" y="948705"/>
                    <a:pt x="286373" y="920346"/>
                  </a:cubicBezTo>
                  <a:cubicBezTo>
                    <a:pt x="288951" y="891987"/>
                    <a:pt x="309576" y="868788"/>
                    <a:pt x="335354" y="871365"/>
                  </a:cubicBezTo>
                  <a:close/>
                  <a:moveTo>
                    <a:pt x="477141" y="871365"/>
                  </a:moveTo>
                  <a:cubicBezTo>
                    <a:pt x="502923" y="871365"/>
                    <a:pt x="526126" y="891987"/>
                    <a:pt x="523549" y="920346"/>
                  </a:cubicBezTo>
                  <a:cubicBezTo>
                    <a:pt x="523549" y="946127"/>
                    <a:pt x="502923" y="969327"/>
                    <a:pt x="474567" y="969327"/>
                  </a:cubicBezTo>
                  <a:cubicBezTo>
                    <a:pt x="448786" y="969327"/>
                    <a:pt x="425583" y="948705"/>
                    <a:pt x="428160" y="920346"/>
                  </a:cubicBezTo>
                  <a:cubicBezTo>
                    <a:pt x="430738" y="891987"/>
                    <a:pt x="451364" y="871365"/>
                    <a:pt x="477141" y="871365"/>
                  </a:cubicBezTo>
                  <a:close/>
                  <a:moveTo>
                    <a:pt x="190985" y="868784"/>
                  </a:moveTo>
                  <a:cubicBezTo>
                    <a:pt x="216766" y="868784"/>
                    <a:pt x="239965" y="889406"/>
                    <a:pt x="237388" y="917765"/>
                  </a:cubicBezTo>
                  <a:cubicBezTo>
                    <a:pt x="237388" y="943546"/>
                    <a:pt x="216766" y="966746"/>
                    <a:pt x="188407" y="966746"/>
                  </a:cubicBezTo>
                  <a:cubicBezTo>
                    <a:pt x="160048" y="966746"/>
                    <a:pt x="139426" y="946124"/>
                    <a:pt x="142004" y="917765"/>
                  </a:cubicBezTo>
                  <a:cubicBezTo>
                    <a:pt x="144582" y="889406"/>
                    <a:pt x="165204" y="868784"/>
                    <a:pt x="190985" y="868784"/>
                  </a:cubicBezTo>
                  <a:close/>
                  <a:moveTo>
                    <a:pt x="49198" y="868784"/>
                  </a:moveTo>
                  <a:cubicBezTo>
                    <a:pt x="74979" y="868784"/>
                    <a:pt x="98178" y="889406"/>
                    <a:pt x="95601" y="917765"/>
                  </a:cubicBezTo>
                  <a:cubicBezTo>
                    <a:pt x="93023" y="946124"/>
                    <a:pt x="74979" y="966746"/>
                    <a:pt x="46620" y="966746"/>
                  </a:cubicBezTo>
                  <a:cubicBezTo>
                    <a:pt x="18261" y="966746"/>
                    <a:pt x="-2361" y="946124"/>
                    <a:pt x="217" y="917765"/>
                  </a:cubicBezTo>
                  <a:cubicBezTo>
                    <a:pt x="217" y="889406"/>
                    <a:pt x="23417" y="868784"/>
                    <a:pt x="49198" y="868784"/>
                  </a:cubicBezTo>
                  <a:close/>
                  <a:moveTo>
                    <a:pt x="618932" y="721841"/>
                  </a:moveTo>
                  <a:cubicBezTo>
                    <a:pt x="644714" y="721841"/>
                    <a:pt x="667917" y="742463"/>
                    <a:pt x="665340" y="770822"/>
                  </a:cubicBezTo>
                  <a:cubicBezTo>
                    <a:pt x="665340" y="796603"/>
                    <a:pt x="644714" y="819807"/>
                    <a:pt x="616358" y="819807"/>
                  </a:cubicBezTo>
                  <a:cubicBezTo>
                    <a:pt x="590577" y="819807"/>
                    <a:pt x="567374" y="799181"/>
                    <a:pt x="569951" y="770822"/>
                  </a:cubicBezTo>
                  <a:cubicBezTo>
                    <a:pt x="572529" y="742463"/>
                    <a:pt x="593155" y="721841"/>
                    <a:pt x="618932" y="721841"/>
                  </a:cubicBezTo>
                  <a:close/>
                  <a:moveTo>
                    <a:pt x="477141" y="721841"/>
                  </a:moveTo>
                  <a:cubicBezTo>
                    <a:pt x="502922" y="721841"/>
                    <a:pt x="526125" y="742463"/>
                    <a:pt x="523548" y="770822"/>
                  </a:cubicBezTo>
                  <a:cubicBezTo>
                    <a:pt x="523548" y="796603"/>
                    <a:pt x="502922" y="819807"/>
                    <a:pt x="474567" y="819807"/>
                  </a:cubicBezTo>
                  <a:cubicBezTo>
                    <a:pt x="448786" y="819807"/>
                    <a:pt x="428160" y="799181"/>
                    <a:pt x="428160" y="770822"/>
                  </a:cubicBezTo>
                  <a:cubicBezTo>
                    <a:pt x="430738" y="742463"/>
                    <a:pt x="451363" y="721841"/>
                    <a:pt x="477141" y="721841"/>
                  </a:cubicBezTo>
                  <a:close/>
                  <a:moveTo>
                    <a:pt x="335354" y="721841"/>
                  </a:moveTo>
                  <a:cubicBezTo>
                    <a:pt x="361135" y="721841"/>
                    <a:pt x="384338" y="742463"/>
                    <a:pt x="381757" y="770822"/>
                  </a:cubicBezTo>
                  <a:cubicBezTo>
                    <a:pt x="381757" y="796603"/>
                    <a:pt x="361135" y="819807"/>
                    <a:pt x="332776" y="819807"/>
                  </a:cubicBezTo>
                  <a:cubicBezTo>
                    <a:pt x="304417" y="819807"/>
                    <a:pt x="283795" y="799181"/>
                    <a:pt x="286373" y="770822"/>
                  </a:cubicBezTo>
                  <a:cubicBezTo>
                    <a:pt x="288951" y="742463"/>
                    <a:pt x="309573" y="721841"/>
                    <a:pt x="335354" y="721841"/>
                  </a:cubicBezTo>
                  <a:close/>
                  <a:moveTo>
                    <a:pt x="190985" y="721840"/>
                  </a:moveTo>
                  <a:cubicBezTo>
                    <a:pt x="216766" y="721840"/>
                    <a:pt x="239965" y="742462"/>
                    <a:pt x="237388" y="770821"/>
                  </a:cubicBezTo>
                  <a:cubicBezTo>
                    <a:pt x="237388" y="796602"/>
                    <a:pt x="216766" y="819806"/>
                    <a:pt x="188407" y="819806"/>
                  </a:cubicBezTo>
                  <a:cubicBezTo>
                    <a:pt x="160048" y="819806"/>
                    <a:pt x="139426" y="799180"/>
                    <a:pt x="142004" y="770821"/>
                  </a:cubicBezTo>
                  <a:cubicBezTo>
                    <a:pt x="144582" y="742462"/>
                    <a:pt x="165204" y="719263"/>
                    <a:pt x="190985" y="721840"/>
                  </a:cubicBezTo>
                  <a:close/>
                  <a:moveTo>
                    <a:pt x="768457" y="580050"/>
                  </a:moveTo>
                  <a:cubicBezTo>
                    <a:pt x="794239" y="580050"/>
                    <a:pt x="817442" y="600672"/>
                    <a:pt x="814861" y="629031"/>
                  </a:cubicBezTo>
                  <a:cubicBezTo>
                    <a:pt x="814861" y="654812"/>
                    <a:pt x="794239" y="678012"/>
                    <a:pt x="765880" y="678012"/>
                  </a:cubicBezTo>
                  <a:cubicBezTo>
                    <a:pt x="740102" y="678012"/>
                    <a:pt x="716899" y="657390"/>
                    <a:pt x="719476" y="629031"/>
                  </a:cubicBezTo>
                  <a:cubicBezTo>
                    <a:pt x="719476" y="600672"/>
                    <a:pt x="742676" y="580050"/>
                    <a:pt x="768457" y="580050"/>
                  </a:cubicBezTo>
                  <a:close/>
                  <a:moveTo>
                    <a:pt x="621510" y="577472"/>
                  </a:moveTo>
                  <a:cubicBezTo>
                    <a:pt x="647292" y="577472"/>
                    <a:pt x="670495" y="598094"/>
                    <a:pt x="667918" y="626453"/>
                  </a:cubicBezTo>
                  <a:cubicBezTo>
                    <a:pt x="667918" y="652234"/>
                    <a:pt x="647292" y="675434"/>
                    <a:pt x="618933" y="675434"/>
                  </a:cubicBezTo>
                  <a:cubicBezTo>
                    <a:pt x="593155" y="675434"/>
                    <a:pt x="569952" y="654812"/>
                    <a:pt x="572529" y="626453"/>
                  </a:cubicBezTo>
                  <a:cubicBezTo>
                    <a:pt x="572529" y="600676"/>
                    <a:pt x="593155" y="577472"/>
                    <a:pt x="621510" y="577472"/>
                  </a:cubicBezTo>
                  <a:close/>
                  <a:moveTo>
                    <a:pt x="479723" y="577472"/>
                  </a:moveTo>
                  <a:cubicBezTo>
                    <a:pt x="505505" y="577472"/>
                    <a:pt x="528708" y="598094"/>
                    <a:pt x="526131" y="626453"/>
                  </a:cubicBezTo>
                  <a:cubicBezTo>
                    <a:pt x="526131" y="652234"/>
                    <a:pt x="505505" y="675434"/>
                    <a:pt x="477146" y="675434"/>
                  </a:cubicBezTo>
                  <a:cubicBezTo>
                    <a:pt x="451368" y="675434"/>
                    <a:pt x="428165" y="654812"/>
                    <a:pt x="430742" y="626453"/>
                  </a:cubicBezTo>
                  <a:cubicBezTo>
                    <a:pt x="430742" y="600676"/>
                    <a:pt x="451368" y="577472"/>
                    <a:pt x="479723" y="577472"/>
                  </a:cubicBezTo>
                  <a:close/>
                  <a:moveTo>
                    <a:pt x="335354" y="577472"/>
                  </a:moveTo>
                  <a:cubicBezTo>
                    <a:pt x="361136" y="577472"/>
                    <a:pt x="384339" y="598094"/>
                    <a:pt x="381762" y="626453"/>
                  </a:cubicBezTo>
                  <a:cubicBezTo>
                    <a:pt x="381762" y="652234"/>
                    <a:pt x="361136" y="675434"/>
                    <a:pt x="332780" y="675434"/>
                  </a:cubicBezTo>
                  <a:cubicBezTo>
                    <a:pt x="306999" y="675434"/>
                    <a:pt x="283796" y="654812"/>
                    <a:pt x="286373" y="626453"/>
                  </a:cubicBezTo>
                  <a:cubicBezTo>
                    <a:pt x="288951" y="598094"/>
                    <a:pt x="309577" y="577472"/>
                    <a:pt x="335354" y="577472"/>
                  </a:cubicBezTo>
                  <a:close/>
                  <a:moveTo>
                    <a:pt x="910248" y="433103"/>
                  </a:moveTo>
                  <a:cubicBezTo>
                    <a:pt x="936026" y="433103"/>
                    <a:pt x="959229" y="453729"/>
                    <a:pt x="956652" y="482084"/>
                  </a:cubicBezTo>
                  <a:cubicBezTo>
                    <a:pt x="956652" y="507865"/>
                    <a:pt x="936026" y="531069"/>
                    <a:pt x="907670" y="531069"/>
                  </a:cubicBezTo>
                  <a:cubicBezTo>
                    <a:pt x="879311" y="531069"/>
                    <a:pt x="858685" y="510443"/>
                    <a:pt x="861267" y="482084"/>
                  </a:cubicBezTo>
                  <a:cubicBezTo>
                    <a:pt x="863845" y="453729"/>
                    <a:pt x="884467" y="433103"/>
                    <a:pt x="910248" y="433103"/>
                  </a:cubicBezTo>
                  <a:close/>
                  <a:moveTo>
                    <a:pt x="768457" y="433103"/>
                  </a:moveTo>
                  <a:cubicBezTo>
                    <a:pt x="794239" y="433103"/>
                    <a:pt x="817442" y="453729"/>
                    <a:pt x="814861" y="482084"/>
                  </a:cubicBezTo>
                  <a:cubicBezTo>
                    <a:pt x="812283" y="510443"/>
                    <a:pt x="794239" y="531069"/>
                    <a:pt x="765880" y="531069"/>
                  </a:cubicBezTo>
                  <a:cubicBezTo>
                    <a:pt x="740102" y="531069"/>
                    <a:pt x="716899" y="510443"/>
                    <a:pt x="719476" y="482084"/>
                  </a:cubicBezTo>
                  <a:cubicBezTo>
                    <a:pt x="722054" y="453729"/>
                    <a:pt x="742676" y="433103"/>
                    <a:pt x="768457" y="433103"/>
                  </a:cubicBezTo>
                  <a:close/>
                  <a:moveTo>
                    <a:pt x="621510" y="433103"/>
                  </a:moveTo>
                  <a:cubicBezTo>
                    <a:pt x="647292" y="433103"/>
                    <a:pt x="670495" y="453729"/>
                    <a:pt x="667918" y="482084"/>
                  </a:cubicBezTo>
                  <a:cubicBezTo>
                    <a:pt x="667918" y="507865"/>
                    <a:pt x="647292" y="531069"/>
                    <a:pt x="618933" y="531069"/>
                  </a:cubicBezTo>
                  <a:cubicBezTo>
                    <a:pt x="593155" y="531069"/>
                    <a:pt x="569952" y="510443"/>
                    <a:pt x="572529" y="482084"/>
                  </a:cubicBezTo>
                  <a:cubicBezTo>
                    <a:pt x="572529" y="453729"/>
                    <a:pt x="593155" y="433103"/>
                    <a:pt x="621510" y="433103"/>
                  </a:cubicBezTo>
                  <a:close/>
                  <a:moveTo>
                    <a:pt x="479723" y="433103"/>
                  </a:moveTo>
                  <a:cubicBezTo>
                    <a:pt x="505505" y="433103"/>
                    <a:pt x="528708" y="453729"/>
                    <a:pt x="526131" y="482084"/>
                  </a:cubicBezTo>
                  <a:cubicBezTo>
                    <a:pt x="526131" y="507865"/>
                    <a:pt x="505505" y="531069"/>
                    <a:pt x="477146" y="531069"/>
                  </a:cubicBezTo>
                  <a:cubicBezTo>
                    <a:pt x="451368" y="531069"/>
                    <a:pt x="428165" y="510443"/>
                    <a:pt x="430742" y="482084"/>
                  </a:cubicBezTo>
                  <a:cubicBezTo>
                    <a:pt x="430742" y="453729"/>
                    <a:pt x="451368" y="433103"/>
                    <a:pt x="479723" y="433103"/>
                  </a:cubicBezTo>
                  <a:close/>
                  <a:moveTo>
                    <a:pt x="768457" y="291312"/>
                  </a:moveTo>
                  <a:cubicBezTo>
                    <a:pt x="794239" y="291312"/>
                    <a:pt x="817442" y="311938"/>
                    <a:pt x="814861" y="340293"/>
                  </a:cubicBezTo>
                  <a:cubicBezTo>
                    <a:pt x="814861" y="366074"/>
                    <a:pt x="794239" y="389278"/>
                    <a:pt x="765880" y="389278"/>
                  </a:cubicBezTo>
                  <a:cubicBezTo>
                    <a:pt x="740102" y="389278"/>
                    <a:pt x="716899" y="368652"/>
                    <a:pt x="719476" y="340293"/>
                  </a:cubicBezTo>
                  <a:cubicBezTo>
                    <a:pt x="722054" y="311938"/>
                    <a:pt x="742676" y="288734"/>
                    <a:pt x="768457" y="291312"/>
                  </a:cubicBezTo>
                  <a:close/>
                  <a:moveTo>
                    <a:pt x="621514" y="288734"/>
                  </a:moveTo>
                  <a:cubicBezTo>
                    <a:pt x="647291" y="288734"/>
                    <a:pt x="670494" y="309360"/>
                    <a:pt x="667917" y="337715"/>
                  </a:cubicBezTo>
                  <a:cubicBezTo>
                    <a:pt x="667917" y="363496"/>
                    <a:pt x="647291" y="386700"/>
                    <a:pt x="618936" y="386700"/>
                  </a:cubicBezTo>
                  <a:cubicBezTo>
                    <a:pt x="590577" y="386700"/>
                    <a:pt x="569951" y="366074"/>
                    <a:pt x="572533" y="337715"/>
                  </a:cubicBezTo>
                  <a:cubicBezTo>
                    <a:pt x="572533" y="311937"/>
                    <a:pt x="595733" y="288734"/>
                    <a:pt x="621514" y="288734"/>
                  </a:cubicBezTo>
                  <a:close/>
                  <a:moveTo>
                    <a:pt x="479723" y="288734"/>
                  </a:moveTo>
                  <a:cubicBezTo>
                    <a:pt x="505500" y="288734"/>
                    <a:pt x="528703" y="309360"/>
                    <a:pt x="526126" y="337715"/>
                  </a:cubicBezTo>
                  <a:cubicBezTo>
                    <a:pt x="526126" y="363496"/>
                    <a:pt x="505500" y="386700"/>
                    <a:pt x="477145" y="386700"/>
                  </a:cubicBezTo>
                  <a:cubicBezTo>
                    <a:pt x="448786" y="386700"/>
                    <a:pt x="428160" y="366074"/>
                    <a:pt x="430742" y="337715"/>
                  </a:cubicBezTo>
                  <a:cubicBezTo>
                    <a:pt x="430742" y="309360"/>
                    <a:pt x="453942" y="288734"/>
                    <a:pt x="479723" y="288734"/>
                  </a:cubicBezTo>
                  <a:close/>
                  <a:moveTo>
                    <a:pt x="337931" y="288734"/>
                  </a:moveTo>
                  <a:cubicBezTo>
                    <a:pt x="363713" y="288734"/>
                    <a:pt x="386916" y="309360"/>
                    <a:pt x="384339" y="337715"/>
                  </a:cubicBezTo>
                  <a:cubicBezTo>
                    <a:pt x="384339" y="363496"/>
                    <a:pt x="363713" y="386700"/>
                    <a:pt x="335354" y="386700"/>
                  </a:cubicBezTo>
                  <a:cubicBezTo>
                    <a:pt x="309576" y="386700"/>
                    <a:pt x="286373" y="366074"/>
                    <a:pt x="288950" y="337715"/>
                  </a:cubicBezTo>
                  <a:cubicBezTo>
                    <a:pt x="288950" y="309360"/>
                    <a:pt x="312150" y="288734"/>
                    <a:pt x="337931" y="288734"/>
                  </a:cubicBezTo>
                  <a:close/>
                  <a:moveTo>
                    <a:pt x="621510" y="146943"/>
                  </a:moveTo>
                  <a:cubicBezTo>
                    <a:pt x="647292" y="146943"/>
                    <a:pt x="670495" y="167569"/>
                    <a:pt x="667918" y="195924"/>
                  </a:cubicBezTo>
                  <a:cubicBezTo>
                    <a:pt x="667918" y="221705"/>
                    <a:pt x="647292" y="244909"/>
                    <a:pt x="618933" y="244909"/>
                  </a:cubicBezTo>
                  <a:cubicBezTo>
                    <a:pt x="593155" y="244909"/>
                    <a:pt x="569952" y="224283"/>
                    <a:pt x="572529" y="195924"/>
                  </a:cubicBezTo>
                  <a:cubicBezTo>
                    <a:pt x="575107" y="167569"/>
                    <a:pt x="595729" y="146943"/>
                    <a:pt x="621510" y="146943"/>
                  </a:cubicBezTo>
                  <a:close/>
                  <a:moveTo>
                    <a:pt x="479723" y="146943"/>
                  </a:moveTo>
                  <a:cubicBezTo>
                    <a:pt x="505505" y="146943"/>
                    <a:pt x="528708" y="167569"/>
                    <a:pt x="526131" y="195924"/>
                  </a:cubicBezTo>
                  <a:cubicBezTo>
                    <a:pt x="526131" y="221705"/>
                    <a:pt x="505505" y="244909"/>
                    <a:pt x="477146" y="244909"/>
                  </a:cubicBezTo>
                  <a:cubicBezTo>
                    <a:pt x="451368" y="244909"/>
                    <a:pt x="428165" y="224283"/>
                    <a:pt x="430742" y="195924"/>
                  </a:cubicBezTo>
                  <a:cubicBezTo>
                    <a:pt x="430742" y="167569"/>
                    <a:pt x="453942" y="146943"/>
                    <a:pt x="479723" y="146943"/>
                  </a:cubicBezTo>
                  <a:close/>
                  <a:moveTo>
                    <a:pt x="337931" y="146943"/>
                  </a:moveTo>
                  <a:cubicBezTo>
                    <a:pt x="363713" y="146943"/>
                    <a:pt x="386916" y="167569"/>
                    <a:pt x="384339" y="195924"/>
                  </a:cubicBezTo>
                  <a:cubicBezTo>
                    <a:pt x="384339" y="221705"/>
                    <a:pt x="363713" y="244909"/>
                    <a:pt x="335354" y="244909"/>
                  </a:cubicBezTo>
                  <a:cubicBezTo>
                    <a:pt x="309576" y="244909"/>
                    <a:pt x="286373" y="224283"/>
                    <a:pt x="288950" y="195924"/>
                  </a:cubicBezTo>
                  <a:cubicBezTo>
                    <a:pt x="288950" y="167569"/>
                    <a:pt x="312150" y="146943"/>
                    <a:pt x="337931" y="146943"/>
                  </a:cubicBezTo>
                  <a:close/>
                  <a:moveTo>
                    <a:pt x="193562" y="144369"/>
                  </a:moveTo>
                  <a:cubicBezTo>
                    <a:pt x="219344" y="144369"/>
                    <a:pt x="242547" y="164991"/>
                    <a:pt x="239970" y="193350"/>
                  </a:cubicBezTo>
                  <a:cubicBezTo>
                    <a:pt x="239970" y="219131"/>
                    <a:pt x="219344" y="242331"/>
                    <a:pt x="190988" y="242331"/>
                  </a:cubicBezTo>
                  <a:cubicBezTo>
                    <a:pt x="165207" y="242331"/>
                    <a:pt x="142004" y="221709"/>
                    <a:pt x="144581" y="193350"/>
                  </a:cubicBezTo>
                  <a:cubicBezTo>
                    <a:pt x="144581" y="167572"/>
                    <a:pt x="167785" y="144369"/>
                    <a:pt x="193562" y="144369"/>
                  </a:cubicBezTo>
                  <a:close/>
                  <a:moveTo>
                    <a:pt x="479723" y="0"/>
                  </a:moveTo>
                  <a:cubicBezTo>
                    <a:pt x="505505" y="0"/>
                    <a:pt x="528708" y="20622"/>
                    <a:pt x="526131" y="48981"/>
                  </a:cubicBezTo>
                  <a:cubicBezTo>
                    <a:pt x="523549" y="77340"/>
                    <a:pt x="505505" y="97962"/>
                    <a:pt x="477146" y="97962"/>
                  </a:cubicBezTo>
                  <a:cubicBezTo>
                    <a:pt x="451368" y="97962"/>
                    <a:pt x="428165" y="77340"/>
                    <a:pt x="430742" y="48981"/>
                  </a:cubicBezTo>
                  <a:cubicBezTo>
                    <a:pt x="433320" y="20622"/>
                    <a:pt x="453942" y="0"/>
                    <a:pt x="479723" y="0"/>
                  </a:cubicBezTo>
                  <a:close/>
                  <a:moveTo>
                    <a:pt x="337932" y="0"/>
                  </a:moveTo>
                  <a:cubicBezTo>
                    <a:pt x="363709" y="0"/>
                    <a:pt x="386912" y="20622"/>
                    <a:pt x="384335" y="48981"/>
                  </a:cubicBezTo>
                  <a:cubicBezTo>
                    <a:pt x="384335" y="74762"/>
                    <a:pt x="363709" y="97962"/>
                    <a:pt x="335354" y="97962"/>
                  </a:cubicBezTo>
                  <a:cubicBezTo>
                    <a:pt x="306995" y="97962"/>
                    <a:pt x="286369" y="77340"/>
                    <a:pt x="288951" y="48981"/>
                  </a:cubicBezTo>
                  <a:cubicBezTo>
                    <a:pt x="291529" y="20622"/>
                    <a:pt x="312151" y="0"/>
                    <a:pt x="337932" y="0"/>
                  </a:cubicBezTo>
                  <a:close/>
                  <a:moveTo>
                    <a:pt x="193562" y="0"/>
                  </a:moveTo>
                  <a:cubicBezTo>
                    <a:pt x="219344" y="0"/>
                    <a:pt x="242547" y="20622"/>
                    <a:pt x="239970" y="48981"/>
                  </a:cubicBezTo>
                  <a:cubicBezTo>
                    <a:pt x="239970" y="74762"/>
                    <a:pt x="219344" y="97962"/>
                    <a:pt x="190988" y="97962"/>
                  </a:cubicBezTo>
                  <a:cubicBezTo>
                    <a:pt x="165207" y="97962"/>
                    <a:pt x="142004" y="77340"/>
                    <a:pt x="144581" y="48981"/>
                  </a:cubicBezTo>
                  <a:cubicBezTo>
                    <a:pt x="147159" y="20622"/>
                    <a:pt x="167785" y="0"/>
                    <a:pt x="193562" y="0"/>
                  </a:cubicBezTo>
                  <a:close/>
                  <a:moveTo>
                    <a:pt x="51771" y="0"/>
                  </a:moveTo>
                  <a:cubicBezTo>
                    <a:pt x="77553" y="0"/>
                    <a:pt x="100756" y="20622"/>
                    <a:pt x="98179" y="48981"/>
                  </a:cubicBezTo>
                  <a:cubicBezTo>
                    <a:pt x="98179" y="74762"/>
                    <a:pt x="77553" y="97962"/>
                    <a:pt x="49197" y="97962"/>
                  </a:cubicBezTo>
                  <a:cubicBezTo>
                    <a:pt x="23416" y="97962"/>
                    <a:pt x="213" y="77340"/>
                    <a:pt x="2790" y="48981"/>
                  </a:cubicBezTo>
                  <a:cubicBezTo>
                    <a:pt x="2790" y="20622"/>
                    <a:pt x="25994" y="0"/>
                    <a:pt x="51771" y="0"/>
                  </a:cubicBezTo>
                  <a:close/>
                </a:path>
              </a:pathLst>
            </a:custGeom>
            <a:solidFill>
              <a:schemeClr val="bg2">
                <a:alpha val="40000"/>
              </a:schemeClr>
            </a:solidFill>
            <a:ln w="6825" cap="flat">
              <a:noFill/>
              <a:prstDash val="solid"/>
              <a:miter/>
            </a:ln>
          </p:spPr>
          <p:txBody>
            <a:bodyPr rtlCol="0" anchor="ctr"/>
            <a:lstStyle/>
            <a:p>
              <a:endParaRPr lang="en-US"/>
            </a:p>
          </p:txBody>
        </p:sp>
        <p:sp>
          <p:nvSpPr>
            <p:cNvPr id="125" name="Freeform: Shape 124">
              <a:extLst>
                <a:ext uri="{FF2B5EF4-FFF2-40B4-BE49-F238E27FC236}">
                  <a16:creationId xmlns:a16="http://schemas.microsoft.com/office/drawing/2014/main" id="{6240EEDC-A2EA-4B20-9E23-B8F2D3C21500}"/>
                </a:ext>
              </a:extLst>
            </p:cNvPr>
            <p:cNvSpPr/>
            <p:nvPr/>
          </p:nvSpPr>
          <p:spPr>
            <a:xfrm>
              <a:off x="10868663" y="4826453"/>
              <a:ext cx="726507" cy="736147"/>
            </a:xfrm>
            <a:custGeom>
              <a:avLst/>
              <a:gdLst>
                <a:gd name="connsiteX0" fmla="*/ 335142 w 956635"/>
                <a:gd name="connsiteY0" fmla="*/ 871365 h 969327"/>
                <a:gd name="connsiteX1" fmla="*/ 381545 w 956635"/>
                <a:gd name="connsiteY1" fmla="*/ 920346 h 969327"/>
                <a:gd name="connsiteX2" fmla="*/ 332564 w 956635"/>
                <a:gd name="connsiteY2" fmla="*/ 969327 h 969327"/>
                <a:gd name="connsiteX3" fmla="*/ 286161 w 956635"/>
                <a:gd name="connsiteY3" fmla="*/ 920346 h 969327"/>
                <a:gd name="connsiteX4" fmla="*/ 335142 w 956635"/>
                <a:gd name="connsiteY4" fmla="*/ 871365 h 969327"/>
                <a:gd name="connsiteX5" fmla="*/ 476929 w 956635"/>
                <a:gd name="connsiteY5" fmla="*/ 871365 h 969327"/>
                <a:gd name="connsiteX6" fmla="*/ 523337 w 956635"/>
                <a:gd name="connsiteY6" fmla="*/ 920346 h 969327"/>
                <a:gd name="connsiteX7" fmla="*/ 474355 w 956635"/>
                <a:gd name="connsiteY7" fmla="*/ 969327 h 969327"/>
                <a:gd name="connsiteX8" fmla="*/ 427948 w 956635"/>
                <a:gd name="connsiteY8" fmla="*/ 920346 h 969327"/>
                <a:gd name="connsiteX9" fmla="*/ 476929 w 956635"/>
                <a:gd name="connsiteY9" fmla="*/ 871365 h 969327"/>
                <a:gd name="connsiteX10" fmla="*/ 190772 w 956635"/>
                <a:gd name="connsiteY10" fmla="*/ 868784 h 969327"/>
                <a:gd name="connsiteX11" fmla="*/ 237180 w 956635"/>
                <a:gd name="connsiteY11" fmla="*/ 917765 h 969327"/>
                <a:gd name="connsiteX12" fmla="*/ 188195 w 956635"/>
                <a:gd name="connsiteY12" fmla="*/ 966746 h 969327"/>
                <a:gd name="connsiteX13" fmla="*/ 141791 w 956635"/>
                <a:gd name="connsiteY13" fmla="*/ 917765 h 969327"/>
                <a:gd name="connsiteX14" fmla="*/ 190772 w 956635"/>
                <a:gd name="connsiteY14" fmla="*/ 868784 h 969327"/>
                <a:gd name="connsiteX15" fmla="*/ 48981 w 956635"/>
                <a:gd name="connsiteY15" fmla="*/ 868784 h 969327"/>
                <a:gd name="connsiteX16" fmla="*/ 95388 w 956635"/>
                <a:gd name="connsiteY16" fmla="*/ 917765 h 969327"/>
                <a:gd name="connsiteX17" fmla="*/ 46403 w 956635"/>
                <a:gd name="connsiteY17" fmla="*/ 966746 h 969327"/>
                <a:gd name="connsiteX18" fmla="*/ 0 w 956635"/>
                <a:gd name="connsiteY18" fmla="*/ 917765 h 969327"/>
                <a:gd name="connsiteX19" fmla="*/ 48981 w 956635"/>
                <a:gd name="connsiteY19" fmla="*/ 868784 h 969327"/>
                <a:gd name="connsiteX20" fmla="*/ 618720 w 956635"/>
                <a:gd name="connsiteY20" fmla="*/ 721841 h 969327"/>
                <a:gd name="connsiteX21" fmla="*/ 665128 w 956635"/>
                <a:gd name="connsiteY21" fmla="*/ 770822 h 969327"/>
                <a:gd name="connsiteX22" fmla="*/ 616146 w 956635"/>
                <a:gd name="connsiteY22" fmla="*/ 819807 h 969327"/>
                <a:gd name="connsiteX23" fmla="*/ 569739 w 956635"/>
                <a:gd name="connsiteY23" fmla="*/ 770822 h 969327"/>
                <a:gd name="connsiteX24" fmla="*/ 618720 w 956635"/>
                <a:gd name="connsiteY24" fmla="*/ 721841 h 969327"/>
                <a:gd name="connsiteX25" fmla="*/ 476929 w 956635"/>
                <a:gd name="connsiteY25" fmla="*/ 721841 h 969327"/>
                <a:gd name="connsiteX26" fmla="*/ 523337 w 956635"/>
                <a:gd name="connsiteY26" fmla="*/ 770822 h 969327"/>
                <a:gd name="connsiteX27" fmla="*/ 474355 w 956635"/>
                <a:gd name="connsiteY27" fmla="*/ 819807 h 969327"/>
                <a:gd name="connsiteX28" fmla="*/ 427948 w 956635"/>
                <a:gd name="connsiteY28" fmla="*/ 770822 h 969327"/>
                <a:gd name="connsiteX29" fmla="*/ 476929 w 956635"/>
                <a:gd name="connsiteY29" fmla="*/ 721841 h 969327"/>
                <a:gd name="connsiteX30" fmla="*/ 335142 w 956635"/>
                <a:gd name="connsiteY30" fmla="*/ 721841 h 969327"/>
                <a:gd name="connsiteX31" fmla="*/ 381545 w 956635"/>
                <a:gd name="connsiteY31" fmla="*/ 770822 h 969327"/>
                <a:gd name="connsiteX32" fmla="*/ 332564 w 956635"/>
                <a:gd name="connsiteY32" fmla="*/ 819807 h 969327"/>
                <a:gd name="connsiteX33" fmla="*/ 286161 w 956635"/>
                <a:gd name="connsiteY33" fmla="*/ 770822 h 969327"/>
                <a:gd name="connsiteX34" fmla="*/ 335142 w 956635"/>
                <a:gd name="connsiteY34" fmla="*/ 721841 h 969327"/>
                <a:gd name="connsiteX35" fmla="*/ 190773 w 956635"/>
                <a:gd name="connsiteY35" fmla="*/ 721840 h 969327"/>
                <a:gd name="connsiteX36" fmla="*/ 237180 w 956635"/>
                <a:gd name="connsiteY36" fmla="*/ 770821 h 969327"/>
                <a:gd name="connsiteX37" fmla="*/ 188195 w 956635"/>
                <a:gd name="connsiteY37" fmla="*/ 819806 h 969327"/>
                <a:gd name="connsiteX38" fmla="*/ 141792 w 956635"/>
                <a:gd name="connsiteY38" fmla="*/ 770821 h 969327"/>
                <a:gd name="connsiteX39" fmla="*/ 190773 w 956635"/>
                <a:gd name="connsiteY39" fmla="*/ 721840 h 969327"/>
                <a:gd name="connsiteX40" fmla="*/ 768248 w 956635"/>
                <a:gd name="connsiteY40" fmla="*/ 580050 h 969327"/>
                <a:gd name="connsiteX41" fmla="*/ 814652 w 956635"/>
                <a:gd name="connsiteY41" fmla="*/ 629031 h 969327"/>
                <a:gd name="connsiteX42" fmla="*/ 765670 w 956635"/>
                <a:gd name="connsiteY42" fmla="*/ 678012 h 969327"/>
                <a:gd name="connsiteX43" fmla="*/ 719267 w 956635"/>
                <a:gd name="connsiteY43" fmla="*/ 629031 h 969327"/>
                <a:gd name="connsiteX44" fmla="*/ 768248 w 956635"/>
                <a:gd name="connsiteY44" fmla="*/ 580050 h 969327"/>
                <a:gd name="connsiteX45" fmla="*/ 618720 w 956635"/>
                <a:gd name="connsiteY45" fmla="*/ 577472 h 969327"/>
                <a:gd name="connsiteX46" fmla="*/ 665128 w 956635"/>
                <a:gd name="connsiteY46" fmla="*/ 626453 h 969327"/>
                <a:gd name="connsiteX47" fmla="*/ 616146 w 956635"/>
                <a:gd name="connsiteY47" fmla="*/ 675434 h 969327"/>
                <a:gd name="connsiteX48" fmla="*/ 569739 w 956635"/>
                <a:gd name="connsiteY48" fmla="*/ 626453 h 969327"/>
                <a:gd name="connsiteX49" fmla="*/ 618720 w 956635"/>
                <a:gd name="connsiteY49" fmla="*/ 577472 h 969327"/>
                <a:gd name="connsiteX50" fmla="*/ 476929 w 956635"/>
                <a:gd name="connsiteY50" fmla="*/ 577472 h 969327"/>
                <a:gd name="connsiteX51" fmla="*/ 523337 w 956635"/>
                <a:gd name="connsiteY51" fmla="*/ 626453 h 969327"/>
                <a:gd name="connsiteX52" fmla="*/ 474355 w 956635"/>
                <a:gd name="connsiteY52" fmla="*/ 675434 h 969327"/>
                <a:gd name="connsiteX53" fmla="*/ 427948 w 956635"/>
                <a:gd name="connsiteY53" fmla="*/ 626453 h 969327"/>
                <a:gd name="connsiteX54" fmla="*/ 476929 w 956635"/>
                <a:gd name="connsiteY54" fmla="*/ 577472 h 969327"/>
                <a:gd name="connsiteX55" fmla="*/ 335141 w 956635"/>
                <a:gd name="connsiteY55" fmla="*/ 577472 h 969327"/>
                <a:gd name="connsiteX56" fmla="*/ 381549 w 956635"/>
                <a:gd name="connsiteY56" fmla="*/ 626453 h 969327"/>
                <a:gd name="connsiteX57" fmla="*/ 332567 w 956635"/>
                <a:gd name="connsiteY57" fmla="*/ 675434 h 969327"/>
                <a:gd name="connsiteX58" fmla="*/ 286160 w 956635"/>
                <a:gd name="connsiteY58" fmla="*/ 626453 h 969327"/>
                <a:gd name="connsiteX59" fmla="*/ 335141 w 956635"/>
                <a:gd name="connsiteY59" fmla="*/ 577472 h 969327"/>
                <a:gd name="connsiteX60" fmla="*/ 910035 w 956635"/>
                <a:gd name="connsiteY60" fmla="*/ 433103 h 969327"/>
                <a:gd name="connsiteX61" fmla="*/ 956439 w 956635"/>
                <a:gd name="connsiteY61" fmla="*/ 482084 h 969327"/>
                <a:gd name="connsiteX62" fmla="*/ 907458 w 956635"/>
                <a:gd name="connsiteY62" fmla="*/ 531069 h 969327"/>
                <a:gd name="connsiteX63" fmla="*/ 861054 w 956635"/>
                <a:gd name="connsiteY63" fmla="*/ 482084 h 969327"/>
                <a:gd name="connsiteX64" fmla="*/ 910035 w 956635"/>
                <a:gd name="connsiteY64" fmla="*/ 433103 h 969327"/>
                <a:gd name="connsiteX65" fmla="*/ 768244 w 956635"/>
                <a:gd name="connsiteY65" fmla="*/ 433103 h 969327"/>
                <a:gd name="connsiteX66" fmla="*/ 814648 w 956635"/>
                <a:gd name="connsiteY66" fmla="*/ 482084 h 969327"/>
                <a:gd name="connsiteX67" fmla="*/ 765667 w 956635"/>
                <a:gd name="connsiteY67" fmla="*/ 531069 h 969327"/>
                <a:gd name="connsiteX68" fmla="*/ 719263 w 956635"/>
                <a:gd name="connsiteY68" fmla="*/ 482084 h 969327"/>
                <a:gd name="connsiteX69" fmla="*/ 768244 w 956635"/>
                <a:gd name="connsiteY69" fmla="*/ 433103 h 969327"/>
                <a:gd name="connsiteX70" fmla="*/ 618724 w 956635"/>
                <a:gd name="connsiteY70" fmla="*/ 433103 h 969327"/>
                <a:gd name="connsiteX71" fmla="*/ 665127 w 956635"/>
                <a:gd name="connsiteY71" fmla="*/ 482084 h 969327"/>
                <a:gd name="connsiteX72" fmla="*/ 616146 w 956635"/>
                <a:gd name="connsiteY72" fmla="*/ 531069 h 969327"/>
                <a:gd name="connsiteX73" fmla="*/ 569743 w 956635"/>
                <a:gd name="connsiteY73" fmla="*/ 482084 h 969327"/>
                <a:gd name="connsiteX74" fmla="*/ 618724 w 956635"/>
                <a:gd name="connsiteY74" fmla="*/ 433103 h 969327"/>
                <a:gd name="connsiteX75" fmla="*/ 476929 w 956635"/>
                <a:gd name="connsiteY75" fmla="*/ 433103 h 969327"/>
                <a:gd name="connsiteX76" fmla="*/ 523337 w 956635"/>
                <a:gd name="connsiteY76" fmla="*/ 482084 h 969327"/>
                <a:gd name="connsiteX77" fmla="*/ 474355 w 956635"/>
                <a:gd name="connsiteY77" fmla="*/ 531069 h 969327"/>
                <a:gd name="connsiteX78" fmla="*/ 427948 w 956635"/>
                <a:gd name="connsiteY78" fmla="*/ 482084 h 969327"/>
                <a:gd name="connsiteX79" fmla="*/ 476929 w 956635"/>
                <a:gd name="connsiteY79" fmla="*/ 433103 h 969327"/>
                <a:gd name="connsiteX80" fmla="*/ 768244 w 956635"/>
                <a:gd name="connsiteY80" fmla="*/ 291312 h 969327"/>
                <a:gd name="connsiteX81" fmla="*/ 814648 w 956635"/>
                <a:gd name="connsiteY81" fmla="*/ 340293 h 969327"/>
                <a:gd name="connsiteX82" fmla="*/ 765667 w 956635"/>
                <a:gd name="connsiteY82" fmla="*/ 389278 h 969327"/>
                <a:gd name="connsiteX83" fmla="*/ 719263 w 956635"/>
                <a:gd name="connsiteY83" fmla="*/ 340293 h 969327"/>
                <a:gd name="connsiteX84" fmla="*/ 768244 w 956635"/>
                <a:gd name="connsiteY84" fmla="*/ 291312 h 969327"/>
                <a:gd name="connsiteX85" fmla="*/ 621297 w 956635"/>
                <a:gd name="connsiteY85" fmla="*/ 288734 h 969327"/>
                <a:gd name="connsiteX86" fmla="*/ 667705 w 956635"/>
                <a:gd name="connsiteY86" fmla="*/ 337715 h 969327"/>
                <a:gd name="connsiteX87" fmla="*/ 618720 w 956635"/>
                <a:gd name="connsiteY87" fmla="*/ 386700 h 969327"/>
                <a:gd name="connsiteX88" fmla="*/ 572316 w 956635"/>
                <a:gd name="connsiteY88" fmla="*/ 337715 h 969327"/>
                <a:gd name="connsiteX89" fmla="*/ 621297 w 956635"/>
                <a:gd name="connsiteY89" fmla="*/ 288734 h 969327"/>
                <a:gd name="connsiteX90" fmla="*/ 479510 w 956635"/>
                <a:gd name="connsiteY90" fmla="*/ 288734 h 969327"/>
                <a:gd name="connsiteX91" fmla="*/ 525918 w 956635"/>
                <a:gd name="connsiteY91" fmla="*/ 337715 h 969327"/>
                <a:gd name="connsiteX92" fmla="*/ 476933 w 956635"/>
                <a:gd name="connsiteY92" fmla="*/ 386700 h 969327"/>
                <a:gd name="connsiteX93" fmla="*/ 430529 w 956635"/>
                <a:gd name="connsiteY93" fmla="*/ 337715 h 969327"/>
                <a:gd name="connsiteX94" fmla="*/ 479510 w 956635"/>
                <a:gd name="connsiteY94" fmla="*/ 288734 h 969327"/>
                <a:gd name="connsiteX95" fmla="*/ 337719 w 956635"/>
                <a:gd name="connsiteY95" fmla="*/ 288734 h 969327"/>
                <a:gd name="connsiteX96" fmla="*/ 384122 w 956635"/>
                <a:gd name="connsiteY96" fmla="*/ 337715 h 969327"/>
                <a:gd name="connsiteX97" fmla="*/ 335141 w 956635"/>
                <a:gd name="connsiteY97" fmla="*/ 386700 h 969327"/>
                <a:gd name="connsiteX98" fmla="*/ 288738 w 956635"/>
                <a:gd name="connsiteY98" fmla="*/ 337715 h 969327"/>
                <a:gd name="connsiteX99" fmla="*/ 337719 w 956635"/>
                <a:gd name="connsiteY99" fmla="*/ 288734 h 969327"/>
                <a:gd name="connsiteX100" fmla="*/ 621302 w 956635"/>
                <a:gd name="connsiteY100" fmla="*/ 146943 h 969327"/>
                <a:gd name="connsiteX101" fmla="*/ 667705 w 956635"/>
                <a:gd name="connsiteY101" fmla="*/ 195924 h 969327"/>
                <a:gd name="connsiteX102" fmla="*/ 618724 w 956635"/>
                <a:gd name="connsiteY102" fmla="*/ 244909 h 969327"/>
                <a:gd name="connsiteX103" fmla="*/ 572321 w 956635"/>
                <a:gd name="connsiteY103" fmla="*/ 195924 h 969327"/>
                <a:gd name="connsiteX104" fmla="*/ 621302 w 956635"/>
                <a:gd name="connsiteY104" fmla="*/ 146943 h 969327"/>
                <a:gd name="connsiteX105" fmla="*/ 479510 w 956635"/>
                <a:gd name="connsiteY105" fmla="*/ 146943 h 969327"/>
                <a:gd name="connsiteX106" fmla="*/ 525917 w 956635"/>
                <a:gd name="connsiteY106" fmla="*/ 195924 h 969327"/>
                <a:gd name="connsiteX107" fmla="*/ 476932 w 956635"/>
                <a:gd name="connsiteY107" fmla="*/ 244909 h 969327"/>
                <a:gd name="connsiteX108" fmla="*/ 430529 w 956635"/>
                <a:gd name="connsiteY108" fmla="*/ 195924 h 969327"/>
                <a:gd name="connsiteX109" fmla="*/ 479510 w 956635"/>
                <a:gd name="connsiteY109" fmla="*/ 146943 h 969327"/>
                <a:gd name="connsiteX110" fmla="*/ 337719 w 956635"/>
                <a:gd name="connsiteY110" fmla="*/ 146943 h 969327"/>
                <a:gd name="connsiteX111" fmla="*/ 384122 w 956635"/>
                <a:gd name="connsiteY111" fmla="*/ 195924 h 969327"/>
                <a:gd name="connsiteX112" fmla="*/ 335141 w 956635"/>
                <a:gd name="connsiteY112" fmla="*/ 244909 h 969327"/>
                <a:gd name="connsiteX113" fmla="*/ 288738 w 956635"/>
                <a:gd name="connsiteY113" fmla="*/ 195924 h 969327"/>
                <a:gd name="connsiteX114" fmla="*/ 337719 w 956635"/>
                <a:gd name="connsiteY114" fmla="*/ 146943 h 969327"/>
                <a:gd name="connsiteX115" fmla="*/ 193350 w 956635"/>
                <a:gd name="connsiteY115" fmla="*/ 144369 h 969327"/>
                <a:gd name="connsiteX116" fmla="*/ 239757 w 956635"/>
                <a:gd name="connsiteY116" fmla="*/ 193350 h 969327"/>
                <a:gd name="connsiteX117" fmla="*/ 190776 w 956635"/>
                <a:gd name="connsiteY117" fmla="*/ 242331 h 969327"/>
                <a:gd name="connsiteX118" fmla="*/ 144369 w 956635"/>
                <a:gd name="connsiteY118" fmla="*/ 193350 h 969327"/>
                <a:gd name="connsiteX119" fmla="*/ 193350 w 956635"/>
                <a:gd name="connsiteY119" fmla="*/ 144369 h 969327"/>
                <a:gd name="connsiteX120" fmla="*/ 479510 w 956635"/>
                <a:gd name="connsiteY120" fmla="*/ 0 h 969327"/>
                <a:gd name="connsiteX121" fmla="*/ 525917 w 956635"/>
                <a:gd name="connsiteY121" fmla="*/ 48981 h 969327"/>
                <a:gd name="connsiteX122" fmla="*/ 476932 w 956635"/>
                <a:gd name="connsiteY122" fmla="*/ 97962 h 969327"/>
                <a:gd name="connsiteX123" fmla="*/ 430529 w 956635"/>
                <a:gd name="connsiteY123" fmla="*/ 48981 h 969327"/>
                <a:gd name="connsiteX124" fmla="*/ 479510 w 956635"/>
                <a:gd name="connsiteY124" fmla="*/ 0 h 969327"/>
                <a:gd name="connsiteX125" fmla="*/ 337719 w 956635"/>
                <a:gd name="connsiteY125" fmla="*/ 0 h 969327"/>
                <a:gd name="connsiteX126" fmla="*/ 384127 w 956635"/>
                <a:gd name="connsiteY126" fmla="*/ 48981 h 969327"/>
                <a:gd name="connsiteX127" fmla="*/ 335142 w 956635"/>
                <a:gd name="connsiteY127" fmla="*/ 97962 h 969327"/>
                <a:gd name="connsiteX128" fmla="*/ 288738 w 956635"/>
                <a:gd name="connsiteY128" fmla="*/ 48981 h 969327"/>
                <a:gd name="connsiteX129" fmla="*/ 337719 w 956635"/>
                <a:gd name="connsiteY129" fmla="*/ 0 h 969327"/>
                <a:gd name="connsiteX130" fmla="*/ 193350 w 956635"/>
                <a:gd name="connsiteY130" fmla="*/ 0 h 969327"/>
                <a:gd name="connsiteX131" fmla="*/ 239758 w 956635"/>
                <a:gd name="connsiteY131" fmla="*/ 48981 h 969327"/>
                <a:gd name="connsiteX132" fmla="*/ 190776 w 956635"/>
                <a:gd name="connsiteY132" fmla="*/ 97962 h 969327"/>
                <a:gd name="connsiteX133" fmla="*/ 144369 w 956635"/>
                <a:gd name="connsiteY133" fmla="*/ 48981 h 969327"/>
                <a:gd name="connsiteX134" fmla="*/ 193350 w 956635"/>
                <a:gd name="connsiteY134" fmla="*/ 0 h 969327"/>
                <a:gd name="connsiteX135" fmla="*/ 51559 w 956635"/>
                <a:gd name="connsiteY135" fmla="*/ 0 h 969327"/>
                <a:gd name="connsiteX136" fmla="*/ 97967 w 956635"/>
                <a:gd name="connsiteY136" fmla="*/ 48981 h 969327"/>
                <a:gd name="connsiteX137" fmla="*/ 48985 w 956635"/>
                <a:gd name="connsiteY137" fmla="*/ 97962 h 969327"/>
                <a:gd name="connsiteX138" fmla="*/ 2578 w 956635"/>
                <a:gd name="connsiteY138" fmla="*/ 48981 h 969327"/>
                <a:gd name="connsiteX139" fmla="*/ 51559 w 956635"/>
                <a:gd name="connsiteY139" fmla="*/ 0 h 969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956635" h="969327">
                  <a:moveTo>
                    <a:pt x="335142" y="871365"/>
                  </a:moveTo>
                  <a:cubicBezTo>
                    <a:pt x="360923" y="871365"/>
                    <a:pt x="384126" y="891987"/>
                    <a:pt x="381545" y="920346"/>
                  </a:cubicBezTo>
                  <a:cubicBezTo>
                    <a:pt x="381545" y="946127"/>
                    <a:pt x="360923" y="969327"/>
                    <a:pt x="332564" y="969327"/>
                  </a:cubicBezTo>
                  <a:cubicBezTo>
                    <a:pt x="304205" y="969327"/>
                    <a:pt x="283583" y="948705"/>
                    <a:pt x="286161" y="920346"/>
                  </a:cubicBezTo>
                  <a:cubicBezTo>
                    <a:pt x="286161" y="891987"/>
                    <a:pt x="309361" y="868788"/>
                    <a:pt x="335142" y="871365"/>
                  </a:cubicBezTo>
                  <a:close/>
                  <a:moveTo>
                    <a:pt x="476929" y="871365"/>
                  </a:moveTo>
                  <a:cubicBezTo>
                    <a:pt x="502711" y="871365"/>
                    <a:pt x="525914" y="891987"/>
                    <a:pt x="523337" y="920346"/>
                  </a:cubicBezTo>
                  <a:cubicBezTo>
                    <a:pt x="520759" y="948705"/>
                    <a:pt x="502711" y="969327"/>
                    <a:pt x="474355" y="969327"/>
                  </a:cubicBezTo>
                  <a:cubicBezTo>
                    <a:pt x="448574" y="969327"/>
                    <a:pt x="425371" y="948705"/>
                    <a:pt x="427948" y="920346"/>
                  </a:cubicBezTo>
                  <a:cubicBezTo>
                    <a:pt x="427948" y="891987"/>
                    <a:pt x="451152" y="871365"/>
                    <a:pt x="476929" y="871365"/>
                  </a:cubicBezTo>
                  <a:close/>
                  <a:moveTo>
                    <a:pt x="190772" y="868784"/>
                  </a:moveTo>
                  <a:cubicBezTo>
                    <a:pt x="216554" y="868784"/>
                    <a:pt x="239753" y="889406"/>
                    <a:pt x="237180" y="917765"/>
                  </a:cubicBezTo>
                  <a:cubicBezTo>
                    <a:pt x="237180" y="943546"/>
                    <a:pt x="216554" y="966746"/>
                    <a:pt x="188195" y="966746"/>
                  </a:cubicBezTo>
                  <a:cubicBezTo>
                    <a:pt x="162413" y="966746"/>
                    <a:pt x="139214" y="946124"/>
                    <a:pt x="141791" y="917765"/>
                  </a:cubicBezTo>
                  <a:cubicBezTo>
                    <a:pt x="141791" y="891988"/>
                    <a:pt x="162413" y="868784"/>
                    <a:pt x="190772" y="868784"/>
                  </a:cubicBezTo>
                  <a:close/>
                  <a:moveTo>
                    <a:pt x="48981" y="868784"/>
                  </a:moveTo>
                  <a:cubicBezTo>
                    <a:pt x="74762" y="868784"/>
                    <a:pt x="97961" y="889406"/>
                    <a:pt x="95388" y="917765"/>
                  </a:cubicBezTo>
                  <a:cubicBezTo>
                    <a:pt x="95388" y="943546"/>
                    <a:pt x="74762" y="966746"/>
                    <a:pt x="46403" y="966746"/>
                  </a:cubicBezTo>
                  <a:cubicBezTo>
                    <a:pt x="20622" y="966746"/>
                    <a:pt x="0" y="946124"/>
                    <a:pt x="0" y="917765"/>
                  </a:cubicBezTo>
                  <a:cubicBezTo>
                    <a:pt x="0" y="889406"/>
                    <a:pt x="20622" y="868784"/>
                    <a:pt x="48981" y="868784"/>
                  </a:cubicBezTo>
                  <a:close/>
                  <a:moveTo>
                    <a:pt x="618720" y="721841"/>
                  </a:moveTo>
                  <a:cubicBezTo>
                    <a:pt x="644502" y="721841"/>
                    <a:pt x="667705" y="742463"/>
                    <a:pt x="665128" y="770822"/>
                  </a:cubicBezTo>
                  <a:cubicBezTo>
                    <a:pt x="665128" y="796603"/>
                    <a:pt x="644502" y="819807"/>
                    <a:pt x="616146" y="819807"/>
                  </a:cubicBezTo>
                  <a:cubicBezTo>
                    <a:pt x="590365" y="819807"/>
                    <a:pt x="567162" y="799181"/>
                    <a:pt x="569739" y="770822"/>
                  </a:cubicBezTo>
                  <a:cubicBezTo>
                    <a:pt x="572317" y="742463"/>
                    <a:pt x="592943" y="721841"/>
                    <a:pt x="618720" y="721841"/>
                  </a:cubicBezTo>
                  <a:close/>
                  <a:moveTo>
                    <a:pt x="476929" y="721841"/>
                  </a:moveTo>
                  <a:cubicBezTo>
                    <a:pt x="502711" y="721841"/>
                    <a:pt x="525914" y="742463"/>
                    <a:pt x="523337" y="770822"/>
                  </a:cubicBezTo>
                  <a:cubicBezTo>
                    <a:pt x="523337" y="796603"/>
                    <a:pt x="502711" y="819807"/>
                    <a:pt x="474355" y="819807"/>
                  </a:cubicBezTo>
                  <a:cubicBezTo>
                    <a:pt x="448574" y="819807"/>
                    <a:pt x="425371" y="799181"/>
                    <a:pt x="427948" y="770822"/>
                  </a:cubicBezTo>
                  <a:cubicBezTo>
                    <a:pt x="430526" y="742463"/>
                    <a:pt x="451152" y="721841"/>
                    <a:pt x="476929" y="721841"/>
                  </a:cubicBezTo>
                  <a:close/>
                  <a:moveTo>
                    <a:pt x="335142" y="721841"/>
                  </a:moveTo>
                  <a:cubicBezTo>
                    <a:pt x="360923" y="721841"/>
                    <a:pt x="384126" y="742463"/>
                    <a:pt x="381545" y="770822"/>
                  </a:cubicBezTo>
                  <a:cubicBezTo>
                    <a:pt x="381545" y="796603"/>
                    <a:pt x="360923" y="819807"/>
                    <a:pt x="332564" y="819807"/>
                  </a:cubicBezTo>
                  <a:cubicBezTo>
                    <a:pt x="304205" y="819807"/>
                    <a:pt x="283583" y="799181"/>
                    <a:pt x="286161" y="770822"/>
                  </a:cubicBezTo>
                  <a:cubicBezTo>
                    <a:pt x="286161" y="742463"/>
                    <a:pt x="309361" y="721841"/>
                    <a:pt x="335142" y="721841"/>
                  </a:cubicBezTo>
                  <a:close/>
                  <a:moveTo>
                    <a:pt x="190773" y="721840"/>
                  </a:moveTo>
                  <a:cubicBezTo>
                    <a:pt x="216554" y="721840"/>
                    <a:pt x="239753" y="742462"/>
                    <a:pt x="237180" y="770821"/>
                  </a:cubicBezTo>
                  <a:cubicBezTo>
                    <a:pt x="237180" y="796602"/>
                    <a:pt x="216554" y="819806"/>
                    <a:pt x="188195" y="819806"/>
                  </a:cubicBezTo>
                  <a:cubicBezTo>
                    <a:pt x="162414" y="819806"/>
                    <a:pt x="141792" y="799180"/>
                    <a:pt x="141792" y="770821"/>
                  </a:cubicBezTo>
                  <a:cubicBezTo>
                    <a:pt x="141792" y="742462"/>
                    <a:pt x="164995" y="719263"/>
                    <a:pt x="190773" y="721840"/>
                  </a:cubicBezTo>
                  <a:close/>
                  <a:moveTo>
                    <a:pt x="768248" y="580050"/>
                  </a:moveTo>
                  <a:cubicBezTo>
                    <a:pt x="794026" y="580050"/>
                    <a:pt x="817229" y="600672"/>
                    <a:pt x="814652" y="629031"/>
                  </a:cubicBezTo>
                  <a:cubicBezTo>
                    <a:pt x="814652" y="654812"/>
                    <a:pt x="794026" y="678012"/>
                    <a:pt x="765670" y="678012"/>
                  </a:cubicBezTo>
                  <a:cubicBezTo>
                    <a:pt x="737311" y="678012"/>
                    <a:pt x="716685" y="657390"/>
                    <a:pt x="719267" y="629031"/>
                  </a:cubicBezTo>
                  <a:cubicBezTo>
                    <a:pt x="719267" y="600672"/>
                    <a:pt x="739889" y="580050"/>
                    <a:pt x="768248" y="580050"/>
                  </a:cubicBezTo>
                  <a:close/>
                  <a:moveTo>
                    <a:pt x="618720" y="577472"/>
                  </a:moveTo>
                  <a:cubicBezTo>
                    <a:pt x="644502" y="577472"/>
                    <a:pt x="667705" y="598094"/>
                    <a:pt x="665128" y="626453"/>
                  </a:cubicBezTo>
                  <a:cubicBezTo>
                    <a:pt x="665128" y="652234"/>
                    <a:pt x="644502" y="675434"/>
                    <a:pt x="616146" y="675434"/>
                  </a:cubicBezTo>
                  <a:cubicBezTo>
                    <a:pt x="590365" y="675434"/>
                    <a:pt x="567162" y="654812"/>
                    <a:pt x="569739" y="626453"/>
                  </a:cubicBezTo>
                  <a:cubicBezTo>
                    <a:pt x="572317" y="600676"/>
                    <a:pt x="592943" y="577472"/>
                    <a:pt x="618720" y="577472"/>
                  </a:cubicBezTo>
                  <a:close/>
                  <a:moveTo>
                    <a:pt x="476929" y="577472"/>
                  </a:moveTo>
                  <a:cubicBezTo>
                    <a:pt x="502711" y="577472"/>
                    <a:pt x="525914" y="598094"/>
                    <a:pt x="523337" y="626453"/>
                  </a:cubicBezTo>
                  <a:cubicBezTo>
                    <a:pt x="523337" y="652234"/>
                    <a:pt x="502711" y="675434"/>
                    <a:pt x="474355" y="675434"/>
                  </a:cubicBezTo>
                  <a:cubicBezTo>
                    <a:pt x="448574" y="675434"/>
                    <a:pt x="425371" y="654812"/>
                    <a:pt x="427948" y="626453"/>
                  </a:cubicBezTo>
                  <a:cubicBezTo>
                    <a:pt x="430526" y="600676"/>
                    <a:pt x="451152" y="577472"/>
                    <a:pt x="476929" y="577472"/>
                  </a:cubicBezTo>
                  <a:close/>
                  <a:moveTo>
                    <a:pt x="335141" y="577472"/>
                  </a:moveTo>
                  <a:cubicBezTo>
                    <a:pt x="360923" y="577472"/>
                    <a:pt x="384126" y="598094"/>
                    <a:pt x="381549" y="626453"/>
                  </a:cubicBezTo>
                  <a:cubicBezTo>
                    <a:pt x="381549" y="652234"/>
                    <a:pt x="360923" y="675434"/>
                    <a:pt x="332567" y="675434"/>
                  </a:cubicBezTo>
                  <a:cubicBezTo>
                    <a:pt x="306786" y="675434"/>
                    <a:pt x="283583" y="654812"/>
                    <a:pt x="286160" y="626453"/>
                  </a:cubicBezTo>
                  <a:cubicBezTo>
                    <a:pt x="288738" y="598094"/>
                    <a:pt x="309364" y="577472"/>
                    <a:pt x="335141" y="577472"/>
                  </a:cubicBezTo>
                  <a:close/>
                  <a:moveTo>
                    <a:pt x="910035" y="433103"/>
                  </a:moveTo>
                  <a:cubicBezTo>
                    <a:pt x="935817" y="433103"/>
                    <a:pt x="959020" y="453729"/>
                    <a:pt x="956439" y="482084"/>
                  </a:cubicBezTo>
                  <a:cubicBezTo>
                    <a:pt x="956439" y="507865"/>
                    <a:pt x="935817" y="531069"/>
                    <a:pt x="907458" y="531069"/>
                  </a:cubicBezTo>
                  <a:cubicBezTo>
                    <a:pt x="881680" y="531069"/>
                    <a:pt x="858477" y="510443"/>
                    <a:pt x="861054" y="482084"/>
                  </a:cubicBezTo>
                  <a:cubicBezTo>
                    <a:pt x="861054" y="453729"/>
                    <a:pt x="884254" y="433103"/>
                    <a:pt x="910035" y="433103"/>
                  </a:cubicBezTo>
                  <a:close/>
                  <a:moveTo>
                    <a:pt x="768244" y="433103"/>
                  </a:moveTo>
                  <a:cubicBezTo>
                    <a:pt x="794026" y="433103"/>
                    <a:pt x="817229" y="453729"/>
                    <a:pt x="814648" y="482084"/>
                  </a:cubicBezTo>
                  <a:cubicBezTo>
                    <a:pt x="814648" y="507865"/>
                    <a:pt x="794026" y="531069"/>
                    <a:pt x="765667" y="531069"/>
                  </a:cubicBezTo>
                  <a:cubicBezTo>
                    <a:pt x="739889" y="531069"/>
                    <a:pt x="716686" y="510443"/>
                    <a:pt x="719263" y="482084"/>
                  </a:cubicBezTo>
                  <a:cubicBezTo>
                    <a:pt x="719263" y="453729"/>
                    <a:pt x="742463" y="433103"/>
                    <a:pt x="768244" y="433103"/>
                  </a:cubicBezTo>
                  <a:close/>
                  <a:moveTo>
                    <a:pt x="618724" y="433103"/>
                  </a:moveTo>
                  <a:cubicBezTo>
                    <a:pt x="644505" y="433103"/>
                    <a:pt x="667708" y="453729"/>
                    <a:pt x="665127" y="482084"/>
                  </a:cubicBezTo>
                  <a:cubicBezTo>
                    <a:pt x="665127" y="507865"/>
                    <a:pt x="644505" y="531069"/>
                    <a:pt x="616146" y="531069"/>
                  </a:cubicBezTo>
                  <a:cubicBezTo>
                    <a:pt x="587787" y="531069"/>
                    <a:pt x="567165" y="510443"/>
                    <a:pt x="569743" y="482084"/>
                  </a:cubicBezTo>
                  <a:cubicBezTo>
                    <a:pt x="572321" y="453729"/>
                    <a:pt x="592943" y="433103"/>
                    <a:pt x="618724" y="433103"/>
                  </a:cubicBezTo>
                  <a:close/>
                  <a:moveTo>
                    <a:pt x="476929" y="433103"/>
                  </a:moveTo>
                  <a:cubicBezTo>
                    <a:pt x="502711" y="433103"/>
                    <a:pt x="525914" y="453729"/>
                    <a:pt x="523337" y="482084"/>
                  </a:cubicBezTo>
                  <a:cubicBezTo>
                    <a:pt x="523337" y="507865"/>
                    <a:pt x="502711" y="531069"/>
                    <a:pt x="474355" y="531069"/>
                  </a:cubicBezTo>
                  <a:cubicBezTo>
                    <a:pt x="448574" y="531069"/>
                    <a:pt x="425371" y="510443"/>
                    <a:pt x="427948" y="482084"/>
                  </a:cubicBezTo>
                  <a:cubicBezTo>
                    <a:pt x="430526" y="453729"/>
                    <a:pt x="451152" y="433103"/>
                    <a:pt x="476929" y="433103"/>
                  </a:cubicBezTo>
                  <a:close/>
                  <a:moveTo>
                    <a:pt x="768244" y="291312"/>
                  </a:moveTo>
                  <a:cubicBezTo>
                    <a:pt x="794026" y="291312"/>
                    <a:pt x="817229" y="311938"/>
                    <a:pt x="814648" y="340293"/>
                  </a:cubicBezTo>
                  <a:cubicBezTo>
                    <a:pt x="814648" y="366074"/>
                    <a:pt x="794026" y="389278"/>
                    <a:pt x="765667" y="389278"/>
                  </a:cubicBezTo>
                  <a:cubicBezTo>
                    <a:pt x="739889" y="389278"/>
                    <a:pt x="716686" y="368652"/>
                    <a:pt x="719263" y="340293"/>
                  </a:cubicBezTo>
                  <a:cubicBezTo>
                    <a:pt x="719263" y="311938"/>
                    <a:pt x="742463" y="288735"/>
                    <a:pt x="768244" y="291312"/>
                  </a:cubicBezTo>
                  <a:close/>
                  <a:moveTo>
                    <a:pt x="621297" y="288734"/>
                  </a:moveTo>
                  <a:cubicBezTo>
                    <a:pt x="647079" y="288734"/>
                    <a:pt x="670282" y="309360"/>
                    <a:pt x="667705" y="337715"/>
                  </a:cubicBezTo>
                  <a:cubicBezTo>
                    <a:pt x="667705" y="363496"/>
                    <a:pt x="647079" y="386700"/>
                    <a:pt x="618720" y="386700"/>
                  </a:cubicBezTo>
                  <a:cubicBezTo>
                    <a:pt x="592942" y="386700"/>
                    <a:pt x="569739" y="366074"/>
                    <a:pt x="572316" y="337715"/>
                  </a:cubicBezTo>
                  <a:cubicBezTo>
                    <a:pt x="572316" y="311938"/>
                    <a:pt x="592942" y="288734"/>
                    <a:pt x="621297" y="288734"/>
                  </a:cubicBezTo>
                  <a:close/>
                  <a:moveTo>
                    <a:pt x="479510" y="288734"/>
                  </a:moveTo>
                  <a:cubicBezTo>
                    <a:pt x="505292" y="288734"/>
                    <a:pt x="528495" y="309360"/>
                    <a:pt x="525918" y="337715"/>
                  </a:cubicBezTo>
                  <a:cubicBezTo>
                    <a:pt x="525918" y="363496"/>
                    <a:pt x="505292" y="386700"/>
                    <a:pt x="476933" y="386700"/>
                  </a:cubicBezTo>
                  <a:cubicBezTo>
                    <a:pt x="451155" y="386700"/>
                    <a:pt x="427952" y="366074"/>
                    <a:pt x="430529" y="337715"/>
                  </a:cubicBezTo>
                  <a:cubicBezTo>
                    <a:pt x="430529" y="309360"/>
                    <a:pt x="451155" y="288734"/>
                    <a:pt x="479510" y="288734"/>
                  </a:cubicBezTo>
                  <a:close/>
                  <a:moveTo>
                    <a:pt x="337719" y="288734"/>
                  </a:moveTo>
                  <a:cubicBezTo>
                    <a:pt x="363496" y="288734"/>
                    <a:pt x="386699" y="309360"/>
                    <a:pt x="384122" y="337715"/>
                  </a:cubicBezTo>
                  <a:cubicBezTo>
                    <a:pt x="384122" y="363496"/>
                    <a:pt x="363496" y="386700"/>
                    <a:pt x="335141" y="386700"/>
                  </a:cubicBezTo>
                  <a:cubicBezTo>
                    <a:pt x="306782" y="386700"/>
                    <a:pt x="286156" y="366074"/>
                    <a:pt x="288738" y="337715"/>
                  </a:cubicBezTo>
                  <a:cubicBezTo>
                    <a:pt x="288738" y="309360"/>
                    <a:pt x="309360" y="288734"/>
                    <a:pt x="337719" y="288734"/>
                  </a:cubicBezTo>
                  <a:close/>
                  <a:moveTo>
                    <a:pt x="621302" y="146943"/>
                  </a:moveTo>
                  <a:cubicBezTo>
                    <a:pt x="647079" y="146943"/>
                    <a:pt x="670282" y="167569"/>
                    <a:pt x="667705" y="195924"/>
                  </a:cubicBezTo>
                  <a:cubicBezTo>
                    <a:pt x="667705" y="221705"/>
                    <a:pt x="647079" y="244909"/>
                    <a:pt x="618724" y="244909"/>
                  </a:cubicBezTo>
                  <a:cubicBezTo>
                    <a:pt x="590365" y="244909"/>
                    <a:pt x="569739" y="224283"/>
                    <a:pt x="572321" y="195924"/>
                  </a:cubicBezTo>
                  <a:cubicBezTo>
                    <a:pt x="572321" y="167569"/>
                    <a:pt x="595521" y="146943"/>
                    <a:pt x="621302" y="146943"/>
                  </a:cubicBezTo>
                  <a:close/>
                  <a:moveTo>
                    <a:pt x="479510" y="146943"/>
                  </a:moveTo>
                  <a:cubicBezTo>
                    <a:pt x="505291" y="146943"/>
                    <a:pt x="528490" y="167569"/>
                    <a:pt x="525917" y="195924"/>
                  </a:cubicBezTo>
                  <a:cubicBezTo>
                    <a:pt x="525917" y="221705"/>
                    <a:pt x="505291" y="244909"/>
                    <a:pt x="476932" y="244909"/>
                  </a:cubicBezTo>
                  <a:cubicBezTo>
                    <a:pt x="451151" y="244909"/>
                    <a:pt x="430529" y="224283"/>
                    <a:pt x="430529" y="195924"/>
                  </a:cubicBezTo>
                  <a:cubicBezTo>
                    <a:pt x="430529" y="167569"/>
                    <a:pt x="451151" y="146943"/>
                    <a:pt x="479510" y="146943"/>
                  </a:cubicBezTo>
                  <a:close/>
                  <a:moveTo>
                    <a:pt x="337719" y="146943"/>
                  </a:moveTo>
                  <a:cubicBezTo>
                    <a:pt x="363496" y="146943"/>
                    <a:pt x="386699" y="167569"/>
                    <a:pt x="384122" y="195924"/>
                  </a:cubicBezTo>
                  <a:cubicBezTo>
                    <a:pt x="384122" y="221705"/>
                    <a:pt x="363496" y="244909"/>
                    <a:pt x="335141" y="244909"/>
                  </a:cubicBezTo>
                  <a:cubicBezTo>
                    <a:pt x="306782" y="244909"/>
                    <a:pt x="286156" y="224283"/>
                    <a:pt x="288738" y="195924"/>
                  </a:cubicBezTo>
                  <a:cubicBezTo>
                    <a:pt x="288738" y="167569"/>
                    <a:pt x="309360" y="146943"/>
                    <a:pt x="337719" y="146943"/>
                  </a:cubicBezTo>
                  <a:close/>
                  <a:moveTo>
                    <a:pt x="193350" y="144369"/>
                  </a:moveTo>
                  <a:cubicBezTo>
                    <a:pt x="219131" y="144369"/>
                    <a:pt x="242334" y="164991"/>
                    <a:pt x="239757" y="193350"/>
                  </a:cubicBezTo>
                  <a:cubicBezTo>
                    <a:pt x="239757" y="219131"/>
                    <a:pt x="219131" y="242331"/>
                    <a:pt x="190776" y="242331"/>
                  </a:cubicBezTo>
                  <a:cubicBezTo>
                    <a:pt x="164995" y="242331"/>
                    <a:pt x="144369" y="221709"/>
                    <a:pt x="144369" y="193350"/>
                  </a:cubicBezTo>
                  <a:cubicBezTo>
                    <a:pt x="144369" y="167573"/>
                    <a:pt x="164995" y="144369"/>
                    <a:pt x="193350" y="144369"/>
                  </a:cubicBezTo>
                  <a:close/>
                  <a:moveTo>
                    <a:pt x="479510" y="0"/>
                  </a:moveTo>
                  <a:cubicBezTo>
                    <a:pt x="505291" y="0"/>
                    <a:pt x="528490" y="20622"/>
                    <a:pt x="525917" y="48981"/>
                  </a:cubicBezTo>
                  <a:cubicBezTo>
                    <a:pt x="525917" y="74762"/>
                    <a:pt x="505291" y="97962"/>
                    <a:pt x="476932" y="97962"/>
                  </a:cubicBezTo>
                  <a:cubicBezTo>
                    <a:pt x="451151" y="97962"/>
                    <a:pt x="430529" y="77340"/>
                    <a:pt x="430529" y="48981"/>
                  </a:cubicBezTo>
                  <a:cubicBezTo>
                    <a:pt x="430529" y="20622"/>
                    <a:pt x="453729" y="0"/>
                    <a:pt x="479510" y="0"/>
                  </a:cubicBezTo>
                  <a:close/>
                  <a:moveTo>
                    <a:pt x="337719" y="0"/>
                  </a:moveTo>
                  <a:cubicBezTo>
                    <a:pt x="363501" y="0"/>
                    <a:pt x="386704" y="20622"/>
                    <a:pt x="384127" y="48981"/>
                  </a:cubicBezTo>
                  <a:cubicBezTo>
                    <a:pt x="384127" y="74762"/>
                    <a:pt x="363501" y="97962"/>
                    <a:pt x="335142" y="97962"/>
                  </a:cubicBezTo>
                  <a:cubicBezTo>
                    <a:pt x="309364" y="97962"/>
                    <a:pt x="286161" y="77340"/>
                    <a:pt x="288738" y="48981"/>
                  </a:cubicBezTo>
                  <a:cubicBezTo>
                    <a:pt x="288738" y="20622"/>
                    <a:pt x="311938" y="0"/>
                    <a:pt x="337719" y="0"/>
                  </a:cubicBezTo>
                  <a:close/>
                  <a:moveTo>
                    <a:pt x="193350" y="0"/>
                  </a:moveTo>
                  <a:cubicBezTo>
                    <a:pt x="219132" y="0"/>
                    <a:pt x="242335" y="20622"/>
                    <a:pt x="239758" y="48981"/>
                  </a:cubicBezTo>
                  <a:cubicBezTo>
                    <a:pt x="239758" y="74762"/>
                    <a:pt x="219132" y="97962"/>
                    <a:pt x="190776" y="97962"/>
                  </a:cubicBezTo>
                  <a:cubicBezTo>
                    <a:pt x="164995" y="97962"/>
                    <a:pt x="141792" y="77340"/>
                    <a:pt x="144369" y="48981"/>
                  </a:cubicBezTo>
                  <a:cubicBezTo>
                    <a:pt x="144369" y="20622"/>
                    <a:pt x="164995" y="0"/>
                    <a:pt x="193350" y="0"/>
                  </a:cubicBezTo>
                  <a:close/>
                  <a:moveTo>
                    <a:pt x="51559" y="0"/>
                  </a:moveTo>
                  <a:cubicBezTo>
                    <a:pt x="77341" y="0"/>
                    <a:pt x="100544" y="20622"/>
                    <a:pt x="97967" y="48981"/>
                  </a:cubicBezTo>
                  <a:cubicBezTo>
                    <a:pt x="97967" y="74762"/>
                    <a:pt x="77341" y="97962"/>
                    <a:pt x="48985" y="97962"/>
                  </a:cubicBezTo>
                  <a:cubicBezTo>
                    <a:pt x="23204" y="97962"/>
                    <a:pt x="1" y="77340"/>
                    <a:pt x="2578" y="48981"/>
                  </a:cubicBezTo>
                  <a:cubicBezTo>
                    <a:pt x="2578" y="20622"/>
                    <a:pt x="23204" y="0"/>
                    <a:pt x="51559" y="0"/>
                  </a:cubicBezTo>
                  <a:close/>
                </a:path>
              </a:pathLst>
            </a:custGeom>
            <a:solidFill>
              <a:schemeClr val="bg1">
                <a:alpha val="60000"/>
              </a:schemeClr>
            </a:solidFill>
            <a:ln w="6825" cap="flat">
              <a:noFill/>
              <a:prstDash val="solid"/>
              <a:miter/>
            </a:ln>
          </p:spPr>
          <p:txBody>
            <a:bodyPr rtlCol="0" anchor="ctr"/>
            <a:lstStyle/>
            <a:p>
              <a:endParaRPr lang="en-US"/>
            </a:p>
          </p:txBody>
        </p:sp>
        <p:sp>
          <p:nvSpPr>
            <p:cNvPr id="126" name="Freeform: Shape 125">
              <a:extLst>
                <a:ext uri="{FF2B5EF4-FFF2-40B4-BE49-F238E27FC236}">
                  <a16:creationId xmlns:a16="http://schemas.microsoft.com/office/drawing/2014/main" id="{5BFF9CD1-FA41-4203-8F9D-BBBB151945AF}"/>
                </a:ext>
              </a:extLst>
            </p:cNvPr>
            <p:cNvSpPr/>
            <p:nvPr/>
          </p:nvSpPr>
          <p:spPr>
            <a:xfrm>
              <a:off x="11312945" y="4826453"/>
              <a:ext cx="726655" cy="736147"/>
            </a:xfrm>
            <a:custGeom>
              <a:avLst/>
              <a:gdLst>
                <a:gd name="connsiteX0" fmla="*/ 335334 w 956831"/>
                <a:gd name="connsiteY0" fmla="*/ 871365 h 969327"/>
                <a:gd name="connsiteX1" fmla="*/ 381741 w 956831"/>
                <a:gd name="connsiteY1" fmla="*/ 920346 h 969327"/>
                <a:gd name="connsiteX2" fmla="*/ 332756 w 956831"/>
                <a:gd name="connsiteY2" fmla="*/ 969327 h 969327"/>
                <a:gd name="connsiteX3" fmla="*/ 286353 w 956831"/>
                <a:gd name="connsiteY3" fmla="*/ 920346 h 969327"/>
                <a:gd name="connsiteX4" fmla="*/ 335334 w 956831"/>
                <a:gd name="connsiteY4" fmla="*/ 871365 h 969327"/>
                <a:gd name="connsiteX5" fmla="*/ 477124 w 956831"/>
                <a:gd name="connsiteY5" fmla="*/ 871365 h 969327"/>
                <a:gd name="connsiteX6" fmla="*/ 523532 w 956831"/>
                <a:gd name="connsiteY6" fmla="*/ 920346 h 969327"/>
                <a:gd name="connsiteX7" fmla="*/ 474547 w 956831"/>
                <a:gd name="connsiteY7" fmla="*/ 969327 h 969327"/>
                <a:gd name="connsiteX8" fmla="*/ 428143 w 956831"/>
                <a:gd name="connsiteY8" fmla="*/ 920346 h 969327"/>
                <a:gd name="connsiteX9" fmla="*/ 477124 w 956831"/>
                <a:gd name="connsiteY9" fmla="*/ 871365 h 969327"/>
                <a:gd name="connsiteX10" fmla="*/ 190968 w 956831"/>
                <a:gd name="connsiteY10" fmla="*/ 868784 h 969327"/>
                <a:gd name="connsiteX11" fmla="*/ 237376 w 956831"/>
                <a:gd name="connsiteY11" fmla="*/ 917765 h 969327"/>
                <a:gd name="connsiteX12" fmla="*/ 188391 w 956831"/>
                <a:gd name="connsiteY12" fmla="*/ 966746 h 969327"/>
                <a:gd name="connsiteX13" fmla="*/ 141987 w 956831"/>
                <a:gd name="connsiteY13" fmla="*/ 917765 h 969327"/>
                <a:gd name="connsiteX14" fmla="*/ 190968 w 956831"/>
                <a:gd name="connsiteY14" fmla="*/ 868784 h 969327"/>
                <a:gd name="connsiteX15" fmla="*/ 49177 w 956831"/>
                <a:gd name="connsiteY15" fmla="*/ 868784 h 969327"/>
                <a:gd name="connsiteX16" fmla="*/ 95585 w 956831"/>
                <a:gd name="connsiteY16" fmla="*/ 917765 h 969327"/>
                <a:gd name="connsiteX17" fmla="*/ 46600 w 956831"/>
                <a:gd name="connsiteY17" fmla="*/ 966746 h 969327"/>
                <a:gd name="connsiteX18" fmla="*/ 196 w 956831"/>
                <a:gd name="connsiteY18" fmla="*/ 917765 h 969327"/>
                <a:gd name="connsiteX19" fmla="*/ 49177 w 956831"/>
                <a:gd name="connsiteY19" fmla="*/ 868784 h 969327"/>
                <a:gd name="connsiteX20" fmla="*/ 618916 w 956831"/>
                <a:gd name="connsiteY20" fmla="*/ 721841 h 969327"/>
                <a:gd name="connsiteX21" fmla="*/ 665324 w 956831"/>
                <a:gd name="connsiteY21" fmla="*/ 770822 h 969327"/>
                <a:gd name="connsiteX22" fmla="*/ 616339 w 956831"/>
                <a:gd name="connsiteY22" fmla="*/ 819807 h 969327"/>
                <a:gd name="connsiteX23" fmla="*/ 569935 w 956831"/>
                <a:gd name="connsiteY23" fmla="*/ 770822 h 969327"/>
                <a:gd name="connsiteX24" fmla="*/ 618916 w 956831"/>
                <a:gd name="connsiteY24" fmla="*/ 721841 h 969327"/>
                <a:gd name="connsiteX25" fmla="*/ 477125 w 956831"/>
                <a:gd name="connsiteY25" fmla="*/ 721841 h 969327"/>
                <a:gd name="connsiteX26" fmla="*/ 523532 w 956831"/>
                <a:gd name="connsiteY26" fmla="*/ 770822 h 969327"/>
                <a:gd name="connsiteX27" fmla="*/ 474547 w 956831"/>
                <a:gd name="connsiteY27" fmla="*/ 819807 h 969327"/>
                <a:gd name="connsiteX28" fmla="*/ 428144 w 956831"/>
                <a:gd name="connsiteY28" fmla="*/ 770822 h 969327"/>
                <a:gd name="connsiteX29" fmla="*/ 477125 w 956831"/>
                <a:gd name="connsiteY29" fmla="*/ 721841 h 969327"/>
                <a:gd name="connsiteX30" fmla="*/ 335337 w 956831"/>
                <a:gd name="connsiteY30" fmla="*/ 721841 h 969327"/>
                <a:gd name="connsiteX31" fmla="*/ 381740 w 956831"/>
                <a:gd name="connsiteY31" fmla="*/ 770822 h 969327"/>
                <a:gd name="connsiteX32" fmla="*/ 332759 w 956831"/>
                <a:gd name="connsiteY32" fmla="*/ 819807 h 969327"/>
                <a:gd name="connsiteX33" fmla="*/ 286356 w 956831"/>
                <a:gd name="connsiteY33" fmla="*/ 770822 h 969327"/>
                <a:gd name="connsiteX34" fmla="*/ 335337 w 956831"/>
                <a:gd name="connsiteY34" fmla="*/ 721841 h 969327"/>
                <a:gd name="connsiteX35" fmla="*/ 190968 w 956831"/>
                <a:gd name="connsiteY35" fmla="*/ 721840 h 969327"/>
                <a:gd name="connsiteX36" fmla="*/ 237371 w 956831"/>
                <a:gd name="connsiteY36" fmla="*/ 770821 h 969327"/>
                <a:gd name="connsiteX37" fmla="*/ 188390 w 956831"/>
                <a:gd name="connsiteY37" fmla="*/ 819806 h 969327"/>
                <a:gd name="connsiteX38" fmla="*/ 141987 w 956831"/>
                <a:gd name="connsiteY38" fmla="*/ 770821 h 969327"/>
                <a:gd name="connsiteX39" fmla="*/ 190968 w 956831"/>
                <a:gd name="connsiteY39" fmla="*/ 721840 h 969327"/>
                <a:gd name="connsiteX40" fmla="*/ 768440 w 956831"/>
                <a:gd name="connsiteY40" fmla="*/ 580050 h 969327"/>
                <a:gd name="connsiteX41" fmla="*/ 814843 w 956831"/>
                <a:gd name="connsiteY41" fmla="*/ 629031 h 969327"/>
                <a:gd name="connsiteX42" fmla="*/ 765862 w 956831"/>
                <a:gd name="connsiteY42" fmla="*/ 678012 h 969327"/>
                <a:gd name="connsiteX43" fmla="*/ 719459 w 956831"/>
                <a:gd name="connsiteY43" fmla="*/ 629031 h 969327"/>
                <a:gd name="connsiteX44" fmla="*/ 768440 w 956831"/>
                <a:gd name="connsiteY44" fmla="*/ 580050 h 969327"/>
                <a:gd name="connsiteX45" fmla="*/ 618916 w 956831"/>
                <a:gd name="connsiteY45" fmla="*/ 577472 h 969327"/>
                <a:gd name="connsiteX46" fmla="*/ 665324 w 956831"/>
                <a:gd name="connsiteY46" fmla="*/ 626453 h 969327"/>
                <a:gd name="connsiteX47" fmla="*/ 616339 w 956831"/>
                <a:gd name="connsiteY47" fmla="*/ 675434 h 969327"/>
                <a:gd name="connsiteX48" fmla="*/ 569935 w 956831"/>
                <a:gd name="connsiteY48" fmla="*/ 626453 h 969327"/>
                <a:gd name="connsiteX49" fmla="*/ 618916 w 956831"/>
                <a:gd name="connsiteY49" fmla="*/ 577472 h 969327"/>
                <a:gd name="connsiteX50" fmla="*/ 477124 w 956831"/>
                <a:gd name="connsiteY50" fmla="*/ 577472 h 969327"/>
                <a:gd name="connsiteX51" fmla="*/ 523532 w 956831"/>
                <a:gd name="connsiteY51" fmla="*/ 626453 h 969327"/>
                <a:gd name="connsiteX52" fmla="*/ 474547 w 956831"/>
                <a:gd name="connsiteY52" fmla="*/ 675434 h 969327"/>
                <a:gd name="connsiteX53" fmla="*/ 428143 w 956831"/>
                <a:gd name="connsiteY53" fmla="*/ 626453 h 969327"/>
                <a:gd name="connsiteX54" fmla="*/ 477124 w 956831"/>
                <a:gd name="connsiteY54" fmla="*/ 577472 h 969327"/>
                <a:gd name="connsiteX55" fmla="*/ 335333 w 956831"/>
                <a:gd name="connsiteY55" fmla="*/ 577472 h 969327"/>
                <a:gd name="connsiteX56" fmla="*/ 381741 w 956831"/>
                <a:gd name="connsiteY56" fmla="*/ 626453 h 969327"/>
                <a:gd name="connsiteX57" fmla="*/ 332756 w 956831"/>
                <a:gd name="connsiteY57" fmla="*/ 675434 h 969327"/>
                <a:gd name="connsiteX58" fmla="*/ 286352 w 956831"/>
                <a:gd name="connsiteY58" fmla="*/ 626453 h 969327"/>
                <a:gd name="connsiteX59" fmla="*/ 335333 w 956831"/>
                <a:gd name="connsiteY59" fmla="*/ 577472 h 969327"/>
                <a:gd name="connsiteX60" fmla="*/ 910227 w 956831"/>
                <a:gd name="connsiteY60" fmla="*/ 433103 h 969327"/>
                <a:gd name="connsiteX61" fmla="*/ 956635 w 956831"/>
                <a:gd name="connsiteY61" fmla="*/ 482084 h 969327"/>
                <a:gd name="connsiteX62" fmla="*/ 907653 w 956831"/>
                <a:gd name="connsiteY62" fmla="*/ 531069 h 969327"/>
                <a:gd name="connsiteX63" fmla="*/ 861246 w 956831"/>
                <a:gd name="connsiteY63" fmla="*/ 482084 h 969327"/>
                <a:gd name="connsiteX64" fmla="*/ 910227 w 956831"/>
                <a:gd name="connsiteY64" fmla="*/ 433103 h 969327"/>
                <a:gd name="connsiteX65" fmla="*/ 768440 w 956831"/>
                <a:gd name="connsiteY65" fmla="*/ 433103 h 969327"/>
                <a:gd name="connsiteX66" fmla="*/ 814848 w 956831"/>
                <a:gd name="connsiteY66" fmla="*/ 482084 h 969327"/>
                <a:gd name="connsiteX67" fmla="*/ 765866 w 956831"/>
                <a:gd name="connsiteY67" fmla="*/ 531069 h 969327"/>
                <a:gd name="connsiteX68" fmla="*/ 719459 w 956831"/>
                <a:gd name="connsiteY68" fmla="*/ 482084 h 969327"/>
                <a:gd name="connsiteX69" fmla="*/ 768440 w 956831"/>
                <a:gd name="connsiteY69" fmla="*/ 433103 h 969327"/>
                <a:gd name="connsiteX70" fmla="*/ 621494 w 956831"/>
                <a:gd name="connsiteY70" fmla="*/ 433103 h 969327"/>
                <a:gd name="connsiteX71" fmla="*/ 667898 w 956831"/>
                <a:gd name="connsiteY71" fmla="*/ 482084 h 969327"/>
                <a:gd name="connsiteX72" fmla="*/ 618916 w 956831"/>
                <a:gd name="connsiteY72" fmla="*/ 531069 h 969327"/>
                <a:gd name="connsiteX73" fmla="*/ 572513 w 956831"/>
                <a:gd name="connsiteY73" fmla="*/ 482084 h 969327"/>
                <a:gd name="connsiteX74" fmla="*/ 621494 w 956831"/>
                <a:gd name="connsiteY74" fmla="*/ 433103 h 969327"/>
                <a:gd name="connsiteX75" fmla="*/ 479702 w 956831"/>
                <a:gd name="connsiteY75" fmla="*/ 433103 h 969327"/>
                <a:gd name="connsiteX76" fmla="*/ 526106 w 956831"/>
                <a:gd name="connsiteY76" fmla="*/ 482084 h 969327"/>
                <a:gd name="connsiteX77" fmla="*/ 477125 w 956831"/>
                <a:gd name="connsiteY77" fmla="*/ 531069 h 969327"/>
                <a:gd name="connsiteX78" fmla="*/ 430721 w 956831"/>
                <a:gd name="connsiteY78" fmla="*/ 482084 h 969327"/>
                <a:gd name="connsiteX79" fmla="*/ 479702 w 956831"/>
                <a:gd name="connsiteY79" fmla="*/ 433103 h 969327"/>
                <a:gd name="connsiteX80" fmla="*/ 768440 w 956831"/>
                <a:gd name="connsiteY80" fmla="*/ 291312 h 969327"/>
                <a:gd name="connsiteX81" fmla="*/ 814848 w 956831"/>
                <a:gd name="connsiteY81" fmla="*/ 340293 h 969327"/>
                <a:gd name="connsiteX82" fmla="*/ 765866 w 956831"/>
                <a:gd name="connsiteY82" fmla="*/ 389278 h 969327"/>
                <a:gd name="connsiteX83" fmla="*/ 719459 w 956831"/>
                <a:gd name="connsiteY83" fmla="*/ 340293 h 969327"/>
                <a:gd name="connsiteX84" fmla="*/ 768440 w 956831"/>
                <a:gd name="connsiteY84" fmla="*/ 291312 h 969327"/>
                <a:gd name="connsiteX85" fmla="*/ 621493 w 956831"/>
                <a:gd name="connsiteY85" fmla="*/ 288734 h 969327"/>
                <a:gd name="connsiteX86" fmla="*/ 667897 w 956831"/>
                <a:gd name="connsiteY86" fmla="*/ 337715 h 969327"/>
                <a:gd name="connsiteX87" fmla="*/ 618916 w 956831"/>
                <a:gd name="connsiteY87" fmla="*/ 386700 h 969327"/>
                <a:gd name="connsiteX88" fmla="*/ 572512 w 956831"/>
                <a:gd name="connsiteY88" fmla="*/ 337715 h 969327"/>
                <a:gd name="connsiteX89" fmla="*/ 621493 w 956831"/>
                <a:gd name="connsiteY89" fmla="*/ 288734 h 969327"/>
                <a:gd name="connsiteX90" fmla="*/ 479702 w 956831"/>
                <a:gd name="connsiteY90" fmla="*/ 288734 h 969327"/>
                <a:gd name="connsiteX91" fmla="*/ 526106 w 956831"/>
                <a:gd name="connsiteY91" fmla="*/ 337715 h 969327"/>
                <a:gd name="connsiteX92" fmla="*/ 477125 w 956831"/>
                <a:gd name="connsiteY92" fmla="*/ 386700 h 969327"/>
                <a:gd name="connsiteX93" fmla="*/ 430721 w 956831"/>
                <a:gd name="connsiteY93" fmla="*/ 337715 h 969327"/>
                <a:gd name="connsiteX94" fmla="*/ 479702 w 956831"/>
                <a:gd name="connsiteY94" fmla="*/ 288734 h 969327"/>
                <a:gd name="connsiteX95" fmla="*/ 337911 w 956831"/>
                <a:gd name="connsiteY95" fmla="*/ 288734 h 969327"/>
                <a:gd name="connsiteX96" fmla="*/ 384315 w 956831"/>
                <a:gd name="connsiteY96" fmla="*/ 337715 h 969327"/>
                <a:gd name="connsiteX97" fmla="*/ 335334 w 956831"/>
                <a:gd name="connsiteY97" fmla="*/ 386700 h 969327"/>
                <a:gd name="connsiteX98" fmla="*/ 288930 w 956831"/>
                <a:gd name="connsiteY98" fmla="*/ 337715 h 969327"/>
                <a:gd name="connsiteX99" fmla="*/ 337911 w 956831"/>
                <a:gd name="connsiteY99" fmla="*/ 288734 h 969327"/>
                <a:gd name="connsiteX100" fmla="*/ 621493 w 956831"/>
                <a:gd name="connsiteY100" fmla="*/ 146943 h 969327"/>
                <a:gd name="connsiteX101" fmla="*/ 667897 w 956831"/>
                <a:gd name="connsiteY101" fmla="*/ 195924 h 969327"/>
                <a:gd name="connsiteX102" fmla="*/ 618916 w 956831"/>
                <a:gd name="connsiteY102" fmla="*/ 244909 h 969327"/>
                <a:gd name="connsiteX103" fmla="*/ 572512 w 956831"/>
                <a:gd name="connsiteY103" fmla="*/ 195924 h 969327"/>
                <a:gd name="connsiteX104" fmla="*/ 621493 w 956831"/>
                <a:gd name="connsiteY104" fmla="*/ 146943 h 969327"/>
                <a:gd name="connsiteX105" fmla="*/ 479702 w 956831"/>
                <a:gd name="connsiteY105" fmla="*/ 146943 h 969327"/>
                <a:gd name="connsiteX106" fmla="*/ 526106 w 956831"/>
                <a:gd name="connsiteY106" fmla="*/ 195924 h 969327"/>
                <a:gd name="connsiteX107" fmla="*/ 477125 w 956831"/>
                <a:gd name="connsiteY107" fmla="*/ 244909 h 969327"/>
                <a:gd name="connsiteX108" fmla="*/ 430721 w 956831"/>
                <a:gd name="connsiteY108" fmla="*/ 195924 h 969327"/>
                <a:gd name="connsiteX109" fmla="*/ 479702 w 956831"/>
                <a:gd name="connsiteY109" fmla="*/ 146943 h 969327"/>
                <a:gd name="connsiteX110" fmla="*/ 337915 w 956831"/>
                <a:gd name="connsiteY110" fmla="*/ 146943 h 969327"/>
                <a:gd name="connsiteX111" fmla="*/ 384319 w 956831"/>
                <a:gd name="connsiteY111" fmla="*/ 195924 h 969327"/>
                <a:gd name="connsiteX112" fmla="*/ 335337 w 956831"/>
                <a:gd name="connsiteY112" fmla="*/ 244909 h 969327"/>
                <a:gd name="connsiteX113" fmla="*/ 288934 w 956831"/>
                <a:gd name="connsiteY113" fmla="*/ 195924 h 969327"/>
                <a:gd name="connsiteX114" fmla="*/ 337915 w 956831"/>
                <a:gd name="connsiteY114" fmla="*/ 146943 h 969327"/>
                <a:gd name="connsiteX115" fmla="*/ 193542 w 956831"/>
                <a:gd name="connsiteY115" fmla="*/ 144369 h 969327"/>
                <a:gd name="connsiteX116" fmla="*/ 239950 w 956831"/>
                <a:gd name="connsiteY116" fmla="*/ 193350 h 969327"/>
                <a:gd name="connsiteX117" fmla="*/ 190965 w 956831"/>
                <a:gd name="connsiteY117" fmla="*/ 242331 h 969327"/>
                <a:gd name="connsiteX118" fmla="*/ 144561 w 956831"/>
                <a:gd name="connsiteY118" fmla="*/ 193350 h 969327"/>
                <a:gd name="connsiteX119" fmla="*/ 193542 w 956831"/>
                <a:gd name="connsiteY119" fmla="*/ 144369 h 969327"/>
                <a:gd name="connsiteX120" fmla="*/ 479706 w 956831"/>
                <a:gd name="connsiteY120" fmla="*/ 0 h 969327"/>
                <a:gd name="connsiteX121" fmla="*/ 526110 w 956831"/>
                <a:gd name="connsiteY121" fmla="*/ 48981 h 969327"/>
                <a:gd name="connsiteX122" fmla="*/ 477128 w 956831"/>
                <a:gd name="connsiteY122" fmla="*/ 97962 h 969327"/>
                <a:gd name="connsiteX123" fmla="*/ 430725 w 956831"/>
                <a:gd name="connsiteY123" fmla="*/ 48981 h 969327"/>
                <a:gd name="connsiteX124" fmla="*/ 479706 w 956831"/>
                <a:gd name="connsiteY124" fmla="*/ 0 h 969327"/>
                <a:gd name="connsiteX125" fmla="*/ 337911 w 956831"/>
                <a:gd name="connsiteY125" fmla="*/ 0 h 969327"/>
                <a:gd name="connsiteX126" fmla="*/ 384315 w 956831"/>
                <a:gd name="connsiteY126" fmla="*/ 48981 h 969327"/>
                <a:gd name="connsiteX127" fmla="*/ 335334 w 956831"/>
                <a:gd name="connsiteY127" fmla="*/ 97962 h 969327"/>
                <a:gd name="connsiteX128" fmla="*/ 288930 w 956831"/>
                <a:gd name="connsiteY128" fmla="*/ 48981 h 969327"/>
                <a:gd name="connsiteX129" fmla="*/ 337911 w 956831"/>
                <a:gd name="connsiteY129" fmla="*/ 0 h 969327"/>
                <a:gd name="connsiteX130" fmla="*/ 193542 w 956831"/>
                <a:gd name="connsiteY130" fmla="*/ 0 h 969327"/>
                <a:gd name="connsiteX131" fmla="*/ 239950 w 956831"/>
                <a:gd name="connsiteY131" fmla="*/ 48981 h 969327"/>
                <a:gd name="connsiteX132" fmla="*/ 190965 w 956831"/>
                <a:gd name="connsiteY132" fmla="*/ 97962 h 969327"/>
                <a:gd name="connsiteX133" fmla="*/ 144561 w 956831"/>
                <a:gd name="connsiteY133" fmla="*/ 48981 h 969327"/>
                <a:gd name="connsiteX134" fmla="*/ 193542 w 956831"/>
                <a:gd name="connsiteY134" fmla="*/ 0 h 969327"/>
                <a:gd name="connsiteX135" fmla="*/ 51755 w 956831"/>
                <a:gd name="connsiteY135" fmla="*/ 0 h 969327"/>
                <a:gd name="connsiteX136" fmla="*/ 98163 w 956831"/>
                <a:gd name="connsiteY136" fmla="*/ 48981 h 969327"/>
                <a:gd name="connsiteX137" fmla="*/ 49178 w 956831"/>
                <a:gd name="connsiteY137" fmla="*/ 97962 h 969327"/>
                <a:gd name="connsiteX138" fmla="*/ 2774 w 956831"/>
                <a:gd name="connsiteY138" fmla="*/ 48981 h 969327"/>
                <a:gd name="connsiteX139" fmla="*/ 51755 w 956831"/>
                <a:gd name="connsiteY139" fmla="*/ 0 h 969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956831" h="969327">
                  <a:moveTo>
                    <a:pt x="335334" y="871365"/>
                  </a:moveTo>
                  <a:cubicBezTo>
                    <a:pt x="361115" y="871365"/>
                    <a:pt x="384314" y="891987"/>
                    <a:pt x="381741" y="920346"/>
                  </a:cubicBezTo>
                  <a:cubicBezTo>
                    <a:pt x="381741" y="946127"/>
                    <a:pt x="361115" y="969327"/>
                    <a:pt x="332756" y="969327"/>
                  </a:cubicBezTo>
                  <a:cubicBezTo>
                    <a:pt x="306975" y="969327"/>
                    <a:pt x="286353" y="948705"/>
                    <a:pt x="286353" y="920346"/>
                  </a:cubicBezTo>
                  <a:cubicBezTo>
                    <a:pt x="286353" y="891987"/>
                    <a:pt x="309556" y="868788"/>
                    <a:pt x="335334" y="871365"/>
                  </a:cubicBezTo>
                  <a:close/>
                  <a:moveTo>
                    <a:pt x="477124" y="871365"/>
                  </a:moveTo>
                  <a:cubicBezTo>
                    <a:pt x="502906" y="871365"/>
                    <a:pt x="526106" y="891987"/>
                    <a:pt x="523532" y="920346"/>
                  </a:cubicBezTo>
                  <a:cubicBezTo>
                    <a:pt x="520954" y="948705"/>
                    <a:pt x="502906" y="969327"/>
                    <a:pt x="474547" y="969327"/>
                  </a:cubicBezTo>
                  <a:cubicBezTo>
                    <a:pt x="448765" y="969327"/>
                    <a:pt x="425566" y="948705"/>
                    <a:pt x="428143" y="920346"/>
                  </a:cubicBezTo>
                  <a:cubicBezTo>
                    <a:pt x="430721" y="891987"/>
                    <a:pt x="451347" y="871365"/>
                    <a:pt x="477124" y="871365"/>
                  </a:cubicBezTo>
                  <a:close/>
                  <a:moveTo>
                    <a:pt x="190968" y="868784"/>
                  </a:moveTo>
                  <a:cubicBezTo>
                    <a:pt x="216750" y="868784"/>
                    <a:pt x="239953" y="889406"/>
                    <a:pt x="237376" y="917765"/>
                  </a:cubicBezTo>
                  <a:cubicBezTo>
                    <a:pt x="237376" y="943546"/>
                    <a:pt x="216750" y="966746"/>
                    <a:pt x="188391" y="966746"/>
                  </a:cubicBezTo>
                  <a:cubicBezTo>
                    <a:pt x="162613" y="966746"/>
                    <a:pt x="139410" y="946124"/>
                    <a:pt x="141987" y="917765"/>
                  </a:cubicBezTo>
                  <a:cubicBezTo>
                    <a:pt x="141987" y="891988"/>
                    <a:pt x="165187" y="868784"/>
                    <a:pt x="190968" y="868784"/>
                  </a:cubicBezTo>
                  <a:close/>
                  <a:moveTo>
                    <a:pt x="49177" y="868784"/>
                  </a:moveTo>
                  <a:cubicBezTo>
                    <a:pt x="74959" y="868784"/>
                    <a:pt x="98162" y="889406"/>
                    <a:pt x="95585" y="917765"/>
                  </a:cubicBezTo>
                  <a:cubicBezTo>
                    <a:pt x="93003" y="946124"/>
                    <a:pt x="74959" y="966746"/>
                    <a:pt x="46600" y="966746"/>
                  </a:cubicBezTo>
                  <a:cubicBezTo>
                    <a:pt x="20822" y="966746"/>
                    <a:pt x="-2381" y="946124"/>
                    <a:pt x="196" y="917765"/>
                  </a:cubicBezTo>
                  <a:cubicBezTo>
                    <a:pt x="196" y="889406"/>
                    <a:pt x="23396" y="868784"/>
                    <a:pt x="49177" y="868784"/>
                  </a:cubicBezTo>
                  <a:close/>
                  <a:moveTo>
                    <a:pt x="618916" y="721841"/>
                  </a:moveTo>
                  <a:cubicBezTo>
                    <a:pt x="644698" y="721841"/>
                    <a:pt x="667898" y="742463"/>
                    <a:pt x="665324" y="770822"/>
                  </a:cubicBezTo>
                  <a:cubicBezTo>
                    <a:pt x="665324" y="796603"/>
                    <a:pt x="644698" y="819807"/>
                    <a:pt x="616339" y="819807"/>
                  </a:cubicBezTo>
                  <a:cubicBezTo>
                    <a:pt x="590557" y="819807"/>
                    <a:pt x="567358" y="799181"/>
                    <a:pt x="569935" y="770822"/>
                  </a:cubicBezTo>
                  <a:cubicBezTo>
                    <a:pt x="572513" y="742463"/>
                    <a:pt x="593139" y="721841"/>
                    <a:pt x="618916" y="721841"/>
                  </a:cubicBezTo>
                  <a:close/>
                  <a:moveTo>
                    <a:pt x="477125" y="721841"/>
                  </a:moveTo>
                  <a:cubicBezTo>
                    <a:pt x="502906" y="721841"/>
                    <a:pt x="526105" y="742463"/>
                    <a:pt x="523532" y="770822"/>
                  </a:cubicBezTo>
                  <a:cubicBezTo>
                    <a:pt x="523532" y="796603"/>
                    <a:pt x="502906" y="819807"/>
                    <a:pt x="474547" y="819807"/>
                  </a:cubicBezTo>
                  <a:cubicBezTo>
                    <a:pt x="448766" y="819807"/>
                    <a:pt x="428144" y="799181"/>
                    <a:pt x="428144" y="770822"/>
                  </a:cubicBezTo>
                  <a:cubicBezTo>
                    <a:pt x="430722" y="742463"/>
                    <a:pt x="451347" y="721841"/>
                    <a:pt x="477125" y="721841"/>
                  </a:cubicBezTo>
                  <a:close/>
                  <a:moveTo>
                    <a:pt x="335337" y="721841"/>
                  </a:moveTo>
                  <a:cubicBezTo>
                    <a:pt x="361118" y="721841"/>
                    <a:pt x="384317" y="742463"/>
                    <a:pt x="381740" y="770822"/>
                  </a:cubicBezTo>
                  <a:cubicBezTo>
                    <a:pt x="381740" y="796603"/>
                    <a:pt x="361118" y="819807"/>
                    <a:pt x="332759" y="819807"/>
                  </a:cubicBezTo>
                  <a:cubicBezTo>
                    <a:pt x="304400" y="819807"/>
                    <a:pt x="283778" y="799181"/>
                    <a:pt x="286356" y="770822"/>
                  </a:cubicBezTo>
                  <a:cubicBezTo>
                    <a:pt x="288934" y="742463"/>
                    <a:pt x="309556" y="721841"/>
                    <a:pt x="335337" y="721841"/>
                  </a:cubicBezTo>
                  <a:close/>
                  <a:moveTo>
                    <a:pt x="190968" y="721840"/>
                  </a:moveTo>
                  <a:cubicBezTo>
                    <a:pt x="216745" y="721840"/>
                    <a:pt x="239948" y="742462"/>
                    <a:pt x="237371" y="770821"/>
                  </a:cubicBezTo>
                  <a:cubicBezTo>
                    <a:pt x="237371" y="796602"/>
                    <a:pt x="216745" y="819806"/>
                    <a:pt x="188390" y="819806"/>
                  </a:cubicBezTo>
                  <a:cubicBezTo>
                    <a:pt x="160031" y="819806"/>
                    <a:pt x="139405" y="799180"/>
                    <a:pt x="141987" y="770821"/>
                  </a:cubicBezTo>
                  <a:cubicBezTo>
                    <a:pt x="141987" y="742462"/>
                    <a:pt x="165187" y="719263"/>
                    <a:pt x="190968" y="721840"/>
                  </a:cubicBezTo>
                  <a:close/>
                  <a:moveTo>
                    <a:pt x="768440" y="580050"/>
                  </a:moveTo>
                  <a:cubicBezTo>
                    <a:pt x="794221" y="580050"/>
                    <a:pt x="817424" y="600672"/>
                    <a:pt x="814843" y="629031"/>
                  </a:cubicBezTo>
                  <a:cubicBezTo>
                    <a:pt x="814843" y="654812"/>
                    <a:pt x="794221" y="678012"/>
                    <a:pt x="765862" y="678012"/>
                  </a:cubicBezTo>
                  <a:cubicBezTo>
                    <a:pt x="737503" y="678012"/>
                    <a:pt x="716881" y="657390"/>
                    <a:pt x="719459" y="629031"/>
                  </a:cubicBezTo>
                  <a:cubicBezTo>
                    <a:pt x="719459" y="600672"/>
                    <a:pt x="742659" y="580050"/>
                    <a:pt x="768440" y="580050"/>
                  </a:cubicBezTo>
                  <a:close/>
                  <a:moveTo>
                    <a:pt x="618916" y="577472"/>
                  </a:moveTo>
                  <a:cubicBezTo>
                    <a:pt x="644698" y="577472"/>
                    <a:pt x="667898" y="598094"/>
                    <a:pt x="665324" y="626453"/>
                  </a:cubicBezTo>
                  <a:cubicBezTo>
                    <a:pt x="665324" y="652234"/>
                    <a:pt x="644698" y="675434"/>
                    <a:pt x="616339" y="675434"/>
                  </a:cubicBezTo>
                  <a:cubicBezTo>
                    <a:pt x="590557" y="675434"/>
                    <a:pt x="567358" y="654812"/>
                    <a:pt x="569935" y="626453"/>
                  </a:cubicBezTo>
                  <a:cubicBezTo>
                    <a:pt x="572513" y="600676"/>
                    <a:pt x="593139" y="577472"/>
                    <a:pt x="618916" y="577472"/>
                  </a:cubicBezTo>
                  <a:close/>
                  <a:moveTo>
                    <a:pt x="477124" y="577472"/>
                  </a:moveTo>
                  <a:cubicBezTo>
                    <a:pt x="502906" y="577472"/>
                    <a:pt x="526106" y="598094"/>
                    <a:pt x="523532" y="626453"/>
                  </a:cubicBezTo>
                  <a:cubicBezTo>
                    <a:pt x="523532" y="652234"/>
                    <a:pt x="502906" y="675434"/>
                    <a:pt x="474547" y="675434"/>
                  </a:cubicBezTo>
                  <a:cubicBezTo>
                    <a:pt x="448765" y="675434"/>
                    <a:pt x="425566" y="654812"/>
                    <a:pt x="428143" y="626453"/>
                  </a:cubicBezTo>
                  <a:cubicBezTo>
                    <a:pt x="430721" y="600676"/>
                    <a:pt x="451347" y="577472"/>
                    <a:pt x="477124" y="577472"/>
                  </a:cubicBezTo>
                  <a:close/>
                  <a:moveTo>
                    <a:pt x="335333" y="577472"/>
                  </a:moveTo>
                  <a:cubicBezTo>
                    <a:pt x="361115" y="577472"/>
                    <a:pt x="384314" y="598094"/>
                    <a:pt x="381741" y="626453"/>
                  </a:cubicBezTo>
                  <a:cubicBezTo>
                    <a:pt x="381741" y="652234"/>
                    <a:pt x="361115" y="675434"/>
                    <a:pt x="332756" y="675434"/>
                  </a:cubicBezTo>
                  <a:cubicBezTo>
                    <a:pt x="306974" y="675434"/>
                    <a:pt x="283775" y="654812"/>
                    <a:pt x="286352" y="626453"/>
                  </a:cubicBezTo>
                  <a:cubicBezTo>
                    <a:pt x="288930" y="598094"/>
                    <a:pt x="309556" y="577472"/>
                    <a:pt x="335333" y="577472"/>
                  </a:cubicBezTo>
                  <a:close/>
                  <a:moveTo>
                    <a:pt x="910227" y="433103"/>
                  </a:moveTo>
                  <a:cubicBezTo>
                    <a:pt x="936009" y="433103"/>
                    <a:pt x="959212" y="453729"/>
                    <a:pt x="956635" y="482084"/>
                  </a:cubicBezTo>
                  <a:cubicBezTo>
                    <a:pt x="956635" y="507865"/>
                    <a:pt x="936009" y="531069"/>
                    <a:pt x="907653" y="531069"/>
                  </a:cubicBezTo>
                  <a:cubicBezTo>
                    <a:pt x="881872" y="531069"/>
                    <a:pt x="858669" y="510443"/>
                    <a:pt x="861246" y="482084"/>
                  </a:cubicBezTo>
                  <a:cubicBezTo>
                    <a:pt x="863824" y="453729"/>
                    <a:pt x="884450" y="433103"/>
                    <a:pt x="910227" y="433103"/>
                  </a:cubicBezTo>
                  <a:close/>
                  <a:moveTo>
                    <a:pt x="768440" y="433103"/>
                  </a:moveTo>
                  <a:cubicBezTo>
                    <a:pt x="794222" y="433103"/>
                    <a:pt x="817425" y="453729"/>
                    <a:pt x="814848" y="482084"/>
                  </a:cubicBezTo>
                  <a:cubicBezTo>
                    <a:pt x="814848" y="507865"/>
                    <a:pt x="794222" y="531069"/>
                    <a:pt x="765866" y="531069"/>
                  </a:cubicBezTo>
                  <a:cubicBezTo>
                    <a:pt x="740085" y="531069"/>
                    <a:pt x="716882" y="510443"/>
                    <a:pt x="719459" y="482084"/>
                  </a:cubicBezTo>
                  <a:cubicBezTo>
                    <a:pt x="719459" y="453729"/>
                    <a:pt x="742663" y="433103"/>
                    <a:pt x="768440" y="433103"/>
                  </a:cubicBezTo>
                  <a:close/>
                  <a:moveTo>
                    <a:pt x="621494" y="433103"/>
                  </a:moveTo>
                  <a:cubicBezTo>
                    <a:pt x="647272" y="433103"/>
                    <a:pt x="670475" y="453729"/>
                    <a:pt x="667898" y="482084"/>
                  </a:cubicBezTo>
                  <a:cubicBezTo>
                    <a:pt x="667898" y="507865"/>
                    <a:pt x="647272" y="531069"/>
                    <a:pt x="618916" y="531069"/>
                  </a:cubicBezTo>
                  <a:cubicBezTo>
                    <a:pt x="590557" y="531069"/>
                    <a:pt x="569931" y="510443"/>
                    <a:pt x="572513" y="482084"/>
                  </a:cubicBezTo>
                  <a:cubicBezTo>
                    <a:pt x="572513" y="453729"/>
                    <a:pt x="593135" y="433103"/>
                    <a:pt x="621494" y="433103"/>
                  </a:cubicBezTo>
                  <a:close/>
                  <a:moveTo>
                    <a:pt x="479702" y="433103"/>
                  </a:moveTo>
                  <a:cubicBezTo>
                    <a:pt x="505484" y="433103"/>
                    <a:pt x="528687" y="453729"/>
                    <a:pt x="526106" y="482084"/>
                  </a:cubicBezTo>
                  <a:cubicBezTo>
                    <a:pt x="526106" y="507865"/>
                    <a:pt x="505484" y="531069"/>
                    <a:pt x="477125" y="531069"/>
                  </a:cubicBezTo>
                  <a:cubicBezTo>
                    <a:pt x="451347" y="531069"/>
                    <a:pt x="428144" y="510443"/>
                    <a:pt x="430721" y="482084"/>
                  </a:cubicBezTo>
                  <a:cubicBezTo>
                    <a:pt x="430721" y="453729"/>
                    <a:pt x="451347" y="433103"/>
                    <a:pt x="479702" y="433103"/>
                  </a:cubicBezTo>
                  <a:close/>
                  <a:moveTo>
                    <a:pt x="768440" y="291312"/>
                  </a:moveTo>
                  <a:cubicBezTo>
                    <a:pt x="794222" y="291312"/>
                    <a:pt x="817425" y="311938"/>
                    <a:pt x="814848" y="340293"/>
                  </a:cubicBezTo>
                  <a:cubicBezTo>
                    <a:pt x="814848" y="366074"/>
                    <a:pt x="794222" y="389278"/>
                    <a:pt x="765866" y="389278"/>
                  </a:cubicBezTo>
                  <a:cubicBezTo>
                    <a:pt x="740085" y="389278"/>
                    <a:pt x="716882" y="368652"/>
                    <a:pt x="719459" y="340293"/>
                  </a:cubicBezTo>
                  <a:cubicBezTo>
                    <a:pt x="722037" y="311938"/>
                    <a:pt x="742663" y="288734"/>
                    <a:pt x="768440" y="291312"/>
                  </a:cubicBezTo>
                  <a:close/>
                  <a:moveTo>
                    <a:pt x="621493" y="288734"/>
                  </a:moveTo>
                  <a:cubicBezTo>
                    <a:pt x="647275" y="288734"/>
                    <a:pt x="670478" y="309360"/>
                    <a:pt x="667897" y="337715"/>
                  </a:cubicBezTo>
                  <a:cubicBezTo>
                    <a:pt x="667897" y="363496"/>
                    <a:pt x="647275" y="386700"/>
                    <a:pt x="618916" y="386700"/>
                  </a:cubicBezTo>
                  <a:cubicBezTo>
                    <a:pt x="593138" y="386700"/>
                    <a:pt x="569935" y="366074"/>
                    <a:pt x="572512" y="337715"/>
                  </a:cubicBezTo>
                  <a:cubicBezTo>
                    <a:pt x="572512" y="311937"/>
                    <a:pt x="595712" y="288734"/>
                    <a:pt x="621493" y="288734"/>
                  </a:cubicBezTo>
                  <a:close/>
                  <a:moveTo>
                    <a:pt x="479702" y="288734"/>
                  </a:moveTo>
                  <a:cubicBezTo>
                    <a:pt x="505484" y="288734"/>
                    <a:pt x="528687" y="309360"/>
                    <a:pt x="526106" y="337715"/>
                  </a:cubicBezTo>
                  <a:cubicBezTo>
                    <a:pt x="526106" y="363496"/>
                    <a:pt x="505484" y="386700"/>
                    <a:pt x="477125" y="386700"/>
                  </a:cubicBezTo>
                  <a:cubicBezTo>
                    <a:pt x="451347" y="386700"/>
                    <a:pt x="428144" y="366074"/>
                    <a:pt x="430721" y="337715"/>
                  </a:cubicBezTo>
                  <a:cubicBezTo>
                    <a:pt x="430721" y="309360"/>
                    <a:pt x="453921" y="288734"/>
                    <a:pt x="479702" y="288734"/>
                  </a:cubicBezTo>
                  <a:close/>
                  <a:moveTo>
                    <a:pt x="337911" y="288734"/>
                  </a:moveTo>
                  <a:cubicBezTo>
                    <a:pt x="363693" y="288734"/>
                    <a:pt x="386896" y="309360"/>
                    <a:pt x="384315" y="337715"/>
                  </a:cubicBezTo>
                  <a:cubicBezTo>
                    <a:pt x="384315" y="363496"/>
                    <a:pt x="363693" y="386700"/>
                    <a:pt x="335334" y="386700"/>
                  </a:cubicBezTo>
                  <a:cubicBezTo>
                    <a:pt x="309556" y="386700"/>
                    <a:pt x="286353" y="366074"/>
                    <a:pt x="288930" y="337715"/>
                  </a:cubicBezTo>
                  <a:cubicBezTo>
                    <a:pt x="288930" y="309360"/>
                    <a:pt x="309556" y="288734"/>
                    <a:pt x="337911" y="288734"/>
                  </a:cubicBezTo>
                  <a:close/>
                  <a:moveTo>
                    <a:pt x="621493" y="146943"/>
                  </a:moveTo>
                  <a:cubicBezTo>
                    <a:pt x="647275" y="146943"/>
                    <a:pt x="670478" y="167569"/>
                    <a:pt x="667897" y="195924"/>
                  </a:cubicBezTo>
                  <a:cubicBezTo>
                    <a:pt x="667897" y="221705"/>
                    <a:pt x="647275" y="244909"/>
                    <a:pt x="618916" y="244909"/>
                  </a:cubicBezTo>
                  <a:cubicBezTo>
                    <a:pt x="593138" y="244909"/>
                    <a:pt x="569935" y="224283"/>
                    <a:pt x="572512" y="195924"/>
                  </a:cubicBezTo>
                  <a:cubicBezTo>
                    <a:pt x="572512" y="167569"/>
                    <a:pt x="595712" y="146943"/>
                    <a:pt x="621493" y="146943"/>
                  </a:cubicBezTo>
                  <a:close/>
                  <a:moveTo>
                    <a:pt x="479702" y="146943"/>
                  </a:moveTo>
                  <a:cubicBezTo>
                    <a:pt x="505484" y="146943"/>
                    <a:pt x="528687" y="167569"/>
                    <a:pt x="526106" y="195924"/>
                  </a:cubicBezTo>
                  <a:cubicBezTo>
                    <a:pt x="526106" y="221705"/>
                    <a:pt x="505484" y="244909"/>
                    <a:pt x="477125" y="244909"/>
                  </a:cubicBezTo>
                  <a:cubicBezTo>
                    <a:pt x="451347" y="244909"/>
                    <a:pt x="428144" y="224283"/>
                    <a:pt x="430721" y="195924"/>
                  </a:cubicBezTo>
                  <a:cubicBezTo>
                    <a:pt x="430721" y="167569"/>
                    <a:pt x="453921" y="146943"/>
                    <a:pt x="479702" y="146943"/>
                  </a:cubicBezTo>
                  <a:close/>
                  <a:moveTo>
                    <a:pt x="337915" y="146943"/>
                  </a:moveTo>
                  <a:cubicBezTo>
                    <a:pt x="363693" y="146943"/>
                    <a:pt x="386896" y="167569"/>
                    <a:pt x="384319" y="195924"/>
                  </a:cubicBezTo>
                  <a:cubicBezTo>
                    <a:pt x="384319" y="221705"/>
                    <a:pt x="363693" y="244909"/>
                    <a:pt x="335337" y="244909"/>
                  </a:cubicBezTo>
                  <a:cubicBezTo>
                    <a:pt x="306978" y="244909"/>
                    <a:pt x="286352" y="224283"/>
                    <a:pt x="288934" y="195924"/>
                  </a:cubicBezTo>
                  <a:cubicBezTo>
                    <a:pt x="288934" y="167569"/>
                    <a:pt x="312134" y="146943"/>
                    <a:pt x="337915" y="146943"/>
                  </a:cubicBezTo>
                  <a:close/>
                  <a:moveTo>
                    <a:pt x="193542" y="144369"/>
                  </a:moveTo>
                  <a:cubicBezTo>
                    <a:pt x="219324" y="144369"/>
                    <a:pt x="242524" y="164991"/>
                    <a:pt x="239950" y="193350"/>
                  </a:cubicBezTo>
                  <a:cubicBezTo>
                    <a:pt x="239950" y="219131"/>
                    <a:pt x="219324" y="242331"/>
                    <a:pt x="190965" y="242331"/>
                  </a:cubicBezTo>
                  <a:cubicBezTo>
                    <a:pt x="165183" y="242331"/>
                    <a:pt x="141984" y="221709"/>
                    <a:pt x="144561" y="193350"/>
                  </a:cubicBezTo>
                  <a:cubicBezTo>
                    <a:pt x="144561" y="167572"/>
                    <a:pt x="165183" y="144369"/>
                    <a:pt x="193542" y="144369"/>
                  </a:cubicBezTo>
                  <a:close/>
                  <a:moveTo>
                    <a:pt x="479706" y="0"/>
                  </a:moveTo>
                  <a:cubicBezTo>
                    <a:pt x="505484" y="0"/>
                    <a:pt x="528687" y="20622"/>
                    <a:pt x="526110" y="48981"/>
                  </a:cubicBezTo>
                  <a:cubicBezTo>
                    <a:pt x="526110" y="74762"/>
                    <a:pt x="505484" y="97962"/>
                    <a:pt x="477128" y="97962"/>
                  </a:cubicBezTo>
                  <a:cubicBezTo>
                    <a:pt x="448769" y="97962"/>
                    <a:pt x="428143" y="77340"/>
                    <a:pt x="430725" y="48981"/>
                  </a:cubicBezTo>
                  <a:cubicBezTo>
                    <a:pt x="433303" y="20622"/>
                    <a:pt x="453925" y="0"/>
                    <a:pt x="479706" y="0"/>
                  </a:cubicBezTo>
                  <a:close/>
                  <a:moveTo>
                    <a:pt x="337911" y="0"/>
                  </a:moveTo>
                  <a:cubicBezTo>
                    <a:pt x="363693" y="0"/>
                    <a:pt x="386896" y="20622"/>
                    <a:pt x="384315" y="48981"/>
                  </a:cubicBezTo>
                  <a:cubicBezTo>
                    <a:pt x="384315" y="74762"/>
                    <a:pt x="363693" y="97962"/>
                    <a:pt x="335334" y="97962"/>
                  </a:cubicBezTo>
                  <a:cubicBezTo>
                    <a:pt x="309556" y="97962"/>
                    <a:pt x="286353" y="77340"/>
                    <a:pt x="288930" y="48981"/>
                  </a:cubicBezTo>
                  <a:cubicBezTo>
                    <a:pt x="288930" y="20622"/>
                    <a:pt x="312130" y="0"/>
                    <a:pt x="337911" y="0"/>
                  </a:cubicBezTo>
                  <a:close/>
                  <a:moveTo>
                    <a:pt x="193542" y="0"/>
                  </a:moveTo>
                  <a:cubicBezTo>
                    <a:pt x="219324" y="0"/>
                    <a:pt x="242524" y="20622"/>
                    <a:pt x="239950" y="48981"/>
                  </a:cubicBezTo>
                  <a:cubicBezTo>
                    <a:pt x="239950" y="74762"/>
                    <a:pt x="219324" y="97962"/>
                    <a:pt x="190965" y="97962"/>
                  </a:cubicBezTo>
                  <a:cubicBezTo>
                    <a:pt x="165183" y="97962"/>
                    <a:pt x="141984" y="77340"/>
                    <a:pt x="144561" y="48981"/>
                  </a:cubicBezTo>
                  <a:cubicBezTo>
                    <a:pt x="144561" y="20622"/>
                    <a:pt x="167765" y="0"/>
                    <a:pt x="193542" y="0"/>
                  </a:cubicBezTo>
                  <a:close/>
                  <a:moveTo>
                    <a:pt x="51755" y="0"/>
                  </a:moveTo>
                  <a:cubicBezTo>
                    <a:pt x="77537" y="0"/>
                    <a:pt x="100736" y="20622"/>
                    <a:pt x="98163" y="48981"/>
                  </a:cubicBezTo>
                  <a:cubicBezTo>
                    <a:pt x="98163" y="74762"/>
                    <a:pt x="77537" y="97962"/>
                    <a:pt x="49178" y="97962"/>
                  </a:cubicBezTo>
                  <a:cubicBezTo>
                    <a:pt x="23396" y="97962"/>
                    <a:pt x="197" y="77340"/>
                    <a:pt x="2774" y="48981"/>
                  </a:cubicBezTo>
                  <a:cubicBezTo>
                    <a:pt x="2774" y="20622"/>
                    <a:pt x="25978" y="0"/>
                    <a:pt x="51755" y="0"/>
                  </a:cubicBezTo>
                  <a:close/>
                </a:path>
              </a:pathLst>
            </a:custGeom>
            <a:solidFill>
              <a:schemeClr val="bg1"/>
            </a:solidFill>
            <a:ln w="6825" cap="flat">
              <a:noFill/>
              <a:prstDash val="solid"/>
              <a:miter/>
            </a:ln>
          </p:spPr>
          <p:txBody>
            <a:bodyPr rtlCol="0" anchor="ctr"/>
            <a:lstStyle/>
            <a:p>
              <a:endParaRPr lang="en-US"/>
            </a:p>
          </p:txBody>
        </p:sp>
      </p:grpSp>
    </p:spTree>
    <p:extLst>
      <p:ext uri="{BB962C8B-B14F-4D97-AF65-F5344CB8AC3E}">
        <p14:creationId xmlns:p14="http://schemas.microsoft.com/office/powerpoint/2010/main" val="33695291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1_Default title slide 1">
    <p:bg>
      <p:bgPr>
        <a:gradFill>
          <a:gsLst>
            <a:gs pos="0">
              <a:schemeClr val="bg1"/>
            </a:gs>
            <a:gs pos="41000">
              <a:schemeClr val="bg1"/>
            </a:gs>
            <a:gs pos="63000">
              <a:schemeClr val="bg2"/>
            </a:gs>
          </a:gsLst>
          <a:lin ang="1080000" scaled="0"/>
        </a:gra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B1F511C6-A535-A245-B123-CC04435D2DAF}"/>
              </a:ext>
            </a:extLst>
          </p:cNvPr>
          <p:cNvGrpSpPr/>
          <p:nvPr/>
        </p:nvGrpSpPr>
        <p:grpSpPr>
          <a:xfrm>
            <a:off x="304799" y="0"/>
            <a:ext cx="2427681" cy="1044934"/>
            <a:chOff x="0" y="0"/>
            <a:chExt cx="2447693" cy="1053548"/>
          </a:xfrm>
        </p:grpSpPr>
        <p:sp>
          <p:nvSpPr>
            <p:cNvPr id="8" name="Parallelogram 7">
              <a:extLst>
                <a:ext uri="{FF2B5EF4-FFF2-40B4-BE49-F238E27FC236}">
                  <a16:creationId xmlns:a16="http://schemas.microsoft.com/office/drawing/2014/main" id="{6399281C-FD14-2942-9A9B-13B5E50B7517}"/>
                </a:ext>
              </a:extLst>
            </p:cNvPr>
            <p:cNvSpPr/>
            <p:nvPr/>
          </p:nvSpPr>
          <p:spPr bwMode="auto">
            <a:xfrm>
              <a:off x="0" y="0"/>
              <a:ext cx="2447693" cy="1053548"/>
            </a:xfrm>
            <a:prstGeom prst="parallelogram">
              <a:avLst>
                <a:gd name="adj" fmla="val 0"/>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a:latin typeface="Arial" pitchFamily="124" charset="0"/>
                </a:rPr>
                <a:t>               </a:t>
              </a:r>
            </a:p>
          </p:txBody>
        </p:sp>
        <p:pic>
          <p:nvPicPr>
            <p:cNvPr id="9" name="Picture 8">
              <a:extLst>
                <a:ext uri="{FF2B5EF4-FFF2-40B4-BE49-F238E27FC236}">
                  <a16:creationId xmlns:a16="http://schemas.microsoft.com/office/drawing/2014/main" id="{7D60AD95-BD80-6049-9976-D024EC4ECDE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35820" y="154984"/>
              <a:ext cx="2178058" cy="756021"/>
            </a:xfrm>
            <a:prstGeom prst="rect">
              <a:avLst/>
            </a:prstGeom>
          </p:spPr>
        </p:pic>
      </p:grpSp>
      <p:sp>
        <p:nvSpPr>
          <p:cNvPr id="2" name="Footer Placeholder 1">
            <a:extLst>
              <a:ext uri="{FF2B5EF4-FFF2-40B4-BE49-F238E27FC236}">
                <a16:creationId xmlns:a16="http://schemas.microsoft.com/office/drawing/2014/main" id="{BA129332-E471-D44D-8711-996E85A9EE29}"/>
              </a:ext>
            </a:extLst>
          </p:cNvPr>
          <p:cNvSpPr>
            <a:spLocks noGrp="1"/>
          </p:cNvSpPr>
          <p:nvPr>
            <p:ph type="ftr" sz="quarter" idx="11"/>
          </p:nvPr>
        </p:nvSpPr>
        <p:spPr>
          <a:xfrm>
            <a:off x="304800" y="6553200"/>
            <a:ext cx="5791200" cy="304799"/>
          </a:xfrm>
        </p:spPr>
        <p:txBody>
          <a:bodyPr/>
          <a:lstStyle/>
          <a:p>
            <a:r>
              <a:rPr lang="en-US"/>
              <a:t>Proprietary &amp; Confidential |  authoremail@thermofisher.com | 12-April-2021</a:t>
            </a:r>
          </a:p>
        </p:txBody>
      </p:sp>
      <p:sp>
        <p:nvSpPr>
          <p:cNvPr id="3" name="Slide Number Placeholder 2">
            <a:extLst>
              <a:ext uri="{FF2B5EF4-FFF2-40B4-BE49-F238E27FC236}">
                <a16:creationId xmlns:a16="http://schemas.microsoft.com/office/drawing/2014/main" id="{B4F77913-5D2C-C141-AB22-388096EB8230}"/>
              </a:ext>
            </a:extLst>
          </p:cNvPr>
          <p:cNvSpPr>
            <a:spLocks noGrp="1"/>
          </p:cNvSpPr>
          <p:nvPr>
            <p:ph type="sldNum" sz="quarter" idx="12"/>
          </p:nvPr>
        </p:nvSpPr>
        <p:spPr/>
        <p:txBody>
          <a:bodyPr/>
          <a:lstStyle/>
          <a:p>
            <a:fld id="{89006F1E-66CD-4A4B-9370-B4A3080F0E6C}" type="slidenum">
              <a:rPr lang="en-US" smtClean="0"/>
              <a:pPr/>
              <a:t>‹#›</a:t>
            </a:fld>
            <a:endParaRPr lang="en-US"/>
          </a:p>
        </p:txBody>
      </p:sp>
      <p:sp>
        <p:nvSpPr>
          <p:cNvPr id="15" name="Text Placeholder 15">
            <a:extLst>
              <a:ext uri="{FF2B5EF4-FFF2-40B4-BE49-F238E27FC236}">
                <a16:creationId xmlns:a16="http://schemas.microsoft.com/office/drawing/2014/main" id="{8209BE38-5C75-4E48-AACA-BEDC106131D5}"/>
              </a:ext>
            </a:extLst>
          </p:cNvPr>
          <p:cNvSpPr>
            <a:spLocks noGrp="1"/>
          </p:cNvSpPr>
          <p:nvPr>
            <p:ph type="body" sz="quarter" idx="10" hasCustomPrompt="1"/>
          </p:nvPr>
        </p:nvSpPr>
        <p:spPr>
          <a:xfrm>
            <a:off x="304800" y="5112470"/>
            <a:ext cx="5791199" cy="308120"/>
          </a:xfrm>
          <a:prstGeom prst="rect">
            <a:avLst/>
          </a:prstGeom>
        </p:spPr>
        <p:txBody>
          <a:bodyPr lIns="0" tIns="0" rIns="0" bIns="0" anchor="b"/>
          <a:lstStyle>
            <a:lvl1pPr>
              <a:spcBef>
                <a:spcPts val="0"/>
              </a:spcBef>
              <a:spcAft>
                <a:spcPts val="0"/>
              </a:spcAft>
              <a:buFontTx/>
              <a:buNone/>
              <a:defRPr sz="1600" b="1" baseline="0">
                <a:solidFill>
                  <a:schemeClr val="tx2"/>
                </a:solidFill>
              </a:defRPr>
            </a:lvl1pPr>
            <a:lvl2pPr marL="114300" indent="4763">
              <a:spcAft>
                <a:spcPts val="0"/>
              </a:spcAft>
              <a:buFontTx/>
              <a:buNone/>
              <a:defRPr sz="1400" i="1" baseline="0">
                <a:solidFill>
                  <a:schemeClr val="tx1"/>
                </a:solidFill>
              </a:defRPr>
            </a:lvl2pPr>
          </a:lstStyle>
          <a:p>
            <a:pPr lvl="0"/>
            <a:r>
              <a:rPr lang="en-US"/>
              <a:t>Presenter name [16pt Arial] </a:t>
            </a:r>
          </a:p>
        </p:txBody>
      </p:sp>
      <p:sp>
        <p:nvSpPr>
          <p:cNvPr id="16" name="Title 16">
            <a:extLst>
              <a:ext uri="{FF2B5EF4-FFF2-40B4-BE49-F238E27FC236}">
                <a16:creationId xmlns:a16="http://schemas.microsoft.com/office/drawing/2014/main" id="{B2B8D3D1-6FA6-C04D-951C-FD0E7458C808}"/>
              </a:ext>
            </a:extLst>
          </p:cNvPr>
          <p:cNvSpPr>
            <a:spLocks noGrp="1"/>
          </p:cNvSpPr>
          <p:nvPr>
            <p:ph type="title" hasCustomPrompt="1"/>
          </p:nvPr>
        </p:nvSpPr>
        <p:spPr>
          <a:xfrm>
            <a:off x="304802" y="2576592"/>
            <a:ext cx="5432644" cy="1890510"/>
          </a:xfrm>
          <a:prstGeom prst="rect">
            <a:avLst/>
          </a:prstGeom>
          <a:noFill/>
        </p:spPr>
        <p:txBody>
          <a:bodyPr wrap="square" lIns="0" tIns="91440" rIns="91440" bIns="91440" anchor="b">
            <a:noAutofit/>
          </a:bodyPr>
          <a:lstStyle>
            <a:lvl1pPr>
              <a:lnSpc>
                <a:spcPts val="3100"/>
              </a:lnSpc>
              <a:defRPr sz="2800" b="1">
                <a:solidFill>
                  <a:schemeClr val="accent5"/>
                </a:solidFill>
              </a:defRPr>
            </a:lvl1pPr>
          </a:lstStyle>
          <a:p>
            <a:r>
              <a:rPr lang="en-US"/>
              <a:t>Title [28pt Arial Bold] </a:t>
            </a:r>
          </a:p>
        </p:txBody>
      </p:sp>
      <p:sp>
        <p:nvSpPr>
          <p:cNvPr id="21" name="Text Placeholder 15">
            <a:extLst>
              <a:ext uri="{FF2B5EF4-FFF2-40B4-BE49-F238E27FC236}">
                <a16:creationId xmlns:a16="http://schemas.microsoft.com/office/drawing/2014/main" id="{046B4CC3-134E-7548-B9F5-FA5784CFD5AE}"/>
              </a:ext>
            </a:extLst>
          </p:cNvPr>
          <p:cNvSpPr>
            <a:spLocks noGrp="1"/>
          </p:cNvSpPr>
          <p:nvPr>
            <p:ph type="body" sz="quarter" idx="14" hasCustomPrompt="1"/>
          </p:nvPr>
        </p:nvSpPr>
        <p:spPr>
          <a:xfrm>
            <a:off x="304800" y="5441827"/>
            <a:ext cx="5791199" cy="1097215"/>
          </a:xfrm>
          <a:prstGeom prst="rect">
            <a:avLst/>
          </a:prstGeom>
        </p:spPr>
        <p:txBody>
          <a:bodyPr lIns="0" tIns="0" rIns="0" bIns="0" anchor="t">
            <a:normAutofit/>
          </a:bodyPr>
          <a:lstStyle>
            <a:lvl1pPr marL="179388" marR="0" indent="-179388" algn="l" defTabSz="914400" rtl="0" eaLnBrk="1" fontAlgn="auto" latinLnBrk="0" hangingPunct="1">
              <a:lnSpc>
                <a:spcPct val="120000"/>
              </a:lnSpc>
              <a:spcBef>
                <a:spcPts val="0"/>
              </a:spcBef>
              <a:spcAft>
                <a:spcPts val="0"/>
              </a:spcAft>
              <a:buClr>
                <a:schemeClr val="accent4"/>
              </a:buClr>
              <a:buSzPct val="100000"/>
              <a:buFontTx/>
              <a:buNone/>
              <a:tabLst/>
              <a:defRPr sz="1400" b="0" baseline="0">
                <a:solidFill>
                  <a:schemeClr val="accent5"/>
                </a:solidFill>
              </a:defRPr>
            </a:lvl1pPr>
            <a:lvl2pPr marL="114300" indent="4763">
              <a:spcAft>
                <a:spcPts val="0"/>
              </a:spcAft>
              <a:buFontTx/>
              <a:buNone/>
              <a:defRPr sz="1400" i="1" baseline="0">
                <a:solidFill>
                  <a:schemeClr val="tx1"/>
                </a:solidFill>
              </a:defRPr>
            </a:lvl2pPr>
          </a:lstStyle>
          <a:p>
            <a:pPr marL="411480" marR="0" lvl="0" indent="-411480" algn="l" defTabSz="914400" rtl="0" eaLnBrk="1" fontAlgn="auto" latinLnBrk="0" hangingPunct="1">
              <a:lnSpc>
                <a:spcPct val="120000"/>
              </a:lnSpc>
              <a:spcBef>
                <a:spcPts val="0"/>
              </a:spcBef>
              <a:spcAft>
                <a:spcPts val="0"/>
              </a:spcAft>
              <a:buClr>
                <a:schemeClr val="accent4"/>
              </a:buClr>
              <a:buSzPct val="100000"/>
              <a:buFontTx/>
              <a:buNone/>
              <a:tabLst/>
              <a:defRPr/>
            </a:pPr>
            <a:r>
              <a:rPr lang="en-US"/>
              <a:t>Presenter Title [14pt Arial]</a:t>
            </a:r>
          </a:p>
        </p:txBody>
      </p:sp>
      <p:sp>
        <p:nvSpPr>
          <p:cNvPr id="14" name="Parallelogram 13">
            <a:extLst>
              <a:ext uri="{FF2B5EF4-FFF2-40B4-BE49-F238E27FC236}">
                <a16:creationId xmlns:a16="http://schemas.microsoft.com/office/drawing/2014/main" id="{1A4AC96B-4C9D-40BC-9627-E520D6C1E8DA}"/>
              </a:ext>
            </a:extLst>
          </p:cNvPr>
          <p:cNvSpPr/>
          <p:nvPr userDrawn="1"/>
        </p:nvSpPr>
        <p:spPr bwMode="auto">
          <a:xfrm>
            <a:off x="4784858" y="1"/>
            <a:ext cx="11064742" cy="6857999"/>
          </a:xfrm>
          <a:prstGeom prst="parallelogram">
            <a:avLst>
              <a:gd name="adj" fmla="val 23450"/>
            </a:avLst>
          </a:prstGeom>
          <a:gradFill flip="none" rotWithShape="1">
            <a:gsLst>
              <a:gs pos="34000">
                <a:srgbClr val="0D5C91"/>
              </a:gs>
              <a:gs pos="96000">
                <a:srgbClr val="262262"/>
              </a:gs>
            </a:gsLst>
            <a:path path="circle">
              <a:fillToRect l="100000" t="100000"/>
            </a:path>
            <a:tileRect r="-100000" b="-100000"/>
          </a:gra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defTabSz="914400" eaLnBrk="0" fontAlgn="base" hangingPunct="0">
              <a:spcBef>
                <a:spcPct val="0"/>
              </a:spcBef>
              <a:spcAft>
                <a:spcPct val="0"/>
              </a:spcAft>
            </a:pPr>
            <a:endParaRPr lang="en-US" sz="1800">
              <a:latin typeface="Arial" pitchFamily="124" charset="0"/>
            </a:endParaRPr>
          </a:p>
        </p:txBody>
      </p:sp>
      <p:sp>
        <p:nvSpPr>
          <p:cNvPr id="152" name="Rectangle 151">
            <a:extLst>
              <a:ext uri="{FF2B5EF4-FFF2-40B4-BE49-F238E27FC236}">
                <a16:creationId xmlns:a16="http://schemas.microsoft.com/office/drawing/2014/main" id="{C0BEC649-1D30-4A5D-A693-D0B73B0F6D98}"/>
              </a:ext>
            </a:extLst>
          </p:cNvPr>
          <p:cNvSpPr/>
          <p:nvPr userDrawn="1"/>
        </p:nvSpPr>
        <p:spPr>
          <a:xfrm>
            <a:off x="350896" y="4399242"/>
            <a:ext cx="4963419" cy="400110"/>
          </a:xfrm>
          <a:prstGeom prst="rect">
            <a:avLst/>
          </a:prstGeom>
        </p:spPr>
        <p:txBody>
          <a:bodyPr wrap="square" lIns="0" rIns="182880">
            <a:spAutoFit/>
          </a:bodyPr>
          <a:lstStyle/>
          <a:p>
            <a:pPr algn="l"/>
            <a:r>
              <a:rPr lang="en-US" sz="2000" b="0">
                <a:solidFill>
                  <a:schemeClr val="bg2">
                    <a:lumMod val="75000"/>
                  </a:schemeClr>
                </a:solidFill>
              </a:rPr>
              <a:t>2021 SPBD Annual Team Meeting</a:t>
            </a:r>
            <a:endParaRPr lang="en-US" sz="1200" b="0">
              <a:solidFill>
                <a:schemeClr val="bg2">
                  <a:lumMod val="75000"/>
                </a:schemeClr>
              </a:solidFill>
            </a:endParaRPr>
          </a:p>
        </p:txBody>
      </p:sp>
      <p:pic>
        <p:nvPicPr>
          <p:cNvPr id="157" name="Graphic 156">
            <a:extLst>
              <a:ext uri="{FF2B5EF4-FFF2-40B4-BE49-F238E27FC236}">
                <a16:creationId xmlns:a16="http://schemas.microsoft.com/office/drawing/2014/main" id="{AEFE6EE5-FE60-4012-8726-A653C0732033}"/>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782971" y="1719544"/>
            <a:ext cx="10409027" cy="1133066"/>
          </a:xfrm>
          <a:prstGeom prst="rect">
            <a:avLst/>
          </a:prstGeom>
        </p:spPr>
      </p:pic>
      <p:pic>
        <p:nvPicPr>
          <p:cNvPr id="158" name="Picture 157">
            <a:extLst>
              <a:ext uri="{FF2B5EF4-FFF2-40B4-BE49-F238E27FC236}">
                <a16:creationId xmlns:a16="http://schemas.microsoft.com/office/drawing/2014/main" id="{6D69F19D-D7DE-43E3-A0A4-68CE31B92A25}"/>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b="14003"/>
          <a:stretch/>
        </p:blipFill>
        <p:spPr>
          <a:xfrm>
            <a:off x="7194346" y="2654026"/>
            <a:ext cx="4655929" cy="4003949"/>
          </a:xfrm>
          <a:prstGeom prst="rect">
            <a:avLst/>
          </a:prstGeom>
        </p:spPr>
      </p:pic>
    </p:spTree>
    <p:extLst>
      <p:ext uri="{BB962C8B-B14F-4D97-AF65-F5344CB8AC3E}">
        <p14:creationId xmlns:p14="http://schemas.microsoft.com/office/powerpoint/2010/main" val="25022364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5_Default title slide 1">
    <p:bg>
      <p:bgPr>
        <a:gradFill>
          <a:gsLst>
            <a:gs pos="0">
              <a:schemeClr val="bg1"/>
            </a:gs>
            <a:gs pos="41000">
              <a:schemeClr val="bg1"/>
            </a:gs>
            <a:gs pos="63000">
              <a:schemeClr val="bg2"/>
            </a:gs>
          </a:gsLst>
          <a:lin ang="1080000" scaled="0"/>
        </a:gra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B1F511C6-A535-A245-B123-CC04435D2DAF}"/>
              </a:ext>
            </a:extLst>
          </p:cNvPr>
          <p:cNvGrpSpPr/>
          <p:nvPr/>
        </p:nvGrpSpPr>
        <p:grpSpPr>
          <a:xfrm>
            <a:off x="304799" y="0"/>
            <a:ext cx="2427681" cy="1044934"/>
            <a:chOff x="0" y="0"/>
            <a:chExt cx="2447693" cy="1053548"/>
          </a:xfrm>
        </p:grpSpPr>
        <p:sp>
          <p:nvSpPr>
            <p:cNvPr id="8" name="Parallelogram 7">
              <a:extLst>
                <a:ext uri="{FF2B5EF4-FFF2-40B4-BE49-F238E27FC236}">
                  <a16:creationId xmlns:a16="http://schemas.microsoft.com/office/drawing/2014/main" id="{6399281C-FD14-2942-9A9B-13B5E50B7517}"/>
                </a:ext>
              </a:extLst>
            </p:cNvPr>
            <p:cNvSpPr/>
            <p:nvPr/>
          </p:nvSpPr>
          <p:spPr bwMode="auto">
            <a:xfrm>
              <a:off x="0" y="0"/>
              <a:ext cx="2447693" cy="1053548"/>
            </a:xfrm>
            <a:prstGeom prst="parallelogram">
              <a:avLst>
                <a:gd name="adj" fmla="val 0"/>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a:latin typeface="Arial" pitchFamily="124" charset="0"/>
                </a:rPr>
                <a:t>               </a:t>
              </a:r>
            </a:p>
          </p:txBody>
        </p:sp>
        <p:pic>
          <p:nvPicPr>
            <p:cNvPr id="9" name="Picture 8">
              <a:extLst>
                <a:ext uri="{FF2B5EF4-FFF2-40B4-BE49-F238E27FC236}">
                  <a16:creationId xmlns:a16="http://schemas.microsoft.com/office/drawing/2014/main" id="{7D60AD95-BD80-6049-9976-D024EC4ECDE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35820" y="154984"/>
              <a:ext cx="2178058" cy="756021"/>
            </a:xfrm>
            <a:prstGeom prst="rect">
              <a:avLst/>
            </a:prstGeom>
          </p:spPr>
        </p:pic>
      </p:grpSp>
      <p:sp>
        <p:nvSpPr>
          <p:cNvPr id="2" name="Footer Placeholder 1">
            <a:extLst>
              <a:ext uri="{FF2B5EF4-FFF2-40B4-BE49-F238E27FC236}">
                <a16:creationId xmlns:a16="http://schemas.microsoft.com/office/drawing/2014/main" id="{BA129332-E471-D44D-8711-996E85A9EE29}"/>
              </a:ext>
            </a:extLst>
          </p:cNvPr>
          <p:cNvSpPr>
            <a:spLocks noGrp="1"/>
          </p:cNvSpPr>
          <p:nvPr>
            <p:ph type="ftr" sz="quarter" idx="11"/>
          </p:nvPr>
        </p:nvSpPr>
        <p:spPr>
          <a:xfrm>
            <a:off x="304800" y="6553200"/>
            <a:ext cx="5791200" cy="304799"/>
          </a:xfrm>
        </p:spPr>
        <p:txBody>
          <a:bodyPr/>
          <a:lstStyle/>
          <a:p>
            <a:r>
              <a:rPr lang="en-US"/>
              <a:t>Proprietary &amp; Confidential |  authoremail@thermofisher.com | 12-April-2021</a:t>
            </a:r>
          </a:p>
        </p:txBody>
      </p:sp>
      <p:sp>
        <p:nvSpPr>
          <p:cNvPr id="3" name="Slide Number Placeholder 2">
            <a:extLst>
              <a:ext uri="{FF2B5EF4-FFF2-40B4-BE49-F238E27FC236}">
                <a16:creationId xmlns:a16="http://schemas.microsoft.com/office/drawing/2014/main" id="{B4F77913-5D2C-C141-AB22-388096EB8230}"/>
              </a:ext>
            </a:extLst>
          </p:cNvPr>
          <p:cNvSpPr>
            <a:spLocks noGrp="1"/>
          </p:cNvSpPr>
          <p:nvPr>
            <p:ph type="sldNum" sz="quarter" idx="12"/>
          </p:nvPr>
        </p:nvSpPr>
        <p:spPr/>
        <p:txBody>
          <a:bodyPr/>
          <a:lstStyle/>
          <a:p>
            <a:fld id="{89006F1E-66CD-4A4B-9370-B4A3080F0E6C}" type="slidenum">
              <a:rPr lang="en-US" smtClean="0"/>
              <a:pPr/>
              <a:t>‹#›</a:t>
            </a:fld>
            <a:endParaRPr lang="en-US"/>
          </a:p>
        </p:txBody>
      </p:sp>
      <p:sp>
        <p:nvSpPr>
          <p:cNvPr id="15" name="Text Placeholder 15">
            <a:extLst>
              <a:ext uri="{FF2B5EF4-FFF2-40B4-BE49-F238E27FC236}">
                <a16:creationId xmlns:a16="http://schemas.microsoft.com/office/drawing/2014/main" id="{8209BE38-5C75-4E48-AACA-BEDC106131D5}"/>
              </a:ext>
            </a:extLst>
          </p:cNvPr>
          <p:cNvSpPr>
            <a:spLocks noGrp="1"/>
          </p:cNvSpPr>
          <p:nvPr>
            <p:ph type="body" sz="quarter" idx="10" hasCustomPrompt="1"/>
          </p:nvPr>
        </p:nvSpPr>
        <p:spPr>
          <a:xfrm>
            <a:off x="304800" y="5112470"/>
            <a:ext cx="5791199" cy="308120"/>
          </a:xfrm>
          <a:prstGeom prst="rect">
            <a:avLst/>
          </a:prstGeom>
        </p:spPr>
        <p:txBody>
          <a:bodyPr lIns="0" tIns="0" rIns="0" bIns="0" anchor="b"/>
          <a:lstStyle>
            <a:lvl1pPr>
              <a:spcBef>
                <a:spcPts val="0"/>
              </a:spcBef>
              <a:spcAft>
                <a:spcPts val="0"/>
              </a:spcAft>
              <a:buFontTx/>
              <a:buNone/>
              <a:defRPr sz="1600" b="1" baseline="0">
                <a:solidFill>
                  <a:schemeClr val="tx2"/>
                </a:solidFill>
              </a:defRPr>
            </a:lvl1pPr>
            <a:lvl2pPr marL="114300" indent="4763">
              <a:spcAft>
                <a:spcPts val="0"/>
              </a:spcAft>
              <a:buFontTx/>
              <a:buNone/>
              <a:defRPr sz="1400" i="1" baseline="0">
                <a:solidFill>
                  <a:schemeClr val="tx1"/>
                </a:solidFill>
              </a:defRPr>
            </a:lvl2pPr>
          </a:lstStyle>
          <a:p>
            <a:pPr lvl="0"/>
            <a:r>
              <a:rPr lang="en-US"/>
              <a:t>Presenter name [16pt Arial] </a:t>
            </a:r>
          </a:p>
        </p:txBody>
      </p:sp>
      <p:sp>
        <p:nvSpPr>
          <p:cNvPr id="16" name="Title 16">
            <a:extLst>
              <a:ext uri="{FF2B5EF4-FFF2-40B4-BE49-F238E27FC236}">
                <a16:creationId xmlns:a16="http://schemas.microsoft.com/office/drawing/2014/main" id="{B2B8D3D1-6FA6-C04D-951C-FD0E7458C808}"/>
              </a:ext>
            </a:extLst>
          </p:cNvPr>
          <p:cNvSpPr>
            <a:spLocks noGrp="1"/>
          </p:cNvSpPr>
          <p:nvPr>
            <p:ph type="title" hasCustomPrompt="1"/>
          </p:nvPr>
        </p:nvSpPr>
        <p:spPr>
          <a:xfrm>
            <a:off x="304802" y="2576592"/>
            <a:ext cx="5432644" cy="1890510"/>
          </a:xfrm>
          <a:prstGeom prst="rect">
            <a:avLst/>
          </a:prstGeom>
          <a:noFill/>
        </p:spPr>
        <p:txBody>
          <a:bodyPr wrap="square" lIns="0" tIns="91440" rIns="91440" bIns="91440" anchor="b">
            <a:noAutofit/>
          </a:bodyPr>
          <a:lstStyle>
            <a:lvl1pPr>
              <a:lnSpc>
                <a:spcPts val="3100"/>
              </a:lnSpc>
              <a:defRPr sz="2800" b="1">
                <a:solidFill>
                  <a:schemeClr val="accent5"/>
                </a:solidFill>
              </a:defRPr>
            </a:lvl1pPr>
          </a:lstStyle>
          <a:p>
            <a:r>
              <a:rPr lang="en-US"/>
              <a:t>Title [28pt Arial Bold] </a:t>
            </a:r>
          </a:p>
        </p:txBody>
      </p:sp>
      <p:sp>
        <p:nvSpPr>
          <p:cNvPr id="21" name="Text Placeholder 15">
            <a:extLst>
              <a:ext uri="{FF2B5EF4-FFF2-40B4-BE49-F238E27FC236}">
                <a16:creationId xmlns:a16="http://schemas.microsoft.com/office/drawing/2014/main" id="{046B4CC3-134E-7548-B9F5-FA5784CFD5AE}"/>
              </a:ext>
            </a:extLst>
          </p:cNvPr>
          <p:cNvSpPr>
            <a:spLocks noGrp="1"/>
          </p:cNvSpPr>
          <p:nvPr>
            <p:ph type="body" sz="quarter" idx="14" hasCustomPrompt="1"/>
          </p:nvPr>
        </p:nvSpPr>
        <p:spPr>
          <a:xfrm>
            <a:off x="304800" y="5441827"/>
            <a:ext cx="5791199" cy="1097215"/>
          </a:xfrm>
          <a:prstGeom prst="rect">
            <a:avLst/>
          </a:prstGeom>
        </p:spPr>
        <p:txBody>
          <a:bodyPr lIns="0" tIns="0" rIns="0" bIns="0" anchor="t">
            <a:normAutofit/>
          </a:bodyPr>
          <a:lstStyle>
            <a:lvl1pPr marL="179388" marR="0" indent="-179388" algn="l" defTabSz="914400" rtl="0" eaLnBrk="1" fontAlgn="auto" latinLnBrk="0" hangingPunct="1">
              <a:lnSpc>
                <a:spcPct val="120000"/>
              </a:lnSpc>
              <a:spcBef>
                <a:spcPts val="0"/>
              </a:spcBef>
              <a:spcAft>
                <a:spcPts val="0"/>
              </a:spcAft>
              <a:buClr>
                <a:schemeClr val="accent4"/>
              </a:buClr>
              <a:buSzPct val="100000"/>
              <a:buFontTx/>
              <a:buNone/>
              <a:tabLst/>
              <a:defRPr sz="1400" b="0" baseline="0">
                <a:solidFill>
                  <a:schemeClr val="accent5"/>
                </a:solidFill>
              </a:defRPr>
            </a:lvl1pPr>
            <a:lvl2pPr marL="114300" indent="4763">
              <a:spcAft>
                <a:spcPts val="0"/>
              </a:spcAft>
              <a:buFontTx/>
              <a:buNone/>
              <a:defRPr sz="1400" i="1" baseline="0">
                <a:solidFill>
                  <a:schemeClr val="tx1"/>
                </a:solidFill>
              </a:defRPr>
            </a:lvl2pPr>
          </a:lstStyle>
          <a:p>
            <a:pPr marL="411480" marR="0" lvl="0" indent="-411480" algn="l" defTabSz="914400" rtl="0" eaLnBrk="1" fontAlgn="auto" latinLnBrk="0" hangingPunct="1">
              <a:lnSpc>
                <a:spcPct val="120000"/>
              </a:lnSpc>
              <a:spcBef>
                <a:spcPts val="0"/>
              </a:spcBef>
              <a:spcAft>
                <a:spcPts val="0"/>
              </a:spcAft>
              <a:buClr>
                <a:schemeClr val="accent4"/>
              </a:buClr>
              <a:buSzPct val="100000"/>
              <a:buFontTx/>
              <a:buNone/>
              <a:tabLst/>
              <a:defRPr/>
            </a:pPr>
            <a:r>
              <a:rPr lang="en-US"/>
              <a:t>Presenter Title [14pt Arial]</a:t>
            </a:r>
          </a:p>
        </p:txBody>
      </p:sp>
      <p:sp>
        <p:nvSpPr>
          <p:cNvPr id="14" name="Parallelogram 13">
            <a:extLst>
              <a:ext uri="{FF2B5EF4-FFF2-40B4-BE49-F238E27FC236}">
                <a16:creationId xmlns:a16="http://schemas.microsoft.com/office/drawing/2014/main" id="{1A4AC96B-4C9D-40BC-9627-E520D6C1E8DA}"/>
              </a:ext>
            </a:extLst>
          </p:cNvPr>
          <p:cNvSpPr/>
          <p:nvPr userDrawn="1"/>
        </p:nvSpPr>
        <p:spPr bwMode="auto">
          <a:xfrm>
            <a:off x="4784858" y="1"/>
            <a:ext cx="11064742" cy="6857999"/>
          </a:xfrm>
          <a:prstGeom prst="parallelogram">
            <a:avLst>
              <a:gd name="adj" fmla="val 23450"/>
            </a:avLst>
          </a:prstGeom>
          <a:gradFill flip="none" rotWithShape="1">
            <a:gsLst>
              <a:gs pos="100000">
                <a:schemeClr val="accent4">
                  <a:lumMod val="50000"/>
                </a:schemeClr>
              </a:gs>
              <a:gs pos="0">
                <a:schemeClr val="accent4"/>
              </a:gs>
            </a:gsLst>
            <a:path path="circle">
              <a:fillToRect l="100000" t="100000"/>
            </a:path>
            <a:tileRect r="-100000" b="-100000"/>
          </a:gra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defTabSz="914400" eaLnBrk="0" fontAlgn="base" hangingPunct="0">
              <a:spcBef>
                <a:spcPct val="0"/>
              </a:spcBef>
              <a:spcAft>
                <a:spcPct val="0"/>
              </a:spcAft>
            </a:pPr>
            <a:endParaRPr lang="en-US" sz="1800">
              <a:latin typeface="Arial" pitchFamily="124" charset="0"/>
            </a:endParaRPr>
          </a:p>
        </p:txBody>
      </p:sp>
      <p:sp>
        <p:nvSpPr>
          <p:cNvPr id="152" name="Rectangle 151">
            <a:extLst>
              <a:ext uri="{FF2B5EF4-FFF2-40B4-BE49-F238E27FC236}">
                <a16:creationId xmlns:a16="http://schemas.microsoft.com/office/drawing/2014/main" id="{C0BEC649-1D30-4A5D-A693-D0B73B0F6D98}"/>
              </a:ext>
            </a:extLst>
          </p:cNvPr>
          <p:cNvSpPr/>
          <p:nvPr userDrawn="1"/>
        </p:nvSpPr>
        <p:spPr>
          <a:xfrm>
            <a:off x="350896" y="4399242"/>
            <a:ext cx="4963419" cy="400110"/>
          </a:xfrm>
          <a:prstGeom prst="rect">
            <a:avLst/>
          </a:prstGeom>
        </p:spPr>
        <p:txBody>
          <a:bodyPr wrap="square" lIns="0" rIns="182880">
            <a:spAutoFit/>
          </a:bodyPr>
          <a:lstStyle/>
          <a:p>
            <a:pPr algn="l"/>
            <a:r>
              <a:rPr lang="en-US" sz="2000" b="0">
                <a:solidFill>
                  <a:schemeClr val="bg2">
                    <a:lumMod val="75000"/>
                  </a:schemeClr>
                </a:solidFill>
              </a:rPr>
              <a:t>2021 SPBD Annual Team Meeting</a:t>
            </a:r>
            <a:endParaRPr lang="en-US" sz="1200" b="0">
              <a:solidFill>
                <a:schemeClr val="bg2">
                  <a:lumMod val="75000"/>
                </a:schemeClr>
              </a:solidFill>
            </a:endParaRPr>
          </a:p>
        </p:txBody>
      </p:sp>
      <p:pic>
        <p:nvPicPr>
          <p:cNvPr id="157" name="Picture 156">
            <a:extLst>
              <a:ext uri="{FF2B5EF4-FFF2-40B4-BE49-F238E27FC236}">
                <a16:creationId xmlns:a16="http://schemas.microsoft.com/office/drawing/2014/main" id="{4508A69C-EF5D-408D-87B1-0B2A2D51A7D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b="12775"/>
          <a:stretch/>
        </p:blipFill>
        <p:spPr>
          <a:xfrm>
            <a:off x="7194346" y="2654026"/>
            <a:ext cx="4655929" cy="4061099"/>
          </a:xfrm>
          <a:prstGeom prst="rect">
            <a:avLst/>
          </a:prstGeom>
        </p:spPr>
      </p:pic>
      <p:pic>
        <p:nvPicPr>
          <p:cNvPr id="158" name="Graphic 157">
            <a:extLst>
              <a:ext uri="{FF2B5EF4-FFF2-40B4-BE49-F238E27FC236}">
                <a16:creationId xmlns:a16="http://schemas.microsoft.com/office/drawing/2014/main" id="{9C0DB755-ADC4-49BA-BDE3-28D7EF96AD2B}"/>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782971" y="1719544"/>
            <a:ext cx="10409027" cy="1133066"/>
          </a:xfrm>
          <a:prstGeom prst="rect">
            <a:avLst/>
          </a:prstGeom>
        </p:spPr>
      </p:pic>
    </p:spTree>
    <p:extLst>
      <p:ext uri="{BB962C8B-B14F-4D97-AF65-F5344CB8AC3E}">
        <p14:creationId xmlns:p14="http://schemas.microsoft.com/office/powerpoint/2010/main" val="21524126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3_Default title slide 1">
    <p:bg>
      <p:bgPr>
        <a:gradFill>
          <a:gsLst>
            <a:gs pos="0">
              <a:schemeClr val="bg1"/>
            </a:gs>
            <a:gs pos="41000">
              <a:schemeClr val="bg1"/>
            </a:gs>
            <a:gs pos="63000">
              <a:schemeClr val="bg2"/>
            </a:gs>
          </a:gsLst>
          <a:lin ang="1080000" scaled="0"/>
        </a:gra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8CC541A1-0B8D-274E-8F16-6AECC25E9FB3}"/>
              </a:ext>
            </a:extLst>
          </p:cNvPr>
          <p:cNvGrpSpPr/>
          <p:nvPr userDrawn="1"/>
        </p:nvGrpSpPr>
        <p:grpSpPr>
          <a:xfrm>
            <a:off x="4788403" y="0"/>
            <a:ext cx="7403597" cy="6858000"/>
            <a:chOff x="4788403" y="0"/>
            <a:chExt cx="7403597" cy="6858000"/>
          </a:xfrm>
          <a:gradFill>
            <a:gsLst>
              <a:gs pos="36000">
                <a:srgbClr val="C00000"/>
              </a:gs>
              <a:gs pos="62000">
                <a:schemeClr val="tx2"/>
              </a:gs>
            </a:gsLst>
            <a:lin ang="1080000" scaled="0"/>
          </a:gradFill>
        </p:grpSpPr>
        <p:sp>
          <p:nvSpPr>
            <p:cNvPr id="4" name="Rectangle 3">
              <a:extLst>
                <a:ext uri="{FF2B5EF4-FFF2-40B4-BE49-F238E27FC236}">
                  <a16:creationId xmlns:a16="http://schemas.microsoft.com/office/drawing/2014/main" id="{79B2D6AF-6A24-A841-9D8A-EE19F136058F}"/>
                </a:ext>
              </a:extLst>
            </p:cNvPr>
            <p:cNvSpPr/>
            <p:nvPr userDrawn="1"/>
          </p:nvSpPr>
          <p:spPr bwMode="auto">
            <a:xfrm>
              <a:off x="9512596" y="0"/>
              <a:ext cx="2679404" cy="6858000"/>
            </a:xfrm>
            <a:prstGeom prst="rect">
              <a:avLst/>
            </a:prstGeom>
            <a:grp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a:latin typeface="Arial" pitchFamily="124" charset="0"/>
              </a:endParaRPr>
            </a:p>
          </p:txBody>
        </p:sp>
        <p:sp>
          <p:nvSpPr>
            <p:cNvPr id="17" name="Parallelogram 16">
              <a:extLst>
                <a:ext uri="{FF2B5EF4-FFF2-40B4-BE49-F238E27FC236}">
                  <a16:creationId xmlns:a16="http://schemas.microsoft.com/office/drawing/2014/main" id="{F29464FB-DED0-AC47-BEA9-670A1066A917}"/>
                </a:ext>
              </a:extLst>
            </p:cNvPr>
            <p:cNvSpPr/>
            <p:nvPr userDrawn="1"/>
          </p:nvSpPr>
          <p:spPr bwMode="auto">
            <a:xfrm>
              <a:off x="4788403" y="1"/>
              <a:ext cx="7098797" cy="6857999"/>
            </a:xfrm>
            <a:prstGeom prst="parallelogram">
              <a:avLst>
                <a:gd name="adj" fmla="val 22756"/>
              </a:avLst>
            </a:prstGeom>
            <a:grp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defTabSz="914400" eaLnBrk="0" fontAlgn="base" hangingPunct="0">
                <a:spcBef>
                  <a:spcPct val="0"/>
                </a:spcBef>
                <a:spcAft>
                  <a:spcPct val="0"/>
                </a:spcAft>
              </a:pPr>
              <a:endParaRPr lang="en-US" sz="1800">
                <a:latin typeface="Arial" pitchFamily="124" charset="0"/>
              </a:endParaRPr>
            </a:p>
          </p:txBody>
        </p:sp>
      </p:grpSp>
      <p:grpSp>
        <p:nvGrpSpPr>
          <p:cNvPr id="7" name="Group 6">
            <a:extLst>
              <a:ext uri="{FF2B5EF4-FFF2-40B4-BE49-F238E27FC236}">
                <a16:creationId xmlns:a16="http://schemas.microsoft.com/office/drawing/2014/main" id="{B1F511C6-A535-A245-B123-CC04435D2DAF}"/>
              </a:ext>
            </a:extLst>
          </p:cNvPr>
          <p:cNvGrpSpPr/>
          <p:nvPr/>
        </p:nvGrpSpPr>
        <p:grpSpPr>
          <a:xfrm>
            <a:off x="304799" y="0"/>
            <a:ext cx="2427681" cy="1044934"/>
            <a:chOff x="0" y="0"/>
            <a:chExt cx="2447693" cy="1053548"/>
          </a:xfrm>
        </p:grpSpPr>
        <p:sp>
          <p:nvSpPr>
            <p:cNvPr id="8" name="Parallelogram 7">
              <a:extLst>
                <a:ext uri="{FF2B5EF4-FFF2-40B4-BE49-F238E27FC236}">
                  <a16:creationId xmlns:a16="http://schemas.microsoft.com/office/drawing/2014/main" id="{6399281C-FD14-2942-9A9B-13B5E50B7517}"/>
                </a:ext>
              </a:extLst>
            </p:cNvPr>
            <p:cNvSpPr/>
            <p:nvPr/>
          </p:nvSpPr>
          <p:spPr bwMode="auto">
            <a:xfrm>
              <a:off x="0" y="0"/>
              <a:ext cx="2447693" cy="1053548"/>
            </a:xfrm>
            <a:prstGeom prst="parallelogram">
              <a:avLst>
                <a:gd name="adj" fmla="val 0"/>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a:latin typeface="Arial" pitchFamily="124" charset="0"/>
                </a:rPr>
                <a:t>               </a:t>
              </a:r>
            </a:p>
          </p:txBody>
        </p:sp>
        <p:pic>
          <p:nvPicPr>
            <p:cNvPr id="9" name="Picture 8">
              <a:extLst>
                <a:ext uri="{FF2B5EF4-FFF2-40B4-BE49-F238E27FC236}">
                  <a16:creationId xmlns:a16="http://schemas.microsoft.com/office/drawing/2014/main" id="{7D60AD95-BD80-6049-9976-D024EC4ECDE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35820" y="154984"/>
              <a:ext cx="2178058" cy="756021"/>
            </a:xfrm>
            <a:prstGeom prst="rect">
              <a:avLst/>
            </a:prstGeom>
          </p:spPr>
        </p:pic>
      </p:grpSp>
      <p:sp>
        <p:nvSpPr>
          <p:cNvPr id="2" name="Footer Placeholder 1">
            <a:extLst>
              <a:ext uri="{FF2B5EF4-FFF2-40B4-BE49-F238E27FC236}">
                <a16:creationId xmlns:a16="http://schemas.microsoft.com/office/drawing/2014/main" id="{BA129332-E471-D44D-8711-996E85A9EE29}"/>
              </a:ext>
            </a:extLst>
          </p:cNvPr>
          <p:cNvSpPr>
            <a:spLocks noGrp="1"/>
          </p:cNvSpPr>
          <p:nvPr>
            <p:ph type="ftr" sz="quarter" idx="11"/>
          </p:nvPr>
        </p:nvSpPr>
        <p:spPr>
          <a:xfrm>
            <a:off x="304800" y="6553200"/>
            <a:ext cx="5791200" cy="304799"/>
          </a:xfrm>
        </p:spPr>
        <p:txBody>
          <a:bodyPr/>
          <a:lstStyle/>
          <a:p>
            <a:r>
              <a:rPr lang="en-US"/>
              <a:t>Proprietary &amp; Confidential |  authoremail@thermofisher.com | 12-April-2021</a:t>
            </a:r>
          </a:p>
        </p:txBody>
      </p:sp>
      <p:sp>
        <p:nvSpPr>
          <p:cNvPr id="3" name="Slide Number Placeholder 2">
            <a:extLst>
              <a:ext uri="{FF2B5EF4-FFF2-40B4-BE49-F238E27FC236}">
                <a16:creationId xmlns:a16="http://schemas.microsoft.com/office/drawing/2014/main" id="{B4F77913-5D2C-C141-AB22-388096EB8230}"/>
              </a:ext>
            </a:extLst>
          </p:cNvPr>
          <p:cNvSpPr>
            <a:spLocks noGrp="1"/>
          </p:cNvSpPr>
          <p:nvPr>
            <p:ph type="sldNum" sz="quarter" idx="12"/>
          </p:nvPr>
        </p:nvSpPr>
        <p:spPr/>
        <p:txBody>
          <a:bodyPr/>
          <a:lstStyle/>
          <a:p>
            <a:fld id="{89006F1E-66CD-4A4B-9370-B4A3080F0E6C}" type="slidenum">
              <a:rPr lang="en-US" smtClean="0"/>
              <a:pPr/>
              <a:t>‹#›</a:t>
            </a:fld>
            <a:endParaRPr lang="en-US"/>
          </a:p>
        </p:txBody>
      </p:sp>
      <p:sp>
        <p:nvSpPr>
          <p:cNvPr id="15" name="Text Placeholder 15">
            <a:extLst>
              <a:ext uri="{FF2B5EF4-FFF2-40B4-BE49-F238E27FC236}">
                <a16:creationId xmlns:a16="http://schemas.microsoft.com/office/drawing/2014/main" id="{8209BE38-5C75-4E48-AACA-BEDC106131D5}"/>
              </a:ext>
            </a:extLst>
          </p:cNvPr>
          <p:cNvSpPr>
            <a:spLocks noGrp="1"/>
          </p:cNvSpPr>
          <p:nvPr>
            <p:ph type="body" sz="quarter" idx="10" hasCustomPrompt="1"/>
          </p:nvPr>
        </p:nvSpPr>
        <p:spPr>
          <a:xfrm>
            <a:off x="304800" y="5112470"/>
            <a:ext cx="5791199" cy="308120"/>
          </a:xfrm>
          <a:prstGeom prst="rect">
            <a:avLst/>
          </a:prstGeom>
        </p:spPr>
        <p:txBody>
          <a:bodyPr lIns="0" tIns="0" rIns="0" bIns="0" anchor="b"/>
          <a:lstStyle>
            <a:lvl1pPr>
              <a:spcBef>
                <a:spcPts val="0"/>
              </a:spcBef>
              <a:spcAft>
                <a:spcPts val="0"/>
              </a:spcAft>
              <a:buFontTx/>
              <a:buNone/>
              <a:defRPr sz="1600" b="1" baseline="0">
                <a:solidFill>
                  <a:schemeClr val="tx2"/>
                </a:solidFill>
              </a:defRPr>
            </a:lvl1pPr>
            <a:lvl2pPr marL="114300" indent="4763">
              <a:spcAft>
                <a:spcPts val="0"/>
              </a:spcAft>
              <a:buFontTx/>
              <a:buNone/>
              <a:defRPr sz="1400" i="1" baseline="0">
                <a:solidFill>
                  <a:schemeClr val="tx1"/>
                </a:solidFill>
              </a:defRPr>
            </a:lvl2pPr>
          </a:lstStyle>
          <a:p>
            <a:pPr lvl="0"/>
            <a:r>
              <a:rPr lang="en-US"/>
              <a:t>Presenter name [16pt Arial] </a:t>
            </a:r>
          </a:p>
        </p:txBody>
      </p:sp>
      <p:sp>
        <p:nvSpPr>
          <p:cNvPr id="16" name="Title 16">
            <a:extLst>
              <a:ext uri="{FF2B5EF4-FFF2-40B4-BE49-F238E27FC236}">
                <a16:creationId xmlns:a16="http://schemas.microsoft.com/office/drawing/2014/main" id="{B2B8D3D1-6FA6-C04D-951C-FD0E7458C808}"/>
              </a:ext>
            </a:extLst>
          </p:cNvPr>
          <p:cNvSpPr>
            <a:spLocks noGrp="1"/>
          </p:cNvSpPr>
          <p:nvPr>
            <p:ph type="title" hasCustomPrompt="1"/>
          </p:nvPr>
        </p:nvSpPr>
        <p:spPr>
          <a:xfrm>
            <a:off x="304802" y="2576592"/>
            <a:ext cx="5432644" cy="1890510"/>
          </a:xfrm>
          <a:prstGeom prst="rect">
            <a:avLst/>
          </a:prstGeom>
          <a:noFill/>
        </p:spPr>
        <p:txBody>
          <a:bodyPr wrap="square" lIns="0" tIns="91440" rIns="91440" bIns="91440" anchor="b">
            <a:noAutofit/>
          </a:bodyPr>
          <a:lstStyle>
            <a:lvl1pPr>
              <a:lnSpc>
                <a:spcPts val="3100"/>
              </a:lnSpc>
              <a:defRPr sz="2800" b="1">
                <a:solidFill>
                  <a:schemeClr val="accent5"/>
                </a:solidFill>
              </a:defRPr>
            </a:lvl1pPr>
          </a:lstStyle>
          <a:p>
            <a:r>
              <a:rPr lang="en-US"/>
              <a:t>Title [28pt Arial Bold] </a:t>
            </a:r>
          </a:p>
        </p:txBody>
      </p:sp>
      <p:sp>
        <p:nvSpPr>
          <p:cNvPr id="21" name="Text Placeholder 15">
            <a:extLst>
              <a:ext uri="{FF2B5EF4-FFF2-40B4-BE49-F238E27FC236}">
                <a16:creationId xmlns:a16="http://schemas.microsoft.com/office/drawing/2014/main" id="{046B4CC3-134E-7548-B9F5-FA5784CFD5AE}"/>
              </a:ext>
            </a:extLst>
          </p:cNvPr>
          <p:cNvSpPr>
            <a:spLocks noGrp="1"/>
          </p:cNvSpPr>
          <p:nvPr>
            <p:ph type="body" sz="quarter" idx="14" hasCustomPrompt="1"/>
          </p:nvPr>
        </p:nvSpPr>
        <p:spPr>
          <a:xfrm>
            <a:off x="304800" y="5441827"/>
            <a:ext cx="5791199" cy="1097215"/>
          </a:xfrm>
          <a:prstGeom prst="rect">
            <a:avLst/>
          </a:prstGeom>
        </p:spPr>
        <p:txBody>
          <a:bodyPr lIns="0" tIns="0" rIns="0" bIns="0" anchor="t">
            <a:normAutofit/>
          </a:bodyPr>
          <a:lstStyle>
            <a:lvl1pPr marL="179388" marR="0" indent="-179388" algn="l" defTabSz="914400" rtl="0" eaLnBrk="1" fontAlgn="auto" latinLnBrk="0" hangingPunct="1">
              <a:lnSpc>
                <a:spcPct val="120000"/>
              </a:lnSpc>
              <a:spcBef>
                <a:spcPts val="0"/>
              </a:spcBef>
              <a:spcAft>
                <a:spcPts val="0"/>
              </a:spcAft>
              <a:buClr>
                <a:schemeClr val="accent4"/>
              </a:buClr>
              <a:buSzPct val="100000"/>
              <a:buFontTx/>
              <a:buNone/>
              <a:tabLst/>
              <a:defRPr sz="1400" b="0" baseline="0">
                <a:solidFill>
                  <a:schemeClr val="accent5"/>
                </a:solidFill>
              </a:defRPr>
            </a:lvl1pPr>
            <a:lvl2pPr marL="114300" indent="4763">
              <a:spcAft>
                <a:spcPts val="0"/>
              </a:spcAft>
              <a:buFontTx/>
              <a:buNone/>
              <a:defRPr sz="1400" i="1" baseline="0">
                <a:solidFill>
                  <a:schemeClr val="tx1"/>
                </a:solidFill>
              </a:defRPr>
            </a:lvl2pPr>
          </a:lstStyle>
          <a:p>
            <a:pPr marL="411480" marR="0" lvl="0" indent="-411480" algn="l" defTabSz="914400" rtl="0" eaLnBrk="1" fontAlgn="auto" latinLnBrk="0" hangingPunct="1">
              <a:lnSpc>
                <a:spcPct val="120000"/>
              </a:lnSpc>
              <a:spcBef>
                <a:spcPts val="0"/>
              </a:spcBef>
              <a:spcAft>
                <a:spcPts val="0"/>
              </a:spcAft>
              <a:buClr>
                <a:schemeClr val="accent4"/>
              </a:buClr>
              <a:buSzPct val="100000"/>
              <a:buFontTx/>
              <a:buNone/>
              <a:tabLst/>
              <a:defRPr/>
            </a:pPr>
            <a:r>
              <a:rPr lang="en-US"/>
              <a:t>Presenter Title [14pt Arial]</a:t>
            </a:r>
          </a:p>
        </p:txBody>
      </p:sp>
      <p:pic>
        <p:nvPicPr>
          <p:cNvPr id="6" name="Graphic 5">
            <a:extLst>
              <a:ext uri="{FF2B5EF4-FFF2-40B4-BE49-F238E27FC236}">
                <a16:creationId xmlns:a16="http://schemas.microsoft.com/office/drawing/2014/main" id="{31E57CEA-B8CB-4266-808F-A27BA9C060E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782969" y="1719544"/>
            <a:ext cx="10409032" cy="1133066"/>
          </a:xfrm>
          <a:prstGeom prst="rect">
            <a:avLst/>
          </a:prstGeom>
        </p:spPr>
      </p:pic>
      <p:pic>
        <p:nvPicPr>
          <p:cNvPr id="11" name="Picture 10">
            <a:extLst>
              <a:ext uri="{FF2B5EF4-FFF2-40B4-BE49-F238E27FC236}">
                <a16:creationId xmlns:a16="http://schemas.microsoft.com/office/drawing/2014/main" id="{B432D42F-C6B9-4722-84FF-BA015CA60AD1}"/>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t="1" b="13891"/>
          <a:stretch/>
        </p:blipFill>
        <p:spPr>
          <a:xfrm>
            <a:off x="7194346" y="2648781"/>
            <a:ext cx="4655929" cy="4009194"/>
          </a:xfrm>
          <a:prstGeom prst="rect">
            <a:avLst/>
          </a:prstGeom>
        </p:spPr>
      </p:pic>
      <p:sp>
        <p:nvSpPr>
          <p:cNvPr id="13" name="Text Placeholder 12">
            <a:extLst>
              <a:ext uri="{FF2B5EF4-FFF2-40B4-BE49-F238E27FC236}">
                <a16:creationId xmlns:a16="http://schemas.microsoft.com/office/drawing/2014/main" id="{F15A1EF4-FA9C-6E40-8D77-0836EC1F304A}"/>
              </a:ext>
            </a:extLst>
          </p:cNvPr>
          <p:cNvSpPr>
            <a:spLocks noGrp="1"/>
          </p:cNvSpPr>
          <p:nvPr>
            <p:ph type="body" sz="quarter" idx="16" hasCustomPrompt="1"/>
          </p:nvPr>
        </p:nvSpPr>
        <p:spPr>
          <a:xfrm>
            <a:off x="323483" y="4462160"/>
            <a:ext cx="5432425" cy="382435"/>
          </a:xfrm>
        </p:spPr>
        <p:txBody>
          <a:bodyPr/>
          <a:lstStyle>
            <a:lvl1pPr>
              <a:buNone/>
              <a:defRPr>
                <a:solidFill>
                  <a:schemeClr val="bg2">
                    <a:lumMod val="75000"/>
                  </a:schemeClr>
                </a:solidFill>
              </a:defRPr>
            </a:lvl1pPr>
            <a:lvl2pPr>
              <a:buNone/>
              <a:defRPr>
                <a:solidFill>
                  <a:schemeClr val="bg2">
                    <a:lumMod val="75000"/>
                  </a:schemeClr>
                </a:solidFill>
              </a:defRPr>
            </a:lvl2pPr>
            <a:lvl3pPr>
              <a:buNone/>
              <a:defRPr>
                <a:solidFill>
                  <a:schemeClr val="bg2">
                    <a:lumMod val="75000"/>
                  </a:schemeClr>
                </a:solidFill>
              </a:defRPr>
            </a:lvl3pPr>
            <a:lvl4pPr>
              <a:buNone/>
              <a:defRPr>
                <a:solidFill>
                  <a:schemeClr val="bg2">
                    <a:lumMod val="75000"/>
                  </a:schemeClr>
                </a:solidFill>
              </a:defRPr>
            </a:lvl4pPr>
            <a:lvl5pPr>
              <a:buNone/>
              <a:defRPr>
                <a:solidFill>
                  <a:schemeClr val="bg2">
                    <a:lumMod val="75000"/>
                  </a:schemeClr>
                </a:solidFill>
              </a:defRPr>
            </a:lvl5pPr>
          </a:lstStyle>
          <a:p>
            <a:pPr lvl="0"/>
            <a:r>
              <a:rPr lang="en-US"/>
              <a:t>Insert meeting name [20pt Arial]</a:t>
            </a:r>
          </a:p>
        </p:txBody>
      </p:sp>
    </p:spTree>
    <p:extLst>
      <p:ext uri="{BB962C8B-B14F-4D97-AF65-F5344CB8AC3E}">
        <p14:creationId xmlns:p14="http://schemas.microsoft.com/office/powerpoint/2010/main" val="273335351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6_Default title slide 1">
    <p:bg>
      <p:bgPr>
        <a:gradFill>
          <a:gsLst>
            <a:gs pos="0">
              <a:schemeClr val="bg1"/>
            </a:gs>
            <a:gs pos="41000">
              <a:schemeClr val="bg1"/>
            </a:gs>
            <a:gs pos="63000">
              <a:schemeClr val="bg2"/>
            </a:gs>
          </a:gsLst>
          <a:lin ang="1080000" scaled="0"/>
        </a:gra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8CC541A1-0B8D-274E-8F16-6AECC25E9FB3}"/>
              </a:ext>
            </a:extLst>
          </p:cNvPr>
          <p:cNvGrpSpPr/>
          <p:nvPr userDrawn="1"/>
        </p:nvGrpSpPr>
        <p:grpSpPr>
          <a:xfrm>
            <a:off x="4788403" y="0"/>
            <a:ext cx="7403597" cy="6858000"/>
            <a:chOff x="4788403" y="0"/>
            <a:chExt cx="7403597" cy="6858000"/>
          </a:xfrm>
          <a:gradFill>
            <a:gsLst>
              <a:gs pos="36000">
                <a:srgbClr val="C00000"/>
              </a:gs>
              <a:gs pos="62000">
                <a:schemeClr val="tx2"/>
              </a:gs>
            </a:gsLst>
            <a:lin ang="1080000" scaled="0"/>
          </a:gradFill>
        </p:grpSpPr>
        <p:sp>
          <p:nvSpPr>
            <p:cNvPr id="4" name="Rectangle 3">
              <a:extLst>
                <a:ext uri="{FF2B5EF4-FFF2-40B4-BE49-F238E27FC236}">
                  <a16:creationId xmlns:a16="http://schemas.microsoft.com/office/drawing/2014/main" id="{79B2D6AF-6A24-A841-9D8A-EE19F136058F}"/>
                </a:ext>
              </a:extLst>
            </p:cNvPr>
            <p:cNvSpPr/>
            <p:nvPr userDrawn="1"/>
          </p:nvSpPr>
          <p:spPr bwMode="auto">
            <a:xfrm>
              <a:off x="9512596" y="0"/>
              <a:ext cx="2679404" cy="6858000"/>
            </a:xfrm>
            <a:prstGeom prst="rect">
              <a:avLst/>
            </a:prstGeom>
            <a:grp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a:latin typeface="Arial" pitchFamily="124" charset="0"/>
              </a:endParaRPr>
            </a:p>
          </p:txBody>
        </p:sp>
        <p:sp>
          <p:nvSpPr>
            <p:cNvPr id="17" name="Parallelogram 16">
              <a:extLst>
                <a:ext uri="{FF2B5EF4-FFF2-40B4-BE49-F238E27FC236}">
                  <a16:creationId xmlns:a16="http://schemas.microsoft.com/office/drawing/2014/main" id="{F29464FB-DED0-AC47-BEA9-670A1066A917}"/>
                </a:ext>
              </a:extLst>
            </p:cNvPr>
            <p:cNvSpPr/>
            <p:nvPr userDrawn="1"/>
          </p:nvSpPr>
          <p:spPr bwMode="auto">
            <a:xfrm>
              <a:off x="4788403" y="1"/>
              <a:ext cx="7098797" cy="6857999"/>
            </a:xfrm>
            <a:prstGeom prst="parallelogram">
              <a:avLst>
                <a:gd name="adj" fmla="val 22756"/>
              </a:avLst>
            </a:prstGeom>
            <a:grp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defTabSz="914400" eaLnBrk="0" fontAlgn="base" hangingPunct="0">
                <a:spcBef>
                  <a:spcPct val="0"/>
                </a:spcBef>
                <a:spcAft>
                  <a:spcPct val="0"/>
                </a:spcAft>
              </a:pPr>
              <a:endParaRPr lang="en-US" sz="1800">
                <a:latin typeface="Arial" pitchFamily="124" charset="0"/>
              </a:endParaRPr>
            </a:p>
          </p:txBody>
        </p:sp>
      </p:grpSp>
      <p:grpSp>
        <p:nvGrpSpPr>
          <p:cNvPr id="7" name="Group 6">
            <a:extLst>
              <a:ext uri="{FF2B5EF4-FFF2-40B4-BE49-F238E27FC236}">
                <a16:creationId xmlns:a16="http://schemas.microsoft.com/office/drawing/2014/main" id="{B1F511C6-A535-A245-B123-CC04435D2DAF}"/>
              </a:ext>
            </a:extLst>
          </p:cNvPr>
          <p:cNvGrpSpPr/>
          <p:nvPr/>
        </p:nvGrpSpPr>
        <p:grpSpPr>
          <a:xfrm>
            <a:off x="304799" y="0"/>
            <a:ext cx="2427681" cy="1044934"/>
            <a:chOff x="0" y="0"/>
            <a:chExt cx="2447693" cy="1053548"/>
          </a:xfrm>
        </p:grpSpPr>
        <p:sp>
          <p:nvSpPr>
            <p:cNvPr id="8" name="Parallelogram 7">
              <a:extLst>
                <a:ext uri="{FF2B5EF4-FFF2-40B4-BE49-F238E27FC236}">
                  <a16:creationId xmlns:a16="http://schemas.microsoft.com/office/drawing/2014/main" id="{6399281C-FD14-2942-9A9B-13B5E50B7517}"/>
                </a:ext>
              </a:extLst>
            </p:cNvPr>
            <p:cNvSpPr/>
            <p:nvPr/>
          </p:nvSpPr>
          <p:spPr bwMode="auto">
            <a:xfrm>
              <a:off x="0" y="0"/>
              <a:ext cx="2447693" cy="1053548"/>
            </a:xfrm>
            <a:prstGeom prst="parallelogram">
              <a:avLst>
                <a:gd name="adj" fmla="val 0"/>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a:latin typeface="Arial" pitchFamily="124" charset="0"/>
                </a:rPr>
                <a:t>               </a:t>
              </a:r>
            </a:p>
          </p:txBody>
        </p:sp>
        <p:pic>
          <p:nvPicPr>
            <p:cNvPr id="9" name="Picture 8">
              <a:extLst>
                <a:ext uri="{FF2B5EF4-FFF2-40B4-BE49-F238E27FC236}">
                  <a16:creationId xmlns:a16="http://schemas.microsoft.com/office/drawing/2014/main" id="{7D60AD95-BD80-6049-9976-D024EC4ECDE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35820" y="154984"/>
              <a:ext cx="2178058" cy="756021"/>
            </a:xfrm>
            <a:prstGeom prst="rect">
              <a:avLst/>
            </a:prstGeom>
          </p:spPr>
        </p:pic>
      </p:grpSp>
      <p:sp>
        <p:nvSpPr>
          <p:cNvPr id="2" name="Footer Placeholder 1">
            <a:extLst>
              <a:ext uri="{FF2B5EF4-FFF2-40B4-BE49-F238E27FC236}">
                <a16:creationId xmlns:a16="http://schemas.microsoft.com/office/drawing/2014/main" id="{BA129332-E471-D44D-8711-996E85A9EE29}"/>
              </a:ext>
            </a:extLst>
          </p:cNvPr>
          <p:cNvSpPr>
            <a:spLocks noGrp="1"/>
          </p:cNvSpPr>
          <p:nvPr>
            <p:ph type="ftr" sz="quarter" idx="11"/>
          </p:nvPr>
        </p:nvSpPr>
        <p:spPr>
          <a:xfrm>
            <a:off x="304800" y="6553200"/>
            <a:ext cx="5791200" cy="304799"/>
          </a:xfrm>
        </p:spPr>
        <p:txBody>
          <a:bodyPr/>
          <a:lstStyle/>
          <a:p>
            <a:r>
              <a:rPr lang="en-US"/>
              <a:t>Proprietary &amp; Confidential |  authoremail@thermofisher.com | 12-April-2021</a:t>
            </a:r>
          </a:p>
        </p:txBody>
      </p:sp>
      <p:sp>
        <p:nvSpPr>
          <p:cNvPr id="3" name="Slide Number Placeholder 2">
            <a:extLst>
              <a:ext uri="{FF2B5EF4-FFF2-40B4-BE49-F238E27FC236}">
                <a16:creationId xmlns:a16="http://schemas.microsoft.com/office/drawing/2014/main" id="{B4F77913-5D2C-C141-AB22-388096EB8230}"/>
              </a:ext>
            </a:extLst>
          </p:cNvPr>
          <p:cNvSpPr>
            <a:spLocks noGrp="1"/>
          </p:cNvSpPr>
          <p:nvPr>
            <p:ph type="sldNum" sz="quarter" idx="12"/>
          </p:nvPr>
        </p:nvSpPr>
        <p:spPr/>
        <p:txBody>
          <a:bodyPr/>
          <a:lstStyle/>
          <a:p>
            <a:fld id="{89006F1E-66CD-4A4B-9370-B4A3080F0E6C}" type="slidenum">
              <a:rPr lang="en-US" smtClean="0"/>
              <a:pPr/>
              <a:t>‹#›</a:t>
            </a:fld>
            <a:endParaRPr lang="en-US"/>
          </a:p>
        </p:txBody>
      </p:sp>
      <p:sp>
        <p:nvSpPr>
          <p:cNvPr id="15" name="Text Placeholder 15">
            <a:extLst>
              <a:ext uri="{FF2B5EF4-FFF2-40B4-BE49-F238E27FC236}">
                <a16:creationId xmlns:a16="http://schemas.microsoft.com/office/drawing/2014/main" id="{8209BE38-5C75-4E48-AACA-BEDC106131D5}"/>
              </a:ext>
            </a:extLst>
          </p:cNvPr>
          <p:cNvSpPr>
            <a:spLocks noGrp="1"/>
          </p:cNvSpPr>
          <p:nvPr>
            <p:ph type="body" sz="quarter" idx="10" hasCustomPrompt="1"/>
          </p:nvPr>
        </p:nvSpPr>
        <p:spPr>
          <a:xfrm>
            <a:off x="304800" y="5112470"/>
            <a:ext cx="5791199" cy="308120"/>
          </a:xfrm>
          <a:prstGeom prst="rect">
            <a:avLst/>
          </a:prstGeom>
        </p:spPr>
        <p:txBody>
          <a:bodyPr lIns="0" tIns="0" rIns="0" bIns="0" anchor="b"/>
          <a:lstStyle>
            <a:lvl1pPr>
              <a:spcBef>
                <a:spcPts val="0"/>
              </a:spcBef>
              <a:spcAft>
                <a:spcPts val="0"/>
              </a:spcAft>
              <a:buFontTx/>
              <a:buNone/>
              <a:defRPr sz="1600" b="1" baseline="0">
                <a:solidFill>
                  <a:schemeClr val="tx2"/>
                </a:solidFill>
              </a:defRPr>
            </a:lvl1pPr>
            <a:lvl2pPr marL="114300" indent="4763">
              <a:spcAft>
                <a:spcPts val="0"/>
              </a:spcAft>
              <a:buFontTx/>
              <a:buNone/>
              <a:defRPr sz="1400" i="1" baseline="0">
                <a:solidFill>
                  <a:schemeClr val="tx1"/>
                </a:solidFill>
              </a:defRPr>
            </a:lvl2pPr>
          </a:lstStyle>
          <a:p>
            <a:pPr lvl="0"/>
            <a:r>
              <a:rPr lang="en-US"/>
              <a:t>Presenter name [16pt Arial] </a:t>
            </a:r>
          </a:p>
        </p:txBody>
      </p:sp>
      <p:sp>
        <p:nvSpPr>
          <p:cNvPr id="16" name="Title 16">
            <a:extLst>
              <a:ext uri="{FF2B5EF4-FFF2-40B4-BE49-F238E27FC236}">
                <a16:creationId xmlns:a16="http://schemas.microsoft.com/office/drawing/2014/main" id="{B2B8D3D1-6FA6-C04D-951C-FD0E7458C808}"/>
              </a:ext>
            </a:extLst>
          </p:cNvPr>
          <p:cNvSpPr>
            <a:spLocks noGrp="1"/>
          </p:cNvSpPr>
          <p:nvPr>
            <p:ph type="title" hasCustomPrompt="1"/>
          </p:nvPr>
        </p:nvSpPr>
        <p:spPr>
          <a:xfrm>
            <a:off x="304802" y="2576592"/>
            <a:ext cx="5432644" cy="1890510"/>
          </a:xfrm>
          <a:prstGeom prst="rect">
            <a:avLst/>
          </a:prstGeom>
          <a:noFill/>
        </p:spPr>
        <p:txBody>
          <a:bodyPr wrap="square" lIns="0" tIns="91440" rIns="91440" bIns="91440" anchor="b">
            <a:noAutofit/>
          </a:bodyPr>
          <a:lstStyle>
            <a:lvl1pPr>
              <a:lnSpc>
                <a:spcPts val="3100"/>
              </a:lnSpc>
              <a:defRPr sz="2800" b="1">
                <a:solidFill>
                  <a:schemeClr val="accent5"/>
                </a:solidFill>
              </a:defRPr>
            </a:lvl1pPr>
          </a:lstStyle>
          <a:p>
            <a:r>
              <a:rPr lang="en-US"/>
              <a:t>Title [28pt Arial Bold] </a:t>
            </a:r>
          </a:p>
        </p:txBody>
      </p:sp>
      <p:sp>
        <p:nvSpPr>
          <p:cNvPr id="21" name="Text Placeholder 15">
            <a:extLst>
              <a:ext uri="{FF2B5EF4-FFF2-40B4-BE49-F238E27FC236}">
                <a16:creationId xmlns:a16="http://schemas.microsoft.com/office/drawing/2014/main" id="{046B4CC3-134E-7548-B9F5-FA5784CFD5AE}"/>
              </a:ext>
            </a:extLst>
          </p:cNvPr>
          <p:cNvSpPr>
            <a:spLocks noGrp="1"/>
          </p:cNvSpPr>
          <p:nvPr>
            <p:ph type="body" sz="quarter" idx="14" hasCustomPrompt="1"/>
          </p:nvPr>
        </p:nvSpPr>
        <p:spPr>
          <a:xfrm>
            <a:off x="304800" y="5441827"/>
            <a:ext cx="5791199" cy="1097215"/>
          </a:xfrm>
          <a:prstGeom prst="rect">
            <a:avLst/>
          </a:prstGeom>
        </p:spPr>
        <p:txBody>
          <a:bodyPr lIns="0" tIns="0" rIns="0" bIns="0" anchor="t">
            <a:normAutofit/>
          </a:bodyPr>
          <a:lstStyle>
            <a:lvl1pPr marL="179388" marR="0" indent="-179388" algn="l" defTabSz="914400" rtl="0" eaLnBrk="1" fontAlgn="auto" latinLnBrk="0" hangingPunct="1">
              <a:lnSpc>
                <a:spcPct val="120000"/>
              </a:lnSpc>
              <a:spcBef>
                <a:spcPts val="0"/>
              </a:spcBef>
              <a:spcAft>
                <a:spcPts val="0"/>
              </a:spcAft>
              <a:buClr>
                <a:schemeClr val="accent4"/>
              </a:buClr>
              <a:buSzPct val="100000"/>
              <a:buFontTx/>
              <a:buNone/>
              <a:tabLst/>
              <a:defRPr sz="1400" b="0" baseline="0">
                <a:solidFill>
                  <a:schemeClr val="accent5"/>
                </a:solidFill>
              </a:defRPr>
            </a:lvl1pPr>
            <a:lvl2pPr marL="114300" indent="4763">
              <a:spcAft>
                <a:spcPts val="0"/>
              </a:spcAft>
              <a:buFontTx/>
              <a:buNone/>
              <a:defRPr sz="1400" i="1" baseline="0">
                <a:solidFill>
                  <a:schemeClr val="tx1"/>
                </a:solidFill>
              </a:defRPr>
            </a:lvl2pPr>
          </a:lstStyle>
          <a:p>
            <a:pPr marL="411480" marR="0" lvl="0" indent="-411480" algn="l" defTabSz="914400" rtl="0" eaLnBrk="1" fontAlgn="auto" latinLnBrk="0" hangingPunct="1">
              <a:lnSpc>
                <a:spcPct val="120000"/>
              </a:lnSpc>
              <a:spcBef>
                <a:spcPts val="0"/>
              </a:spcBef>
              <a:spcAft>
                <a:spcPts val="0"/>
              </a:spcAft>
              <a:buClr>
                <a:schemeClr val="accent4"/>
              </a:buClr>
              <a:buSzPct val="100000"/>
              <a:buFontTx/>
              <a:buNone/>
              <a:tabLst/>
              <a:defRPr/>
            </a:pPr>
            <a:r>
              <a:rPr lang="en-US"/>
              <a:t>Presenter Title [14pt Arial]</a:t>
            </a:r>
          </a:p>
        </p:txBody>
      </p:sp>
      <p:sp>
        <p:nvSpPr>
          <p:cNvPr id="152" name="Rectangle 151">
            <a:extLst>
              <a:ext uri="{FF2B5EF4-FFF2-40B4-BE49-F238E27FC236}">
                <a16:creationId xmlns:a16="http://schemas.microsoft.com/office/drawing/2014/main" id="{C0BEC649-1D30-4A5D-A693-D0B73B0F6D98}"/>
              </a:ext>
            </a:extLst>
          </p:cNvPr>
          <p:cNvSpPr/>
          <p:nvPr userDrawn="1"/>
        </p:nvSpPr>
        <p:spPr>
          <a:xfrm>
            <a:off x="350896" y="4399242"/>
            <a:ext cx="4963419" cy="400110"/>
          </a:xfrm>
          <a:prstGeom prst="rect">
            <a:avLst/>
          </a:prstGeom>
        </p:spPr>
        <p:txBody>
          <a:bodyPr wrap="square" lIns="0" rIns="182880">
            <a:spAutoFit/>
          </a:bodyPr>
          <a:lstStyle/>
          <a:p>
            <a:pPr algn="l"/>
            <a:r>
              <a:rPr lang="en-US" sz="2000" b="0">
                <a:solidFill>
                  <a:schemeClr val="bg2">
                    <a:lumMod val="75000"/>
                  </a:schemeClr>
                </a:solidFill>
              </a:rPr>
              <a:t>2021 SPBD Annual Team Meeting</a:t>
            </a:r>
            <a:endParaRPr lang="en-US" sz="1200" b="0">
              <a:solidFill>
                <a:schemeClr val="bg2">
                  <a:lumMod val="75000"/>
                </a:schemeClr>
              </a:solidFill>
            </a:endParaRPr>
          </a:p>
        </p:txBody>
      </p:sp>
      <p:pic>
        <p:nvPicPr>
          <p:cNvPr id="6" name="Graphic 5">
            <a:extLst>
              <a:ext uri="{FF2B5EF4-FFF2-40B4-BE49-F238E27FC236}">
                <a16:creationId xmlns:a16="http://schemas.microsoft.com/office/drawing/2014/main" id="{31E57CEA-B8CB-4266-808F-A27BA9C060E4}"/>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82697"/>
          <a:stretch/>
        </p:blipFill>
        <p:spPr>
          <a:xfrm>
            <a:off x="10390909" y="1719544"/>
            <a:ext cx="1801092" cy="1133066"/>
          </a:xfrm>
          <a:prstGeom prst="rect">
            <a:avLst/>
          </a:prstGeom>
        </p:spPr>
      </p:pic>
      <p:pic>
        <p:nvPicPr>
          <p:cNvPr id="11" name="Picture 10">
            <a:extLst>
              <a:ext uri="{FF2B5EF4-FFF2-40B4-BE49-F238E27FC236}">
                <a16:creationId xmlns:a16="http://schemas.microsoft.com/office/drawing/2014/main" id="{B432D42F-C6B9-4722-84FF-BA015CA60AD1}"/>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t="1" b="13891"/>
          <a:stretch/>
        </p:blipFill>
        <p:spPr>
          <a:xfrm>
            <a:off x="7194346" y="2648781"/>
            <a:ext cx="4655929" cy="4009194"/>
          </a:xfrm>
          <a:prstGeom prst="rect">
            <a:avLst/>
          </a:prstGeom>
        </p:spPr>
      </p:pic>
      <p:sp>
        <p:nvSpPr>
          <p:cNvPr id="10" name="TextBox 9">
            <a:extLst>
              <a:ext uri="{FF2B5EF4-FFF2-40B4-BE49-F238E27FC236}">
                <a16:creationId xmlns:a16="http://schemas.microsoft.com/office/drawing/2014/main" id="{669FC78D-479F-9746-976E-B95533BEB3B2}"/>
              </a:ext>
            </a:extLst>
          </p:cNvPr>
          <p:cNvSpPr txBox="1"/>
          <p:nvPr userDrawn="1"/>
        </p:nvSpPr>
        <p:spPr>
          <a:xfrm>
            <a:off x="1517074" y="1693717"/>
            <a:ext cx="8842663" cy="1006109"/>
          </a:xfrm>
          <a:prstGeom prst="rect">
            <a:avLst/>
          </a:prstGeom>
          <a:noFill/>
        </p:spPr>
        <p:txBody>
          <a:bodyPr wrap="square" lIns="0" tIns="0" rIns="0" bIns="0" rtlCol="0">
            <a:spAutoFit/>
          </a:bodyPr>
          <a:lstStyle/>
          <a:p>
            <a:pPr marL="0" indent="0" algn="r" defTabSz="914400">
              <a:lnSpc>
                <a:spcPct val="120000"/>
              </a:lnSpc>
              <a:spcBef>
                <a:spcPts val="200"/>
              </a:spcBef>
              <a:buClr>
                <a:schemeClr val="tx2"/>
              </a:buClr>
              <a:buSzPct val="100000"/>
              <a:buFont typeface="Arial" panose="020B0604020202020204" pitchFamily="34" charset="0"/>
              <a:buNone/>
            </a:pPr>
            <a:r>
              <a:rPr lang="en-US" sz="6000">
                <a:solidFill>
                  <a:schemeClr val="accent5"/>
                </a:solidFill>
              </a:rPr>
              <a:t>Leading</a:t>
            </a:r>
            <a:r>
              <a:rPr lang="en-US" sz="6000">
                <a:solidFill>
                  <a:schemeClr val="bg1"/>
                </a:solidFill>
              </a:rPr>
              <a:t> </a:t>
            </a:r>
            <a:r>
              <a:rPr lang="en-US" sz="6000" i="1">
                <a:solidFill>
                  <a:schemeClr val="bg1"/>
                </a:solidFill>
              </a:rPr>
              <a:t>with Purpose</a:t>
            </a:r>
          </a:p>
        </p:txBody>
      </p:sp>
    </p:spTree>
    <p:extLst>
      <p:ext uri="{BB962C8B-B14F-4D97-AF65-F5344CB8AC3E}">
        <p14:creationId xmlns:p14="http://schemas.microsoft.com/office/powerpoint/2010/main" val="405484176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2_Default title slide 1">
    <p:bg>
      <p:bgPr>
        <a:gradFill>
          <a:gsLst>
            <a:gs pos="46000">
              <a:schemeClr val="tx2"/>
            </a:gs>
            <a:gs pos="0">
              <a:schemeClr val="tx2"/>
            </a:gs>
            <a:gs pos="100000">
              <a:schemeClr val="tx2">
                <a:lumMod val="50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1C04CAF-0A21-4E4A-AC72-936E1A05B599}"/>
              </a:ext>
            </a:extLst>
          </p:cNvPr>
          <p:cNvSpPr/>
          <p:nvPr userDrawn="1"/>
        </p:nvSpPr>
        <p:spPr bwMode="auto">
          <a:xfrm>
            <a:off x="0" y="248478"/>
            <a:ext cx="12192000" cy="6858000"/>
          </a:xfrm>
          <a:prstGeom prst="rect">
            <a:avLst/>
          </a:prstGeom>
          <a:gradFill flip="none" rotWithShape="1">
            <a:gsLst>
              <a:gs pos="62000">
                <a:schemeClr val="tx2"/>
              </a:gs>
              <a:gs pos="100000">
                <a:schemeClr val="tx2">
                  <a:lumMod val="50000"/>
                </a:schemeClr>
              </a:gs>
            </a:gsLst>
            <a:path path="circle">
              <a:fillToRect l="100000" t="100000"/>
            </a:path>
            <a:tileRect r="-100000" b="-100000"/>
          </a:gra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a:latin typeface="Arial" pitchFamily="124" charset="0"/>
            </a:endParaRPr>
          </a:p>
        </p:txBody>
      </p:sp>
      <p:pic>
        <p:nvPicPr>
          <p:cNvPr id="150" name="Picture 149">
            <a:extLst>
              <a:ext uri="{FF2B5EF4-FFF2-40B4-BE49-F238E27FC236}">
                <a16:creationId xmlns:a16="http://schemas.microsoft.com/office/drawing/2014/main" id="{61C0A923-C24D-43C3-AFF5-F671AA0811B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3891"/>
          <a:stretch/>
        </p:blipFill>
        <p:spPr>
          <a:xfrm>
            <a:off x="609599" y="2882978"/>
            <a:ext cx="4438652" cy="3822098"/>
          </a:xfrm>
          <a:prstGeom prst="rect">
            <a:avLst/>
          </a:prstGeom>
        </p:spPr>
      </p:pic>
      <p:grpSp>
        <p:nvGrpSpPr>
          <p:cNvPr id="7" name="Group 6">
            <a:extLst>
              <a:ext uri="{FF2B5EF4-FFF2-40B4-BE49-F238E27FC236}">
                <a16:creationId xmlns:a16="http://schemas.microsoft.com/office/drawing/2014/main" id="{B1F511C6-A535-A245-B123-CC04435D2DAF}"/>
              </a:ext>
            </a:extLst>
          </p:cNvPr>
          <p:cNvGrpSpPr/>
          <p:nvPr/>
        </p:nvGrpSpPr>
        <p:grpSpPr>
          <a:xfrm>
            <a:off x="304799" y="0"/>
            <a:ext cx="2427681" cy="1044934"/>
            <a:chOff x="0" y="0"/>
            <a:chExt cx="2447693" cy="1053548"/>
          </a:xfrm>
        </p:grpSpPr>
        <p:sp>
          <p:nvSpPr>
            <p:cNvPr id="8" name="Parallelogram 7">
              <a:extLst>
                <a:ext uri="{FF2B5EF4-FFF2-40B4-BE49-F238E27FC236}">
                  <a16:creationId xmlns:a16="http://schemas.microsoft.com/office/drawing/2014/main" id="{6399281C-FD14-2942-9A9B-13B5E50B7517}"/>
                </a:ext>
              </a:extLst>
            </p:cNvPr>
            <p:cNvSpPr/>
            <p:nvPr/>
          </p:nvSpPr>
          <p:spPr bwMode="auto">
            <a:xfrm>
              <a:off x="0" y="0"/>
              <a:ext cx="2447693" cy="1053548"/>
            </a:xfrm>
            <a:prstGeom prst="parallelogram">
              <a:avLst>
                <a:gd name="adj" fmla="val 0"/>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a:latin typeface="Arial" pitchFamily="124" charset="0"/>
                </a:rPr>
                <a:t>               </a:t>
              </a:r>
            </a:p>
          </p:txBody>
        </p:sp>
        <p:pic>
          <p:nvPicPr>
            <p:cNvPr id="9" name="Picture 8">
              <a:extLst>
                <a:ext uri="{FF2B5EF4-FFF2-40B4-BE49-F238E27FC236}">
                  <a16:creationId xmlns:a16="http://schemas.microsoft.com/office/drawing/2014/main" id="{7D60AD95-BD80-6049-9976-D024EC4ECDE8}"/>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35820" y="154984"/>
              <a:ext cx="2178058" cy="756021"/>
            </a:xfrm>
            <a:prstGeom prst="rect">
              <a:avLst/>
            </a:prstGeom>
          </p:spPr>
        </p:pic>
      </p:grpSp>
      <p:sp>
        <p:nvSpPr>
          <p:cNvPr id="15" name="Text Placeholder 15">
            <a:extLst>
              <a:ext uri="{FF2B5EF4-FFF2-40B4-BE49-F238E27FC236}">
                <a16:creationId xmlns:a16="http://schemas.microsoft.com/office/drawing/2014/main" id="{8209BE38-5C75-4E48-AACA-BEDC106131D5}"/>
              </a:ext>
            </a:extLst>
          </p:cNvPr>
          <p:cNvSpPr>
            <a:spLocks noGrp="1"/>
          </p:cNvSpPr>
          <p:nvPr>
            <p:ph type="body" sz="quarter" idx="10" hasCustomPrompt="1"/>
          </p:nvPr>
        </p:nvSpPr>
        <p:spPr>
          <a:xfrm>
            <a:off x="5338005" y="5112470"/>
            <a:ext cx="5791199" cy="308120"/>
          </a:xfrm>
          <a:prstGeom prst="rect">
            <a:avLst/>
          </a:prstGeom>
        </p:spPr>
        <p:txBody>
          <a:bodyPr lIns="0" tIns="0" rIns="0" bIns="0" anchor="b"/>
          <a:lstStyle>
            <a:lvl1pPr>
              <a:spcBef>
                <a:spcPts val="0"/>
              </a:spcBef>
              <a:spcAft>
                <a:spcPts val="0"/>
              </a:spcAft>
              <a:buFontTx/>
              <a:buNone/>
              <a:defRPr sz="1600" b="1" baseline="0">
                <a:solidFill>
                  <a:schemeClr val="bg1"/>
                </a:solidFill>
              </a:defRPr>
            </a:lvl1pPr>
            <a:lvl2pPr marL="114300" indent="4763">
              <a:spcAft>
                <a:spcPts val="0"/>
              </a:spcAft>
              <a:buFontTx/>
              <a:buNone/>
              <a:defRPr sz="1400" i="1" baseline="0">
                <a:solidFill>
                  <a:schemeClr val="tx1"/>
                </a:solidFill>
              </a:defRPr>
            </a:lvl2pPr>
          </a:lstStyle>
          <a:p>
            <a:pPr lvl="0"/>
            <a:r>
              <a:rPr lang="en-US"/>
              <a:t>Presenter name [16pt Arial] </a:t>
            </a:r>
          </a:p>
        </p:txBody>
      </p:sp>
      <p:sp>
        <p:nvSpPr>
          <p:cNvPr id="16" name="Title 16">
            <a:extLst>
              <a:ext uri="{FF2B5EF4-FFF2-40B4-BE49-F238E27FC236}">
                <a16:creationId xmlns:a16="http://schemas.microsoft.com/office/drawing/2014/main" id="{B2B8D3D1-6FA6-C04D-951C-FD0E7458C808}"/>
              </a:ext>
            </a:extLst>
          </p:cNvPr>
          <p:cNvSpPr>
            <a:spLocks noGrp="1"/>
          </p:cNvSpPr>
          <p:nvPr>
            <p:ph type="title" hasCustomPrompt="1"/>
          </p:nvPr>
        </p:nvSpPr>
        <p:spPr>
          <a:xfrm>
            <a:off x="5318955" y="2984014"/>
            <a:ext cx="5432644" cy="1483087"/>
          </a:xfrm>
          <a:prstGeom prst="rect">
            <a:avLst/>
          </a:prstGeom>
          <a:noFill/>
        </p:spPr>
        <p:txBody>
          <a:bodyPr wrap="square" lIns="0" tIns="91440" rIns="91440" bIns="91440" anchor="b">
            <a:noAutofit/>
          </a:bodyPr>
          <a:lstStyle>
            <a:lvl1pPr>
              <a:lnSpc>
                <a:spcPts val="3100"/>
              </a:lnSpc>
              <a:defRPr sz="2800" b="1">
                <a:solidFill>
                  <a:schemeClr val="bg1"/>
                </a:solidFill>
              </a:defRPr>
            </a:lvl1pPr>
          </a:lstStyle>
          <a:p>
            <a:r>
              <a:rPr lang="en-US"/>
              <a:t>Title [28pt Arial Bold] </a:t>
            </a:r>
          </a:p>
        </p:txBody>
      </p:sp>
      <p:sp>
        <p:nvSpPr>
          <p:cNvPr id="21" name="Text Placeholder 15">
            <a:extLst>
              <a:ext uri="{FF2B5EF4-FFF2-40B4-BE49-F238E27FC236}">
                <a16:creationId xmlns:a16="http://schemas.microsoft.com/office/drawing/2014/main" id="{046B4CC3-134E-7548-B9F5-FA5784CFD5AE}"/>
              </a:ext>
            </a:extLst>
          </p:cNvPr>
          <p:cNvSpPr>
            <a:spLocks noGrp="1"/>
          </p:cNvSpPr>
          <p:nvPr>
            <p:ph type="body" sz="quarter" idx="14" hasCustomPrompt="1"/>
          </p:nvPr>
        </p:nvSpPr>
        <p:spPr>
          <a:xfrm>
            <a:off x="5338005" y="5441827"/>
            <a:ext cx="5791199" cy="1097215"/>
          </a:xfrm>
          <a:prstGeom prst="rect">
            <a:avLst/>
          </a:prstGeom>
        </p:spPr>
        <p:txBody>
          <a:bodyPr lIns="0" tIns="0" rIns="0" bIns="0" anchor="t">
            <a:normAutofit/>
          </a:bodyPr>
          <a:lstStyle>
            <a:lvl1pPr marL="179388" marR="0" indent="-179388" algn="l" defTabSz="914400" rtl="0" eaLnBrk="1" fontAlgn="auto" latinLnBrk="0" hangingPunct="1">
              <a:lnSpc>
                <a:spcPct val="120000"/>
              </a:lnSpc>
              <a:spcBef>
                <a:spcPts val="0"/>
              </a:spcBef>
              <a:spcAft>
                <a:spcPts val="0"/>
              </a:spcAft>
              <a:buClr>
                <a:schemeClr val="accent4"/>
              </a:buClr>
              <a:buSzPct val="100000"/>
              <a:buFontTx/>
              <a:buNone/>
              <a:tabLst/>
              <a:defRPr sz="1400" b="0" baseline="0">
                <a:solidFill>
                  <a:schemeClr val="bg1"/>
                </a:solidFill>
              </a:defRPr>
            </a:lvl1pPr>
            <a:lvl2pPr marL="114300" indent="4763">
              <a:spcAft>
                <a:spcPts val="0"/>
              </a:spcAft>
              <a:buFontTx/>
              <a:buNone/>
              <a:defRPr sz="1400" i="1" baseline="0">
                <a:solidFill>
                  <a:schemeClr val="tx1"/>
                </a:solidFill>
              </a:defRPr>
            </a:lvl2pPr>
          </a:lstStyle>
          <a:p>
            <a:pPr marL="411480" marR="0" lvl="0" indent="-411480" algn="l" defTabSz="914400" rtl="0" eaLnBrk="1" fontAlgn="auto" latinLnBrk="0" hangingPunct="1">
              <a:lnSpc>
                <a:spcPct val="120000"/>
              </a:lnSpc>
              <a:spcBef>
                <a:spcPts val="0"/>
              </a:spcBef>
              <a:spcAft>
                <a:spcPts val="0"/>
              </a:spcAft>
              <a:buClr>
                <a:schemeClr val="accent4"/>
              </a:buClr>
              <a:buSzPct val="100000"/>
              <a:buFontTx/>
              <a:buNone/>
              <a:tabLst/>
              <a:defRPr/>
            </a:pPr>
            <a:r>
              <a:rPr lang="en-US"/>
              <a:t>Presenter Title [14pt Arial]</a:t>
            </a:r>
          </a:p>
        </p:txBody>
      </p:sp>
      <p:sp>
        <p:nvSpPr>
          <p:cNvPr id="2" name="Footer Placeholder 1">
            <a:extLst>
              <a:ext uri="{FF2B5EF4-FFF2-40B4-BE49-F238E27FC236}">
                <a16:creationId xmlns:a16="http://schemas.microsoft.com/office/drawing/2014/main" id="{BA129332-E471-D44D-8711-996E85A9EE29}"/>
              </a:ext>
            </a:extLst>
          </p:cNvPr>
          <p:cNvSpPr>
            <a:spLocks noGrp="1"/>
          </p:cNvSpPr>
          <p:nvPr>
            <p:ph type="ftr" sz="quarter" idx="11"/>
          </p:nvPr>
        </p:nvSpPr>
        <p:spPr>
          <a:xfrm>
            <a:off x="304800" y="6553200"/>
            <a:ext cx="5791200" cy="304799"/>
          </a:xfrm>
        </p:spPr>
        <p:txBody>
          <a:bodyPr/>
          <a:lstStyle>
            <a:lvl1pPr>
              <a:defRPr>
                <a:solidFill>
                  <a:schemeClr val="bg1"/>
                </a:solidFill>
              </a:defRPr>
            </a:lvl1pPr>
          </a:lstStyle>
          <a:p>
            <a:r>
              <a:rPr lang="en-US"/>
              <a:t>Proprietary &amp; Confidential |  authoremail@thermofisher.com | 12-April-2021</a:t>
            </a:r>
          </a:p>
        </p:txBody>
      </p:sp>
      <p:sp>
        <p:nvSpPr>
          <p:cNvPr id="3" name="Slide Number Placeholder 2">
            <a:extLst>
              <a:ext uri="{FF2B5EF4-FFF2-40B4-BE49-F238E27FC236}">
                <a16:creationId xmlns:a16="http://schemas.microsoft.com/office/drawing/2014/main" id="{B4F77913-5D2C-C141-AB22-388096EB8230}"/>
              </a:ext>
            </a:extLst>
          </p:cNvPr>
          <p:cNvSpPr>
            <a:spLocks noGrp="1"/>
          </p:cNvSpPr>
          <p:nvPr>
            <p:ph type="sldNum" sz="quarter" idx="12"/>
          </p:nvPr>
        </p:nvSpPr>
        <p:spPr/>
        <p:txBody>
          <a:bodyPr/>
          <a:lstStyle>
            <a:lvl1pPr>
              <a:defRPr>
                <a:solidFill>
                  <a:schemeClr val="bg1"/>
                </a:solidFill>
              </a:defRPr>
            </a:lvl1pPr>
          </a:lstStyle>
          <a:p>
            <a:fld id="{89006F1E-66CD-4A4B-9370-B4A3080F0E6C}" type="slidenum">
              <a:rPr lang="en-US" smtClean="0"/>
              <a:pPr/>
              <a:t>‹#›</a:t>
            </a:fld>
            <a:endParaRPr lang="en-US"/>
          </a:p>
        </p:txBody>
      </p:sp>
      <p:pic>
        <p:nvPicPr>
          <p:cNvPr id="6" name="Graphic 5">
            <a:extLst>
              <a:ext uri="{FF2B5EF4-FFF2-40B4-BE49-F238E27FC236}">
                <a16:creationId xmlns:a16="http://schemas.microsoft.com/office/drawing/2014/main" id="{31CCA636-A07C-43FF-9A18-000974D031FD}"/>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04800" y="1849933"/>
            <a:ext cx="11087100" cy="1206877"/>
          </a:xfrm>
          <a:prstGeom prst="rect">
            <a:avLst/>
          </a:prstGeom>
        </p:spPr>
      </p:pic>
      <p:sp>
        <p:nvSpPr>
          <p:cNvPr id="17" name="Text Placeholder 12">
            <a:extLst>
              <a:ext uri="{FF2B5EF4-FFF2-40B4-BE49-F238E27FC236}">
                <a16:creationId xmlns:a16="http://schemas.microsoft.com/office/drawing/2014/main" id="{7351543A-F9FB-A54C-B1A8-127D0329C264}"/>
              </a:ext>
            </a:extLst>
          </p:cNvPr>
          <p:cNvSpPr>
            <a:spLocks noGrp="1"/>
          </p:cNvSpPr>
          <p:nvPr>
            <p:ph type="body" sz="quarter" idx="16" hasCustomPrompt="1"/>
          </p:nvPr>
        </p:nvSpPr>
        <p:spPr>
          <a:xfrm>
            <a:off x="5318955" y="4481556"/>
            <a:ext cx="5432425" cy="382435"/>
          </a:xfrm>
        </p:spPr>
        <p:txBody>
          <a:bodyPr/>
          <a:lstStyle>
            <a:lvl1pPr>
              <a:buNone/>
              <a:defRPr>
                <a:solidFill>
                  <a:schemeClr val="bg1"/>
                </a:solidFill>
              </a:defRPr>
            </a:lvl1pPr>
            <a:lvl2pPr>
              <a:buNone/>
              <a:defRPr>
                <a:solidFill>
                  <a:schemeClr val="bg2">
                    <a:lumMod val="75000"/>
                  </a:schemeClr>
                </a:solidFill>
              </a:defRPr>
            </a:lvl2pPr>
            <a:lvl3pPr>
              <a:buNone/>
              <a:defRPr>
                <a:solidFill>
                  <a:schemeClr val="bg2">
                    <a:lumMod val="75000"/>
                  </a:schemeClr>
                </a:solidFill>
              </a:defRPr>
            </a:lvl3pPr>
            <a:lvl4pPr>
              <a:buNone/>
              <a:defRPr>
                <a:solidFill>
                  <a:schemeClr val="bg2">
                    <a:lumMod val="75000"/>
                  </a:schemeClr>
                </a:solidFill>
              </a:defRPr>
            </a:lvl4pPr>
            <a:lvl5pPr>
              <a:buNone/>
              <a:defRPr>
                <a:solidFill>
                  <a:schemeClr val="bg2">
                    <a:lumMod val="75000"/>
                  </a:schemeClr>
                </a:solidFill>
              </a:defRPr>
            </a:lvl5pPr>
          </a:lstStyle>
          <a:p>
            <a:pPr lvl="0"/>
            <a:r>
              <a:rPr lang="en-US"/>
              <a:t>Insert meeting name [20pt Arial]</a:t>
            </a:r>
          </a:p>
        </p:txBody>
      </p:sp>
    </p:spTree>
    <p:extLst>
      <p:ext uri="{BB962C8B-B14F-4D97-AF65-F5344CB8AC3E}">
        <p14:creationId xmlns:p14="http://schemas.microsoft.com/office/powerpoint/2010/main" val="333535840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4_Default title slide 1">
    <p:bg>
      <p:bgPr>
        <a:gradFill>
          <a:gsLst>
            <a:gs pos="46000">
              <a:schemeClr val="tx2"/>
            </a:gs>
            <a:gs pos="0">
              <a:schemeClr val="tx2"/>
            </a:gs>
            <a:gs pos="100000">
              <a:srgbClr val="215861"/>
            </a:gs>
          </a:gsLst>
          <a:path path="circle">
            <a:fillToRect l="50000" t="50000" r="50000" b="50000"/>
          </a:path>
        </a:gra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1C04CAF-0A21-4E4A-AC72-936E1A05B599}"/>
              </a:ext>
            </a:extLst>
          </p:cNvPr>
          <p:cNvSpPr/>
          <p:nvPr userDrawn="1"/>
        </p:nvSpPr>
        <p:spPr bwMode="auto">
          <a:xfrm>
            <a:off x="0" y="0"/>
            <a:ext cx="12192000" cy="6858000"/>
          </a:xfrm>
          <a:prstGeom prst="rect">
            <a:avLst/>
          </a:prstGeom>
          <a:gradFill flip="none" rotWithShape="1">
            <a:gsLst>
              <a:gs pos="59000">
                <a:schemeClr val="accent2">
                  <a:lumMod val="75000"/>
                </a:schemeClr>
              </a:gs>
              <a:gs pos="97000">
                <a:srgbClr val="215861"/>
              </a:gs>
            </a:gsLst>
            <a:path path="circle">
              <a:fillToRect l="100000" t="100000"/>
            </a:path>
            <a:tileRect r="-100000" b="-100000"/>
          </a:gra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a:latin typeface="Arial" pitchFamily="124" charset="0"/>
            </a:endParaRPr>
          </a:p>
        </p:txBody>
      </p:sp>
      <p:grpSp>
        <p:nvGrpSpPr>
          <p:cNvPr id="7" name="Group 6">
            <a:extLst>
              <a:ext uri="{FF2B5EF4-FFF2-40B4-BE49-F238E27FC236}">
                <a16:creationId xmlns:a16="http://schemas.microsoft.com/office/drawing/2014/main" id="{B1F511C6-A535-A245-B123-CC04435D2DAF}"/>
              </a:ext>
            </a:extLst>
          </p:cNvPr>
          <p:cNvGrpSpPr/>
          <p:nvPr/>
        </p:nvGrpSpPr>
        <p:grpSpPr>
          <a:xfrm>
            <a:off x="304799" y="0"/>
            <a:ext cx="2427681" cy="1044934"/>
            <a:chOff x="0" y="0"/>
            <a:chExt cx="2447693" cy="1053548"/>
          </a:xfrm>
        </p:grpSpPr>
        <p:sp>
          <p:nvSpPr>
            <p:cNvPr id="8" name="Parallelogram 7">
              <a:extLst>
                <a:ext uri="{FF2B5EF4-FFF2-40B4-BE49-F238E27FC236}">
                  <a16:creationId xmlns:a16="http://schemas.microsoft.com/office/drawing/2014/main" id="{6399281C-FD14-2942-9A9B-13B5E50B7517}"/>
                </a:ext>
              </a:extLst>
            </p:cNvPr>
            <p:cNvSpPr/>
            <p:nvPr/>
          </p:nvSpPr>
          <p:spPr bwMode="auto">
            <a:xfrm>
              <a:off x="0" y="0"/>
              <a:ext cx="2447693" cy="1053548"/>
            </a:xfrm>
            <a:prstGeom prst="parallelogram">
              <a:avLst>
                <a:gd name="adj" fmla="val 0"/>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a:latin typeface="Arial" pitchFamily="124" charset="0"/>
                </a:rPr>
                <a:t>               </a:t>
              </a:r>
            </a:p>
          </p:txBody>
        </p:sp>
        <p:pic>
          <p:nvPicPr>
            <p:cNvPr id="9" name="Picture 8">
              <a:extLst>
                <a:ext uri="{FF2B5EF4-FFF2-40B4-BE49-F238E27FC236}">
                  <a16:creationId xmlns:a16="http://schemas.microsoft.com/office/drawing/2014/main" id="{7D60AD95-BD80-6049-9976-D024EC4ECDE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35820" y="154984"/>
              <a:ext cx="2178058" cy="756021"/>
            </a:xfrm>
            <a:prstGeom prst="rect">
              <a:avLst/>
            </a:prstGeom>
          </p:spPr>
        </p:pic>
      </p:grpSp>
      <p:sp>
        <p:nvSpPr>
          <p:cNvPr id="15" name="Text Placeholder 15">
            <a:extLst>
              <a:ext uri="{FF2B5EF4-FFF2-40B4-BE49-F238E27FC236}">
                <a16:creationId xmlns:a16="http://schemas.microsoft.com/office/drawing/2014/main" id="{8209BE38-5C75-4E48-AACA-BEDC106131D5}"/>
              </a:ext>
            </a:extLst>
          </p:cNvPr>
          <p:cNvSpPr>
            <a:spLocks noGrp="1"/>
          </p:cNvSpPr>
          <p:nvPr>
            <p:ph type="body" sz="quarter" idx="10" hasCustomPrompt="1"/>
          </p:nvPr>
        </p:nvSpPr>
        <p:spPr>
          <a:xfrm>
            <a:off x="5338005" y="5112470"/>
            <a:ext cx="5791199" cy="308120"/>
          </a:xfrm>
          <a:prstGeom prst="rect">
            <a:avLst/>
          </a:prstGeom>
        </p:spPr>
        <p:txBody>
          <a:bodyPr lIns="0" tIns="0" rIns="0" bIns="0" anchor="b"/>
          <a:lstStyle>
            <a:lvl1pPr>
              <a:spcBef>
                <a:spcPts val="0"/>
              </a:spcBef>
              <a:spcAft>
                <a:spcPts val="0"/>
              </a:spcAft>
              <a:buFontTx/>
              <a:buNone/>
              <a:defRPr sz="1600" b="1" baseline="0">
                <a:solidFill>
                  <a:schemeClr val="bg1"/>
                </a:solidFill>
              </a:defRPr>
            </a:lvl1pPr>
            <a:lvl2pPr marL="114300" indent="4763">
              <a:spcAft>
                <a:spcPts val="0"/>
              </a:spcAft>
              <a:buFontTx/>
              <a:buNone/>
              <a:defRPr sz="1400" i="1" baseline="0">
                <a:solidFill>
                  <a:schemeClr val="tx1"/>
                </a:solidFill>
              </a:defRPr>
            </a:lvl2pPr>
          </a:lstStyle>
          <a:p>
            <a:pPr lvl="0"/>
            <a:r>
              <a:rPr lang="en-US"/>
              <a:t>Presenter name [16pt Arial] </a:t>
            </a:r>
          </a:p>
        </p:txBody>
      </p:sp>
      <p:sp>
        <p:nvSpPr>
          <p:cNvPr id="16" name="Title 16">
            <a:extLst>
              <a:ext uri="{FF2B5EF4-FFF2-40B4-BE49-F238E27FC236}">
                <a16:creationId xmlns:a16="http://schemas.microsoft.com/office/drawing/2014/main" id="{B2B8D3D1-6FA6-C04D-951C-FD0E7458C808}"/>
              </a:ext>
            </a:extLst>
          </p:cNvPr>
          <p:cNvSpPr>
            <a:spLocks noGrp="1"/>
          </p:cNvSpPr>
          <p:nvPr>
            <p:ph type="title" hasCustomPrompt="1"/>
          </p:nvPr>
        </p:nvSpPr>
        <p:spPr>
          <a:xfrm>
            <a:off x="5318955" y="2984014"/>
            <a:ext cx="5432644" cy="1483087"/>
          </a:xfrm>
          <a:prstGeom prst="rect">
            <a:avLst/>
          </a:prstGeom>
          <a:noFill/>
        </p:spPr>
        <p:txBody>
          <a:bodyPr wrap="square" lIns="0" tIns="91440" rIns="91440" bIns="91440" anchor="b">
            <a:noAutofit/>
          </a:bodyPr>
          <a:lstStyle>
            <a:lvl1pPr>
              <a:lnSpc>
                <a:spcPts val="3100"/>
              </a:lnSpc>
              <a:defRPr sz="2800" b="1">
                <a:solidFill>
                  <a:schemeClr val="bg1"/>
                </a:solidFill>
              </a:defRPr>
            </a:lvl1pPr>
          </a:lstStyle>
          <a:p>
            <a:r>
              <a:rPr lang="en-US"/>
              <a:t>Title [28pt Arial Bold] </a:t>
            </a:r>
          </a:p>
        </p:txBody>
      </p:sp>
      <p:sp>
        <p:nvSpPr>
          <p:cNvPr id="21" name="Text Placeholder 15">
            <a:extLst>
              <a:ext uri="{FF2B5EF4-FFF2-40B4-BE49-F238E27FC236}">
                <a16:creationId xmlns:a16="http://schemas.microsoft.com/office/drawing/2014/main" id="{046B4CC3-134E-7548-B9F5-FA5784CFD5AE}"/>
              </a:ext>
            </a:extLst>
          </p:cNvPr>
          <p:cNvSpPr>
            <a:spLocks noGrp="1"/>
          </p:cNvSpPr>
          <p:nvPr>
            <p:ph type="body" sz="quarter" idx="14" hasCustomPrompt="1"/>
          </p:nvPr>
        </p:nvSpPr>
        <p:spPr>
          <a:xfrm>
            <a:off x="5338005" y="5441827"/>
            <a:ext cx="5791199" cy="1097215"/>
          </a:xfrm>
          <a:prstGeom prst="rect">
            <a:avLst/>
          </a:prstGeom>
        </p:spPr>
        <p:txBody>
          <a:bodyPr lIns="0" tIns="0" rIns="0" bIns="0" anchor="t">
            <a:normAutofit/>
          </a:bodyPr>
          <a:lstStyle>
            <a:lvl1pPr marL="179388" marR="0" indent="-179388" algn="l" defTabSz="914400" rtl="0" eaLnBrk="1" fontAlgn="auto" latinLnBrk="0" hangingPunct="1">
              <a:lnSpc>
                <a:spcPct val="120000"/>
              </a:lnSpc>
              <a:spcBef>
                <a:spcPts val="0"/>
              </a:spcBef>
              <a:spcAft>
                <a:spcPts val="0"/>
              </a:spcAft>
              <a:buClr>
                <a:schemeClr val="accent4"/>
              </a:buClr>
              <a:buSzPct val="100000"/>
              <a:buFontTx/>
              <a:buNone/>
              <a:tabLst/>
              <a:defRPr sz="1400" b="0" baseline="0">
                <a:solidFill>
                  <a:schemeClr val="bg1"/>
                </a:solidFill>
              </a:defRPr>
            </a:lvl1pPr>
            <a:lvl2pPr marL="114300" indent="4763">
              <a:spcAft>
                <a:spcPts val="0"/>
              </a:spcAft>
              <a:buFontTx/>
              <a:buNone/>
              <a:defRPr sz="1400" i="1" baseline="0">
                <a:solidFill>
                  <a:schemeClr val="tx1"/>
                </a:solidFill>
              </a:defRPr>
            </a:lvl2pPr>
          </a:lstStyle>
          <a:p>
            <a:pPr marL="411480" marR="0" lvl="0" indent="-411480" algn="l" defTabSz="914400" rtl="0" eaLnBrk="1" fontAlgn="auto" latinLnBrk="0" hangingPunct="1">
              <a:lnSpc>
                <a:spcPct val="120000"/>
              </a:lnSpc>
              <a:spcBef>
                <a:spcPts val="0"/>
              </a:spcBef>
              <a:spcAft>
                <a:spcPts val="0"/>
              </a:spcAft>
              <a:buClr>
                <a:schemeClr val="accent4"/>
              </a:buClr>
              <a:buSzPct val="100000"/>
              <a:buFontTx/>
              <a:buNone/>
              <a:tabLst/>
              <a:defRPr/>
            </a:pPr>
            <a:r>
              <a:rPr lang="en-US"/>
              <a:t>Presenter Title [14pt Arial]</a:t>
            </a:r>
          </a:p>
        </p:txBody>
      </p:sp>
      <p:sp>
        <p:nvSpPr>
          <p:cNvPr id="2" name="Footer Placeholder 1">
            <a:extLst>
              <a:ext uri="{FF2B5EF4-FFF2-40B4-BE49-F238E27FC236}">
                <a16:creationId xmlns:a16="http://schemas.microsoft.com/office/drawing/2014/main" id="{BA129332-E471-D44D-8711-996E85A9EE29}"/>
              </a:ext>
            </a:extLst>
          </p:cNvPr>
          <p:cNvSpPr>
            <a:spLocks noGrp="1"/>
          </p:cNvSpPr>
          <p:nvPr>
            <p:ph type="ftr" sz="quarter" idx="11"/>
          </p:nvPr>
        </p:nvSpPr>
        <p:spPr>
          <a:xfrm>
            <a:off x="304800" y="6553200"/>
            <a:ext cx="5791200" cy="304799"/>
          </a:xfrm>
        </p:spPr>
        <p:txBody>
          <a:bodyPr/>
          <a:lstStyle>
            <a:lvl1pPr>
              <a:defRPr>
                <a:solidFill>
                  <a:schemeClr val="bg1"/>
                </a:solidFill>
              </a:defRPr>
            </a:lvl1pPr>
          </a:lstStyle>
          <a:p>
            <a:r>
              <a:rPr lang="en-US"/>
              <a:t>Proprietary &amp; Confidential |  authoremail@thermofisher.com | 12-April-2021</a:t>
            </a:r>
          </a:p>
        </p:txBody>
      </p:sp>
      <p:sp>
        <p:nvSpPr>
          <p:cNvPr id="3" name="Slide Number Placeholder 2">
            <a:extLst>
              <a:ext uri="{FF2B5EF4-FFF2-40B4-BE49-F238E27FC236}">
                <a16:creationId xmlns:a16="http://schemas.microsoft.com/office/drawing/2014/main" id="{B4F77913-5D2C-C141-AB22-388096EB8230}"/>
              </a:ext>
            </a:extLst>
          </p:cNvPr>
          <p:cNvSpPr>
            <a:spLocks noGrp="1"/>
          </p:cNvSpPr>
          <p:nvPr>
            <p:ph type="sldNum" sz="quarter" idx="12"/>
          </p:nvPr>
        </p:nvSpPr>
        <p:spPr/>
        <p:txBody>
          <a:bodyPr/>
          <a:lstStyle>
            <a:lvl1pPr>
              <a:defRPr>
                <a:solidFill>
                  <a:schemeClr val="bg1"/>
                </a:solidFill>
              </a:defRPr>
            </a:lvl1pPr>
          </a:lstStyle>
          <a:p>
            <a:fld id="{89006F1E-66CD-4A4B-9370-B4A3080F0E6C}" type="slidenum">
              <a:rPr lang="en-US" smtClean="0"/>
              <a:pPr/>
              <a:t>‹#›</a:t>
            </a:fld>
            <a:endParaRPr lang="en-US"/>
          </a:p>
        </p:txBody>
      </p:sp>
      <p:pic>
        <p:nvPicPr>
          <p:cNvPr id="146" name="Graphic 145">
            <a:extLst>
              <a:ext uri="{FF2B5EF4-FFF2-40B4-BE49-F238E27FC236}">
                <a16:creationId xmlns:a16="http://schemas.microsoft.com/office/drawing/2014/main" id="{2B076BE0-E2E1-4342-8A03-28DA3B097D15}"/>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04800" y="1849933"/>
            <a:ext cx="11087100" cy="1206877"/>
          </a:xfrm>
          <a:prstGeom prst="rect">
            <a:avLst/>
          </a:prstGeom>
        </p:spPr>
      </p:pic>
      <p:pic>
        <p:nvPicPr>
          <p:cNvPr id="147" name="Picture 146">
            <a:extLst>
              <a:ext uri="{FF2B5EF4-FFF2-40B4-BE49-F238E27FC236}">
                <a16:creationId xmlns:a16="http://schemas.microsoft.com/office/drawing/2014/main" id="{5C84972E-7F11-4789-A925-8120D7BE8DE0}"/>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l="-1" r="-856" b="14588"/>
          <a:stretch/>
        </p:blipFill>
        <p:spPr>
          <a:xfrm>
            <a:off x="617615" y="2882977"/>
            <a:ext cx="4457304" cy="3774753"/>
          </a:xfrm>
          <a:prstGeom prst="rect">
            <a:avLst/>
          </a:prstGeom>
        </p:spPr>
      </p:pic>
      <p:sp>
        <p:nvSpPr>
          <p:cNvPr id="14" name="Text Placeholder 12">
            <a:extLst>
              <a:ext uri="{FF2B5EF4-FFF2-40B4-BE49-F238E27FC236}">
                <a16:creationId xmlns:a16="http://schemas.microsoft.com/office/drawing/2014/main" id="{0682D323-0520-8640-9C75-DC648C455999}"/>
              </a:ext>
            </a:extLst>
          </p:cNvPr>
          <p:cNvSpPr>
            <a:spLocks noGrp="1"/>
          </p:cNvSpPr>
          <p:nvPr>
            <p:ph type="body" sz="quarter" idx="16" hasCustomPrompt="1"/>
          </p:nvPr>
        </p:nvSpPr>
        <p:spPr>
          <a:xfrm>
            <a:off x="5318955" y="4481556"/>
            <a:ext cx="5432425" cy="382435"/>
          </a:xfrm>
        </p:spPr>
        <p:txBody>
          <a:bodyPr/>
          <a:lstStyle>
            <a:lvl1pPr>
              <a:buNone/>
              <a:defRPr>
                <a:solidFill>
                  <a:schemeClr val="bg1"/>
                </a:solidFill>
              </a:defRPr>
            </a:lvl1pPr>
            <a:lvl2pPr>
              <a:buNone/>
              <a:defRPr>
                <a:solidFill>
                  <a:schemeClr val="bg2">
                    <a:lumMod val="75000"/>
                  </a:schemeClr>
                </a:solidFill>
              </a:defRPr>
            </a:lvl2pPr>
            <a:lvl3pPr>
              <a:buNone/>
              <a:defRPr>
                <a:solidFill>
                  <a:schemeClr val="bg2">
                    <a:lumMod val="75000"/>
                  </a:schemeClr>
                </a:solidFill>
              </a:defRPr>
            </a:lvl3pPr>
            <a:lvl4pPr>
              <a:buNone/>
              <a:defRPr>
                <a:solidFill>
                  <a:schemeClr val="bg2">
                    <a:lumMod val="75000"/>
                  </a:schemeClr>
                </a:solidFill>
              </a:defRPr>
            </a:lvl4pPr>
            <a:lvl5pPr>
              <a:buNone/>
              <a:defRPr>
                <a:solidFill>
                  <a:schemeClr val="bg2">
                    <a:lumMod val="75000"/>
                  </a:schemeClr>
                </a:solidFill>
              </a:defRPr>
            </a:lvl5pPr>
          </a:lstStyle>
          <a:p>
            <a:pPr lvl="0"/>
            <a:r>
              <a:rPr lang="en-US"/>
              <a:t>Insert meeting name [20pt Arial]</a:t>
            </a:r>
          </a:p>
        </p:txBody>
      </p:sp>
    </p:spTree>
    <p:extLst>
      <p:ext uri="{BB962C8B-B14F-4D97-AF65-F5344CB8AC3E}">
        <p14:creationId xmlns:p14="http://schemas.microsoft.com/office/powerpoint/2010/main" val="98401203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Default title slide 2">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7D997E8D-54A7-034E-BB18-43BE9D8B72AF}"/>
              </a:ext>
            </a:extLst>
          </p:cNvPr>
          <p:cNvGrpSpPr/>
          <p:nvPr/>
        </p:nvGrpSpPr>
        <p:grpSpPr>
          <a:xfrm>
            <a:off x="10015961" y="24564"/>
            <a:ext cx="2176039" cy="6833436"/>
            <a:chOff x="10024536" y="24564"/>
            <a:chExt cx="2176039" cy="6833436"/>
          </a:xfrm>
        </p:grpSpPr>
        <p:sp>
          <p:nvSpPr>
            <p:cNvPr id="25" name="Freeform 24">
              <a:extLst>
                <a:ext uri="{FF2B5EF4-FFF2-40B4-BE49-F238E27FC236}">
                  <a16:creationId xmlns:a16="http://schemas.microsoft.com/office/drawing/2014/main" id="{72CE4260-6521-4748-93CA-26778BA70D03}"/>
                </a:ext>
              </a:extLst>
            </p:cNvPr>
            <p:cNvSpPr/>
            <p:nvPr/>
          </p:nvSpPr>
          <p:spPr bwMode="auto">
            <a:xfrm>
              <a:off x="10024536" y="24564"/>
              <a:ext cx="2176039" cy="6833436"/>
            </a:xfrm>
            <a:custGeom>
              <a:avLst/>
              <a:gdLst>
                <a:gd name="connsiteX0" fmla="*/ 1745961 w 1745961"/>
                <a:gd name="connsiteY0" fmla="*/ 0 h 5482857"/>
                <a:gd name="connsiteX1" fmla="*/ 1745961 w 1745961"/>
                <a:gd name="connsiteY1" fmla="*/ 5482857 h 5482857"/>
                <a:gd name="connsiteX2" fmla="*/ 0 w 1745961"/>
                <a:gd name="connsiteY2" fmla="*/ 5482857 h 5482857"/>
              </a:gdLst>
              <a:ahLst/>
              <a:cxnLst>
                <a:cxn ang="0">
                  <a:pos x="connsiteX0" y="connsiteY0"/>
                </a:cxn>
                <a:cxn ang="0">
                  <a:pos x="connsiteX1" y="connsiteY1"/>
                </a:cxn>
                <a:cxn ang="0">
                  <a:pos x="connsiteX2" y="connsiteY2"/>
                </a:cxn>
              </a:cxnLst>
              <a:rect l="l" t="t" r="r" b="b"/>
              <a:pathLst>
                <a:path w="1745961" h="5482857">
                  <a:moveTo>
                    <a:pt x="1745961" y="0"/>
                  </a:moveTo>
                  <a:lnTo>
                    <a:pt x="1745961" y="5482857"/>
                  </a:lnTo>
                  <a:lnTo>
                    <a:pt x="0" y="5482857"/>
                  </a:lnTo>
                  <a:close/>
                </a:path>
              </a:pathLst>
            </a:custGeom>
            <a:solidFill>
              <a:schemeClr val="tx2">
                <a:lumMod val="75000"/>
                <a:alpha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a:latin typeface="Arial" pitchFamily="124" charset="0"/>
                </a:rPr>
                <a:t> </a:t>
              </a:r>
            </a:p>
          </p:txBody>
        </p:sp>
        <p:sp>
          <p:nvSpPr>
            <p:cNvPr id="26" name="Freeform 25">
              <a:extLst>
                <a:ext uri="{FF2B5EF4-FFF2-40B4-BE49-F238E27FC236}">
                  <a16:creationId xmlns:a16="http://schemas.microsoft.com/office/drawing/2014/main" id="{312BDDE4-0CBA-1748-A49D-A2A5F2CE8891}"/>
                </a:ext>
              </a:extLst>
            </p:cNvPr>
            <p:cNvSpPr/>
            <p:nvPr/>
          </p:nvSpPr>
          <p:spPr bwMode="auto">
            <a:xfrm>
              <a:off x="10805603" y="2477356"/>
              <a:ext cx="1394972" cy="4380644"/>
            </a:xfrm>
            <a:custGeom>
              <a:avLst/>
              <a:gdLst>
                <a:gd name="connsiteX0" fmla="*/ 1745961 w 1745961"/>
                <a:gd name="connsiteY0" fmla="*/ 0 h 5482857"/>
                <a:gd name="connsiteX1" fmla="*/ 1745961 w 1745961"/>
                <a:gd name="connsiteY1" fmla="*/ 5482857 h 5482857"/>
                <a:gd name="connsiteX2" fmla="*/ 0 w 1745961"/>
                <a:gd name="connsiteY2" fmla="*/ 5482857 h 5482857"/>
              </a:gdLst>
              <a:ahLst/>
              <a:cxnLst>
                <a:cxn ang="0">
                  <a:pos x="connsiteX0" y="connsiteY0"/>
                </a:cxn>
                <a:cxn ang="0">
                  <a:pos x="connsiteX1" y="connsiteY1"/>
                </a:cxn>
                <a:cxn ang="0">
                  <a:pos x="connsiteX2" y="connsiteY2"/>
                </a:cxn>
              </a:cxnLst>
              <a:rect l="l" t="t" r="r" b="b"/>
              <a:pathLst>
                <a:path w="1745961" h="5482857">
                  <a:moveTo>
                    <a:pt x="1745961" y="0"/>
                  </a:moveTo>
                  <a:lnTo>
                    <a:pt x="1745961" y="5482857"/>
                  </a:lnTo>
                  <a:lnTo>
                    <a:pt x="0" y="5482857"/>
                  </a:lnTo>
                  <a:close/>
                </a:path>
              </a:pathLst>
            </a:cu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US" sz="1800">
                <a:latin typeface="Arial" pitchFamily="124" charset="0"/>
              </a:endParaRPr>
            </a:p>
          </p:txBody>
        </p:sp>
      </p:grpSp>
      <p:grpSp>
        <p:nvGrpSpPr>
          <p:cNvPr id="27" name="Group 26">
            <a:extLst>
              <a:ext uri="{FF2B5EF4-FFF2-40B4-BE49-F238E27FC236}">
                <a16:creationId xmlns:a16="http://schemas.microsoft.com/office/drawing/2014/main" id="{50A6D8E5-0F1B-4F46-A75F-B4236465A272}"/>
              </a:ext>
            </a:extLst>
          </p:cNvPr>
          <p:cNvGrpSpPr/>
          <p:nvPr/>
        </p:nvGrpSpPr>
        <p:grpSpPr>
          <a:xfrm>
            <a:off x="9662260" y="818784"/>
            <a:ext cx="2529740" cy="6039216"/>
            <a:chOff x="9662260" y="818784"/>
            <a:chExt cx="2529740" cy="6039216"/>
          </a:xfrm>
        </p:grpSpPr>
        <p:pic>
          <p:nvPicPr>
            <p:cNvPr id="28" name="Picture 27">
              <a:extLst>
                <a:ext uri="{FF2B5EF4-FFF2-40B4-BE49-F238E27FC236}">
                  <a16:creationId xmlns:a16="http://schemas.microsoft.com/office/drawing/2014/main" id="{F29E788A-C660-B84C-99A5-D234AA41381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662260" y="1471202"/>
              <a:ext cx="2529740" cy="5386798"/>
            </a:xfrm>
            <a:prstGeom prst="rect">
              <a:avLst/>
            </a:prstGeom>
          </p:spPr>
        </p:pic>
        <p:pic>
          <p:nvPicPr>
            <p:cNvPr id="29" name="Picture 28">
              <a:extLst>
                <a:ext uri="{FF2B5EF4-FFF2-40B4-BE49-F238E27FC236}">
                  <a16:creationId xmlns:a16="http://schemas.microsoft.com/office/drawing/2014/main" id="{DFD590AF-386B-9048-ABEA-59B6BE9DA72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0539851" y="4300794"/>
              <a:ext cx="1652148" cy="2095226"/>
            </a:xfrm>
            <a:prstGeom prst="rect">
              <a:avLst/>
            </a:prstGeom>
          </p:spPr>
        </p:pic>
        <p:pic>
          <p:nvPicPr>
            <p:cNvPr id="30" name="Picture 29">
              <a:extLst>
                <a:ext uri="{FF2B5EF4-FFF2-40B4-BE49-F238E27FC236}">
                  <a16:creationId xmlns:a16="http://schemas.microsoft.com/office/drawing/2014/main" id="{E2756107-63E2-5F45-8CC3-D5261B2411F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20585276">
              <a:off x="10888776" y="3404437"/>
              <a:ext cx="841085" cy="888470"/>
            </a:xfrm>
            <a:prstGeom prst="rect">
              <a:avLst/>
            </a:prstGeom>
          </p:spPr>
        </p:pic>
        <p:pic>
          <p:nvPicPr>
            <p:cNvPr id="31" name="Picture 30">
              <a:extLst>
                <a:ext uri="{FF2B5EF4-FFF2-40B4-BE49-F238E27FC236}">
                  <a16:creationId xmlns:a16="http://schemas.microsoft.com/office/drawing/2014/main" id="{0BBAF86D-A33D-1F45-96FF-45390C30D2F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839843" y="4683251"/>
              <a:ext cx="608076" cy="626643"/>
            </a:xfrm>
            <a:prstGeom prst="rect">
              <a:avLst/>
            </a:prstGeom>
          </p:spPr>
        </p:pic>
        <p:pic>
          <p:nvPicPr>
            <p:cNvPr id="32" name="Picture 31">
              <a:extLst>
                <a:ext uri="{FF2B5EF4-FFF2-40B4-BE49-F238E27FC236}">
                  <a16:creationId xmlns:a16="http://schemas.microsoft.com/office/drawing/2014/main" id="{48104F42-09E4-4B40-858C-D0F13E205AD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rot="19848158">
              <a:off x="10621861" y="5789703"/>
              <a:ext cx="593846" cy="634660"/>
            </a:xfrm>
            <a:prstGeom prst="rect">
              <a:avLst/>
            </a:prstGeom>
          </p:spPr>
        </p:pic>
        <p:pic>
          <p:nvPicPr>
            <p:cNvPr id="33" name="Picture 32">
              <a:extLst>
                <a:ext uri="{FF2B5EF4-FFF2-40B4-BE49-F238E27FC236}">
                  <a16:creationId xmlns:a16="http://schemas.microsoft.com/office/drawing/2014/main" id="{02EBF489-D968-EB46-B15F-78B5BB5FD92E}"/>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l="-38854"/>
            <a:stretch/>
          </p:blipFill>
          <p:spPr>
            <a:xfrm>
              <a:off x="10588564" y="818784"/>
              <a:ext cx="1603435" cy="1703758"/>
            </a:xfrm>
            <a:prstGeom prst="rect">
              <a:avLst/>
            </a:prstGeom>
          </p:spPr>
        </p:pic>
      </p:grpSp>
      <p:sp>
        <p:nvSpPr>
          <p:cNvPr id="22" name="Parallelogram 21">
            <a:extLst>
              <a:ext uri="{FF2B5EF4-FFF2-40B4-BE49-F238E27FC236}">
                <a16:creationId xmlns:a16="http://schemas.microsoft.com/office/drawing/2014/main" id="{5AC29362-88F4-1D4E-981B-656DAC0CCDA0}"/>
              </a:ext>
            </a:extLst>
          </p:cNvPr>
          <p:cNvSpPr/>
          <p:nvPr/>
        </p:nvSpPr>
        <p:spPr bwMode="auto">
          <a:xfrm>
            <a:off x="283194" y="175"/>
            <a:ext cx="1859244" cy="681469"/>
          </a:xfrm>
          <a:prstGeom prst="parallelogram">
            <a:avLst>
              <a:gd name="adj" fmla="val 0"/>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a:latin typeface="Arial" pitchFamily="124" charset="0"/>
              </a:rPr>
              <a:t>               </a:t>
            </a:r>
          </a:p>
        </p:txBody>
      </p:sp>
      <p:pic>
        <p:nvPicPr>
          <p:cNvPr id="23" name="Picture 22">
            <a:extLst>
              <a:ext uri="{FF2B5EF4-FFF2-40B4-BE49-F238E27FC236}">
                <a16:creationId xmlns:a16="http://schemas.microsoft.com/office/drawing/2014/main" id="{3FDEE4BE-E092-CA4F-AF35-8DF125AB2591}"/>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335313" y="82478"/>
            <a:ext cx="1757246" cy="516861"/>
          </a:xfrm>
          <a:prstGeom prst="rect">
            <a:avLst/>
          </a:prstGeom>
        </p:spPr>
      </p:pic>
      <p:sp>
        <p:nvSpPr>
          <p:cNvPr id="45" name="Footer Placeholder 1">
            <a:extLst>
              <a:ext uri="{FF2B5EF4-FFF2-40B4-BE49-F238E27FC236}">
                <a16:creationId xmlns:a16="http://schemas.microsoft.com/office/drawing/2014/main" id="{F96EC45B-102C-174F-9F23-FF784CDB7AB8}"/>
              </a:ext>
            </a:extLst>
          </p:cNvPr>
          <p:cNvSpPr>
            <a:spLocks noGrp="1"/>
          </p:cNvSpPr>
          <p:nvPr>
            <p:ph type="ftr" sz="quarter" idx="15"/>
          </p:nvPr>
        </p:nvSpPr>
        <p:spPr>
          <a:xfrm>
            <a:off x="304800" y="6553200"/>
            <a:ext cx="5791200" cy="304799"/>
          </a:xfrm>
        </p:spPr>
        <p:txBody>
          <a:bodyPr/>
          <a:lstStyle/>
          <a:p>
            <a:r>
              <a:rPr lang="en-US"/>
              <a:t>Proprietary &amp; Confidential |  authoremail@thermofisher.com | 12-April-2021</a:t>
            </a:r>
          </a:p>
        </p:txBody>
      </p:sp>
      <p:sp>
        <p:nvSpPr>
          <p:cNvPr id="46" name="Slide Number Placeholder 2">
            <a:extLst>
              <a:ext uri="{FF2B5EF4-FFF2-40B4-BE49-F238E27FC236}">
                <a16:creationId xmlns:a16="http://schemas.microsoft.com/office/drawing/2014/main" id="{8D006509-7DB4-6541-835F-3B6972AE0860}"/>
              </a:ext>
            </a:extLst>
          </p:cNvPr>
          <p:cNvSpPr>
            <a:spLocks noGrp="1"/>
          </p:cNvSpPr>
          <p:nvPr>
            <p:ph type="sldNum" sz="quarter" idx="12"/>
          </p:nvPr>
        </p:nvSpPr>
        <p:spPr>
          <a:xfrm>
            <a:off x="1" y="6553200"/>
            <a:ext cx="304799" cy="304799"/>
          </a:xfrm>
        </p:spPr>
        <p:txBody>
          <a:bodyPr/>
          <a:lstStyle/>
          <a:p>
            <a:fld id="{89006F1E-66CD-4A4B-9370-B4A3080F0E6C}" type="slidenum">
              <a:rPr lang="en-US" smtClean="0"/>
              <a:pPr/>
              <a:t>‹#›</a:t>
            </a:fld>
            <a:endParaRPr lang="en-US"/>
          </a:p>
        </p:txBody>
      </p:sp>
      <p:sp>
        <p:nvSpPr>
          <p:cNvPr id="37" name="Text Placeholder 15">
            <a:extLst>
              <a:ext uri="{FF2B5EF4-FFF2-40B4-BE49-F238E27FC236}">
                <a16:creationId xmlns:a16="http://schemas.microsoft.com/office/drawing/2014/main" id="{108EBC16-514C-7740-843A-F5174EAA96DC}"/>
              </a:ext>
            </a:extLst>
          </p:cNvPr>
          <p:cNvSpPr>
            <a:spLocks noGrp="1"/>
          </p:cNvSpPr>
          <p:nvPr>
            <p:ph type="body" sz="quarter" idx="10" hasCustomPrompt="1"/>
          </p:nvPr>
        </p:nvSpPr>
        <p:spPr>
          <a:xfrm>
            <a:off x="304800" y="3903896"/>
            <a:ext cx="7619999" cy="308120"/>
          </a:xfrm>
          <a:prstGeom prst="rect">
            <a:avLst/>
          </a:prstGeom>
        </p:spPr>
        <p:txBody>
          <a:bodyPr lIns="0" tIns="0" rIns="0" bIns="0" anchor="b"/>
          <a:lstStyle>
            <a:lvl1pPr>
              <a:spcBef>
                <a:spcPts val="0"/>
              </a:spcBef>
              <a:spcAft>
                <a:spcPts val="0"/>
              </a:spcAft>
              <a:buFontTx/>
              <a:buNone/>
              <a:defRPr sz="1600" b="0" baseline="0">
                <a:solidFill>
                  <a:schemeClr val="tx2"/>
                </a:solidFill>
              </a:defRPr>
            </a:lvl1pPr>
            <a:lvl2pPr marL="114300" indent="4763">
              <a:spcAft>
                <a:spcPts val="0"/>
              </a:spcAft>
              <a:buFontTx/>
              <a:buNone/>
              <a:defRPr sz="1400" i="1" baseline="0">
                <a:solidFill>
                  <a:schemeClr val="tx1"/>
                </a:solidFill>
              </a:defRPr>
            </a:lvl2pPr>
          </a:lstStyle>
          <a:p>
            <a:pPr lvl="0"/>
            <a:r>
              <a:rPr lang="en-US"/>
              <a:t>Presenter name [16pt Arial] </a:t>
            </a:r>
          </a:p>
        </p:txBody>
      </p:sp>
      <p:sp>
        <p:nvSpPr>
          <p:cNvPr id="38" name="Title 16">
            <a:extLst>
              <a:ext uri="{FF2B5EF4-FFF2-40B4-BE49-F238E27FC236}">
                <a16:creationId xmlns:a16="http://schemas.microsoft.com/office/drawing/2014/main" id="{124A4A7F-4904-4645-AEF7-28AEBD45D1C3}"/>
              </a:ext>
            </a:extLst>
          </p:cNvPr>
          <p:cNvSpPr>
            <a:spLocks noGrp="1"/>
          </p:cNvSpPr>
          <p:nvPr>
            <p:ph type="title" hasCustomPrompt="1"/>
          </p:nvPr>
        </p:nvSpPr>
        <p:spPr>
          <a:xfrm>
            <a:off x="304801" y="1726100"/>
            <a:ext cx="7619999" cy="2071868"/>
          </a:xfrm>
          <a:prstGeom prst="rect">
            <a:avLst/>
          </a:prstGeom>
          <a:noFill/>
        </p:spPr>
        <p:txBody>
          <a:bodyPr wrap="square" lIns="0" tIns="0" rIns="0" bIns="0" anchor="b">
            <a:noAutofit/>
          </a:bodyPr>
          <a:lstStyle>
            <a:lvl1pPr>
              <a:lnSpc>
                <a:spcPct val="110000"/>
              </a:lnSpc>
              <a:defRPr sz="2800" b="1">
                <a:solidFill>
                  <a:schemeClr val="tx1"/>
                </a:solidFill>
              </a:defRPr>
            </a:lvl1pPr>
          </a:lstStyle>
          <a:p>
            <a:r>
              <a:rPr lang="en-US"/>
              <a:t>Title [28pt Arial Bold] </a:t>
            </a:r>
          </a:p>
        </p:txBody>
      </p:sp>
      <p:sp>
        <p:nvSpPr>
          <p:cNvPr id="39" name="Text Placeholder 15">
            <a:extLst>
              <a:ext uri="{FF2B5EF4-FFF2-40B4-BE49-F238E27FC236}">
                <a16:creationId xmlns:a16="http://schemas.microsoft.com/office/drawing/2014/main" id="{0DF0839E-0C0A-8E4B-9B47-CC686D239594}"/>
              </a:ext>
            </a:extLst>
          </p:cNvPr>
          <p:cNvSpPr>
            <a:spLocks noGrp="1"/>
          </p:cNvSpPr>
          <p:nvPr>
            <p:ph type="body" sz="quarter" idx="14" hasCustomPrompt="1"/>
          </p:nvPr>
        </p:nvSpPr>
        <p:spPr>
          <a:xfrm>
            <a:off x="304800" y="4255834"/>
            <a:ext cx="7619999" cy="1097215"/>
          </a:xfrm>
          <a:prstGeom prst="rect">
            <a:avLst/>
          </a:prstGeom>
        </p:spPr>
        <p:txBody>
          <a:bodyPr lIns="0" tIns="0" rIns="0" bIns="0" anchor="t">
            <a:normAutofit/>
          </a:bodyPr>
          <a:lstStyle>
            <a:lvl1pPr marL="179388" marR="0" indent="-179388" algn="l" defTabSz="914400" rtl="0" eaLnBrk="1" fontAlgn="auto" latinLnBrk="0" hangingPunct="1">
              <a:lnSpc>
                <a:spcPct val="120000"/>
              </a:lnSpc>
              <a:spcBef>
                <a:spcPts val="0"/>
              </a:spcBef>
              <a:spcAft>
                <a:spcPts val="0"/>
              </a:spcAft>
              <a:buClr>
                <a:schemeClr val="accent4"/>
              </a:buClr>
              <a:buSzPct val="100000"/>
              <a:buFontTx/>
              <a:buNone/>
              <a:tabLst/>
              <a:defRPr sz="1400" b="0" baseline="0">
                <a:solidFill>
                  <a:schemeClr val="tx1"/>
                </a:solidFill>
              </a:defRPr>
            </a:lvl1pPr>
            <a:lvl2pPr marL="114300" indent="4763">
              <a:spcAft>
                <a:spcPts val="0"/>
              </a:spcAft>
              <a:buFontTx/>
              <a:buNone/>
              <a:defRPr sz="1400" i="1" baseline="0">
                <a:solidFill>
                  <a:schemeClr val="tx1"/>
                </a:solidFill>
              </a:defRPr>
            </a:lvl2pPr>
          </a:lstStyle>
          <a:p>
            <a:pPr marL="411480" marR="0" lvl="0" indent="-411480" algn="l" defTabSz="914400" rtl="0" eaLnBrk="1" fontAlgn="auto" latinLnBrk="0" hangingPunct="1">
              <a:lnSpc>
                <a:spcPct val="120000"/>
              </a:lnSpc>
              <a:spcBef>
                <a:spcPts val="0"/>
              </a:spcBef>
              <a:spcAft>
                <a:spcPts val="0"/>
              </a:spcAft>
              <a:buClr>
                <a:schemeClr val="accent4"/>
              </a:buClr>
              <a:buSzPct val="100000"/>
              <a:buFontTx/>
              <a:buNone/>
              <a:tabLst/>
              <a:defRPr/>
            </a:pPr>
            <a:r>
              <a:rPr lang="en-US"/>
              <a:t>Presenter Title [14pt Arial]</a:t>
            </a:r>
            <a:br>
              <a:rPr lang="en-US"/>
            </a:br>
            <a:r>
              <a:rPr lang="en-US"/>
              <a:t>Date [14pt Arial] </a:t>
            </a:r>
          </a:p>
        </p:txBody>
      </p:sp>
    </p:spTree>
    <p:extLst>
      <p:ext uri="{BB962C8B-B14F-4D97-AF65-F5344CB8AC3E}">
        <p14:creationId xmlns:p14="http://schemas.microsoft.com/office/powerpoint/2010/main" val="5155906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Custom title slide">
    <p:bg>
      <p:bgPr>
        <a:gradFill>
          <a:gsLst>
            <a:gs pos="0">
              <a:schemeClr val="bg1"/>
            </a:gs>
            <a:gs pos="45000">
              <a:schemeClr val="bg1"/>
            </a:gs>
            <a:gs pos="66000">
              <a:schemeClr val="bg2"/>
            </a:gs>
          </a:gsLst>
          <a:lin ang="1080000" scaled="0"/>
        </a:gra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2DF2EB01-DB3A-564C-8485-CADA3C9CF3AF}"/>
              </a:ext>
            </a:extLst>
          </p:cNvPr>
          <p:cNvSpPr>
            <a:spLocks noGrp="1"/>
          </p:cNvSpPr>
          <p:nvPr>
            <p:ph type="pic" sz="quarter" idx="11" hasCustomPrompt="1"/>
          </p:nvPr>
        </p:nvSpPr>
        <p:spPr>
          <a:xfrm>
            <a:off x="4792015" y="1"/>
            <a:ext cx="7399986" cy="6857999"/>
          </a:xfrm>
          <a:custGeom>
            <a:avLst/>
            <a:gdLst>
              <a:gd name="connsiteX0" fmla="*/ 2183862 w 6631541"/>
              <a:gd name="connsiteY0" fmla="*/ 0 h 6857999"/>
              <a:gd name="connsiteX1" fmla="*/ 6631541 w 6631541"/>
              <a:gd name="connsiteY1" fmla="*/ 0 h 6857999"/>
              <a:gd name="connsiteX2" fmla="*/ 6631541 w 6631541"/>
              <a:gd name="connsiteY2" fmla="*/ 6857999 h 6857999"/>
              <a:gd name="connsiteX3" fmla="*/ 0 w 66315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6631541" h="6857999">
                <a:moveTo>
                  <a:pt x="2183862" y="0"/>
                </a:moveTo>
                <a:lnTo>
                  <a:pt x="6631541" y="0"/>
                </a:lnTo>
                <a:lnTo>
                  <a:pt x="6631541" y="6857999"/>
                </a:lnTo>
                <a:lnTo>
                  <a:pt x="0" y="6857999"/>
                </a:lnTo>
                <a:close/>
              </a:path>
            </a:pathLst>
          </a:custGeom>
          <a:pattFill prst="pct5">
            <a:fgClr>
              <a:schemeClr val="bg1"/>
            </a:fgClr>
            <a:bgClr>
              <a:schemeClr val="bg2"/>
            </a:bgClr>
          </a:pattFill>
        </p:spPr>
        <p:txBody>
          <a:bodyPr vert="horz" wrap="square" lIns="0" tIns="0" rIns="0" bIns="0" rtlCol="0" anchor="ctr">
            <a:noAutofit/>
          </a:bodyPr>
          <a:lstStyle>
            <a:lvl1pPr marL="0" indent="0" algn="ctr">
              <a:buFontTx/>
              <a:buNone/>
              <a:defRPr lang="en-US" sz="1400" dirty="0"/>
            </a:lvl1pPr>
          </a:lstStyle>
          <a:p>
            <a:pPr marR="0" lvl="0" algn="ctr" fontAlgn="auto">
              <a:spcAft>
                <a:spcPts val="0"/>
              </a:spcAft>
              <a:buClrTx/>
              <a:buSzTx/>
              <a:buNone/>
              <a:tabLst/>
            </a:pPr>
            <a:r>
              <a:rPr lang="en-US"/>
              <a:t>Add photo</a:t>
            </a:r>
          </a:p>
        </p:txBody>
      </p:sp>
      <p:grpSp>
        <p:nvGrpSpPr>
          <p:cNvPr id="7" name="Group 6">
            <a:extLst>
              <a:ext uri="{FF2B5EF4-FFF2-40B4-BE49-F238E27FC236}">
                <a16:creationId xmlns:a16="http://schemas.microsoft.com/office/drawing/2014/main" id="{B1F511C6-A535-A245-B123-CC04435D2DAF}"/>
              </a:ext>
            </a:extLst>
          </p:cNvPr>
          <p:cNvGrpSpPr/>
          <p:nvPr/>
        </p:nvGrpSpPr>
        <p:grpSpPr>
          <a:xfrm>
            <a:off x="304799" y="0"/>
            <a:ext cx="2427681" cy="1044934"/>
            <a:chOff x="0" y="0"/>
            <a:chExt cx="2447693" cy="1053548"/>
          </a:xfrm>
        </p:grpSpPr>
        <p:sp>
          <p:nvSpPr>
            <p:cNvPr id="8" name="Parallelogram 7">
              <a:extLst>
                <a:ext uri="{FF2B5EF4-FFF2-40B4-BE49-F238E27FC236}">
                  <a16:creationId xmlns:a16="http://schemas.microsoft.com/office/drawing/2014/main" id="{6399281C-FD14-2942-9A9B-13B5E50B7517}"/>
                </a:ext>
              </a:extLst>
            </p:cNvPr>
            <p:cNvSpPr/>
            <p:nvPr/>
          </p:nvSpPr>
          <p:spPr bwMode="auto">
            <a:xfrm>
              <a:off x="0" y="0"/>
              <a:ext cx="2447693" cy="1053548"/>
            </a:xfrm>
            <a:prstGeom prst="parallelogram">
              <a:avLst>
                <a:gd name="adj" fmla="val 0"/>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a:latin typeface="Arial" pitchFamily="124" charset="0"/>
                </a:rPr>
                <a:t>               </a:t>
              </a:r>
            </a:p>
          </p:txBody>
        </p:sp>
        <p:pic>
          <p:nvPicPr>
            <p:cNvPr id="9" name="Picture 8">
              <a:extLst>
                <a:ext uri="{FF2B5EF4-FFF2-40B4-BE49-F238E27FC236}">
                  <a16:creationId xmlns:a16="http://schemas.microsoft.com/office/drawing/2014/main" id="{7D60AD95-BD80-6049-9976-D024EC4ECDE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35820" y="154984"/>
              <a:ext cx="2178058" cy="756021"/>
            </a:xfrm>
            <a:prstGeom prst="rect">
              <a:avLst/>
            </a:prstGeom>
          </p:spPr>
        </p:pic>
      </p:grpSp>
      <p:sp>
        <p:nvSpPr>
          <p:cNvPr id="17" name="Text Placeholder 15">
            <a:extLst>
              <a:ext uri="{FF2B5EF4-FFF2-40B4-BE49-F238E27FC236}">
                <a16:creationId xmlns:a16="http://schemas.microsoft.com/office/drawing/2014/main" id="{066B560F-B405-E64F-9BDF-0CBAACB3D079}"/>
              </a:ext>
            </a:extLst>
          </p:cNvPr>
          <p:cNvSpPr>
            <a:spLocks noGrp="1"/>
          </p:cNvSpPr>
          <p:nvPr>
            <p:ph type="body" sz="quarter" idx="10" hasCustomPrompt="1"/>
          </p:nvPr>
        </p:nvSpPr>
        <p:spPr>
          <a:xfrm>
            <a:off x="304800" y="3903896"/>
            <a:ext cx="5791199" cy="308120"/>
          </a:xfrm>
          <a:prstGeom prst="rect">
            <a:avLst/>
          </a:prstGeom>
        </p:spPr>
        <p:txBody>
          <a:bodyPr lIns="0" tIns="0" rIns="0" bIns="0" anchor="b"/>
          <a:lstStyle>
            <a:lvl1pPr>
              <a:spcBef>
                <a:spcPts val="0"/>
              </a:spcBef>
              <a:spcAft>
                <a:spcPts val="0"/>
              </a:spcAft>
              <a:buFontTx/>
              <a:buNone/>
              <a:defRPr sz="1600" b="1" baseline="0">
                <a:solidFill>
                  <a:schemeClr val="tx2"/>
                </a:solidFill>
              </a:defRPr>
            </a:lvl1pPr>
            <a:lvl2pPr marL="114300" indent="4763">
              <a:spcAft>
                <a:spcPts val="0"/>
              </a:spcAft>
              <a:buFontTx/>
              <a:buNone/>
              <a:defRPr sz="1400" i="1" baseline="0">
                <a:solidFill>
                  <a:schemeClr val="tx1"/>
                </a:solidFill>
              </a:defRPr>
            </a:lvl2pPr>
          </a:lstStyle>
          <a:p>
            <a:pPr lvl="0"/>
            <a:r>
              <a:rPr lang="en-US"/>
              <a:t>Presenter name [16pt Arial] </a:t>
            </a:r>
          </a:p>
        </p:txBody>
      </p:sp>
      <p:sp>
        <p:nvSpPr>
          <p:cNvPr id="18" name="Title 16">
            <a:extLst>
              <a:ext uri="{FF2B5EF4-FFF2-40B4-BE49-F238E27FC236}">
                <a16:creationId xmlns:a16="http://schemas.microsoft.com/office/drawing/2014/main" id="{98A0AF47-0118-3245-A388-D5866C77A994}"/>
              </a:ext>
            </a:extLst>
          </p:cNvPr>
          <p:cNvSpPr>
            <a:spLocks noGrp="1"/>
          </p:cNvSpPr>
          <p:nvPr>
            <p:ph type="title" hasCustomPrompt="1"/>
          </p:nvPr>
        </p:nvSpPr>
        <p:spPr>
          <a:xfrm>
            <a:off x="304801" y="1198651"/>
            <a:ext cx="5791199" cy="2071868"/>
          </a:xfrm>
          <a:prstGeom prst="rect">
            <a:avLst/>
          </a:prstGeom>
          <a:noFill/>
        </p:spPr>
        <p:txBody>
          <a:bodyPr vert="horz" wrap="square" lIns="0" tIns="0" rIns="0" bIns="0" rtlCol="0" anchor="b" anchorCtr="0">
            <a:noAutofit/>
          </a:bodyPr>
          <a:lstStyle>
            <a:lvl1pPr>
              <a:defRPr lang="en-US" dirty="0">
                <a:solidFill>
                  <a:schemeClr val="accent5"/>
                </a:solidFill>
              </a:defRPr>
            </a:lvl1pPr>
          </a:lstStyle>
          <a:p>
            <a:pPr lvl="0">
              <a:lnSpc>
                <a:spcPts val="3100"/>
              </a:lnSpc>
            </a:pPr>
            <a:r>
              <a:rPr lang="en-US"/>
              <a:t>Title [28pt Arial Bold] </a:t>
            </a:r>
          </a:p>
        </p:txBody>
      </p:sp>
      <p:sp>
        <p:nvSpPr>
          <p:cNvPr id="21" name="Footer Placeholder 1">
            <a:extLst>
              <a:ext uri="{FF2B5EF4-FFF2-40B4-BE49-F238E27FC236}">
                <a16:creationId xmlns:a16="http://schemas.microsoft.com/office/drawing/2014/main" id="{0417725A-1D63-8B41-B75E-4A7C276235C4}"/>
              </a:ext>
            </a:extLst>
          </p:cNvPr>
          <p:cNvSpPr>
            <a:spLocks noGrp="1"/>
          </p:cNvSpPr>
          <p:nvPr>
            <p:ph type="ftr" sz="quarter" idx="15"/>
          </p:nvPr>
        </p:nvSpPr>
        <p:spPr>
          <a:xfrm>
            <a:off x="304800" y="6553200"/>
            <a:ext cx="5791200" cy="304799"/>
          </a:xfrm>
        </p:spPr>
        <p:txBody>
          <a:bodyPr/>
          <a:lstStyle/>
          <a:p>
            <a:r>
              <a:rPr lang="en-US"/>
              <a:t>Proprietary &amp; Confidential |  authoremail@thermofisher.com | 12-April-2021</a:t>
            </a:r>
          </a:p>
        </p:txBody>
      </p:sp>
      <p:sp>
        <p:nvSpPr>
          <p:cNvPr id="22" name="Slide Number Placeholder 2">
            <a:extLst>
              <a:ext uri="{FF2B5EF4-FFF2-40B4-BE49-F238E27FC236}">
                <a16:creationId xmlns:a16="http://schemas.microsoft.com/office/drawing/2014/main" id="{2EFD93CC-9AAB-B446-8966-4FFCA1CA2633}"/>
              </a:ext>
            </a:extLst>
          </p:cNvPr>
          <p:cNvSpPr>
            <a:spLocks noGrp="1"/>
          </p:cNvSpPr>
          <p:nvPr>
            <p:ph type="sldNum" sz="quarter" idx="12"/>
          </p:nvPr>
        </p:nvSpPr>
        <p:spPr>
          <a:xfrm>
            <a:off x="1" y="6553200"/>
            <a:ext cx="304799" cy="304799"/>
          </a:xfrm>
        </p:spPr>
        <p:txBody>
          <a:bodyPr/>
          <a:lstStyle/>
          <a:p>
            <a:fld id="{89006F1E-66CD-4A4B-9370-B4A3080F0E6C}" type="slidenum">
              <a:rPr lang="en-US" smtClean="0"/>
              <a:pPr/>
              <a:t>‹#›</a:t>
            </a:fld>
            <a:endParaRPr lang="en-US"/>
          </a:p>
        </p:txBody>
      </p:sp>
      <p:sp>
        <p:nvSpPr>
          <p:cNvPr id="15" name="Text Placeholder 15">
            <a:extLst>
              <a:ext uri="{FF2B5EF4-FFF2-40B4-BE49-F238E27FC236}">
                <a16:creationId xmlns:a16="http://schemas.microsoft.com/office/drawing/2014/main" id="{DA6AB682-877D-F244-8431-46BA64252685}"/>
              </a:ext>
            </a:extLst>
          </p:cNvPr>
          <p:cNvSpPr>
            <a:spLocks noGrp="1"/>
          </p:cNvSpPr>
          <p:nvPr>
            <p:ph type="body" sz="quarter" idx="14" hasCustomPrompt="1"/>
          </p:nvPr>
        </p:nvSpPr>
        <p:spPr>
          <a:xfrm>
            <a:off x="304801" y="4255834"/>
            <a:ext cx="5791200" cy="525485"/>
          </a:xfrm>
          <a:prstGeom prst="rect">
            <a:avLst/>
          </a:prstGeom>
        </p:spPr>
        <p:txBody>
          <a:bodyPr lIns="0" tIns="0" rIns="0" bIns="0" anchor="t">
            <a:normAutofit/>
          </a:bodyPr>
          <a:lstStyle>
            <a:lvl1pPr marL="0" marR="0" indent="0" algn="l" defTabSz="914400" rtl="0" eaLnBrk="1" fontAlgn="auto" latinLnBrk="0" hangingPunct="1">
              <a:lnSpc>
                <a:spcPct val="120000"/>
              </a:lnSpc>
              <a:spcBef>
                <a:spcPts val="0"/>
              </a:spcBef>
              <a:spcAft>
                <a:spcPts val="0"/>
              </a:spcAft>
              <a:buClr>
                <a:schemeClr val="accent4"/>
              </a:buClr>
              <a:buSzPct val="100000"/>
              <a:buFontTx/>
              <a:buNone/>
              <a:tabLst/>
              <a:defRPr sz="1400" b="0" baseline="0">
                <a:solidFill>
                  <a:schemeClr val="tx1"/>
                </a:solidFill>
              </a:defRPr>
            </a:lvl1pPr>
            <a:lvl2pPr marL="114300" indent="4763">
              <a:spcAft>
                <a:spcPts val="0"/>
              </a:spcAft>
              <a:buFontTx/>
              <a:buNone/>
              <a:defRPr sz="1400" i="1" baseline="0">
                <a:solidFill>
                  <a:schemeClr val="tx1"/>
                </a:solidFill>
              </a:defRPr>
            </a:lvl2pPr>
          </a:lstStyle>
          <a:p>
            <a:pPr marL="411480" marR="0" lvl="0" indent="-411480" algn="l" defTabSz="914400" rtl="0" eaLnBrk="1" fontAlgn="auto" latinLnBrk="0" hangingPunct="1">
              <a:lnSpc>
                <a:spcPct val="120000"/>
              </a:lnSpc>
              <a:spcBef>
                <a:spcPts val="0"/>
              </a:spcBef>
              <a:spcAft>
                <a:spcPts val="0"/>
              </a:spcAft>
              <a:buClr>
                <a:schemeClr val="accent4"/>
              </a:buClr>
              <a:buSzPct val="100000"/>
              <a:buFontTx/>
              <a:buNone/>
              <a:tabLst/>
              <a:defRPr/>
            </a:pPr>
            <a:r>
              <a:rPr lang="en-US"/>
              <a:t>Presenter Title [14pt Arial]</a:t>
            </a:r>
          </a:p>
        </p:txBody>
      </p:sp>
      <p:grpSp>
        <p:nvGrpSpPr>
          <p:cNvPr id="16" name="Group 15" hidden="1">
            <a:extLst>
              <a:ext uri="{FF2B5EF4-FFF2-40B4-BE49-F238E27FC236}">
                <a16:creationId xmlns:a16="http://schemas.microsoft.com/office/drawing/2014/main" id="{6F8424DB-22EB-42D5-AC73-4579D6B405E6}"/>
              </a:ext>
            </a:extLst>
          </p:cNvPr>
          <p:cNvGrpSpPr/>
          <p:nvPr userDrawn="1"/>
        </p:nvGrpSpPr>
        <p:grpSpPr>
          <a:xfrm>
            <a:off x="2059501" y="5353049"/>
            <a:ext cx="10058400" cy="650805"/>
            <a:chOff x="2068379" y="1949346"/>
            <a:chExt cx="10058400" cy="650805"/>
          </a:xfrm>
        </p:grpSpPr>
        <p:grpSp>
          <p:nvGrpSpPr>
            <p:cNvPr id="19" name="Group 18">
              <a:extLst>
                <a:ext uri="{FF2B5EF4-FFF2-40B4-BE49-F238E27FC236}">
                  <a16:creationId xmlns:a16="http://schemas.microsoft.com/office/drawing/2014/main" id="{EAFF9B45-785A-4987-A2B4-6879E0B116B5}"/>
                </a:ext>
              </a:extLst>
            </p:cNvPr>
            <p:cNvGrpSpPr>
              <a:grpSpLocks noChangeAspect="1"/>
            </p:cNvGrpSpPr>
            <p:nvPr userDrawn="1"/>
          </p:nvGrpSpPr>
          <p:grpSpPr>
            <a:xfrm>
              <a:off x="2068379" y="1952341"/>
              <a:ext cx="10058400" cy="647810"/>
              <a:chOff x="3229113" y="-415610"/>
              <a:chExt cx="3987800" cy="256833"/>
            </a:xfrm>
            <a:solidFill>
              <a:schemeClr val="bg1"/>
            </a:solidFill>
          </p:grpSpPr>
          <p:grpSp>
            <p:nvGrpSpPr>
              <p:cNvPr id="26" name="Group 25">
                <a:extLst>
                  <a:ext uri="{FF2B5EF4-FFF2-40B4-BE49-F238E27FC236}">
                    <a16:creationId xmlns:a16="http://schemas.microsoft.com/office/drawing/2014/main" id="{0A01F793-00A5-48ED-B2EC-2009688FAA90}"/>
                  </a:ext>
                </a:extLst>
              </p:cNvPr>
              <p:cNvGrpSpPr/>
              <p:nvPr/>
            </p:nvGrpSpPr>
            <p:grpSpPr>
              <a:xfrm>
                <a:off x="3229113" y="-393873"/>
                <a:ext cx="1497283" cy="217336"/>
                <a:chOff x="3229113" y="-393873"/>
                <a:chExt cx="1497283" cy="217336"/>
              </a:xfrm>
              <a:grpFill/>
            </p:grpSpPr>
            <p:sp>
              <p:nvSpPr>
                <p:cNvPr id="120" name="Freeform: Shape 119">
                  <a:extLst>
                    <a:ext uri="{FF2B5EF4-FFF2-40B4-BE49-F238E27FC236}">
                      <a16:creationId xmlns:a16="http://schemas.microsoft.com/office/drawing/2014/main" id="{AA02CC49-DF8F-4415-B6B9-F95CF1D7FB7E}"/>
                    </a:ext>
                  </a:extLst>
                </p:cNvPr>
                <p:cNvSpPr/>
                <p:nvPr/>
              </p:nvSpPr>
              <p:spPr>
                <a:xfrm>
                  <a:off x="3229113" y="-389654"/>
                  <a:ext cx="189209" cy="208335"/>
                </a:xfrm>
                <a:custGeom>
                  <a:avLst/>
                  <a:gdLst>
                    <a:gd name="connsiteX0" fmla="*/ 101094 w 189209"/>
                    <a:gd name="connsiteY0" fmla="*/ 158472 h 208335"/>
                    <a:gd name="connsiteX1" fmla="*/ 125001 w 189209"/>
                    <a:gd name="connsiteY1" fmla="*/ 138663 h 208335"/>
                    <a:gd name="connsiteX2" fmla="*/ 103826 w 189209"/>
                    <a:gd name="connsiteY2" fmla="*/ 119537 h 208335"/>
                    <a:gd name="connsiteX3" fmla="*/ 62842 w 189209"/>
                    <a:gd name="connsiteY3" fmla="*/ 119537 h 208335"/>
                    <a:gd name="connsiteX4" fmla="*/ 62842 w 189209"/>
                    <a:gd name="connsiteY4" fmla="*/ 158472 h 208335"/>
                    <a:gd name="connsiteX5" fmla="*/ 101094 w 189209"/>
                    <a:gd name="connsiteY5" fmla="*/ 158472 h 208335"/>
                    <a:gd name="connsiteX6" fmla="*/ 97679 w 189209"/>
                    <a:gd name="connsiteY6" fmla="*/ 80602 h 208335"/>
                    <a:gd name="connsiteX7" fmla="*/ 118171 w 189209"/>
                    <a:gd name="connsiteY7" fmla="*/ 63525 h 208335"/>
                    <a:gd name="connsiteX8" fmla="*/ 96996 w 189209"/>
                    <a:gd name="connsiteY8" fmla="*/ 49181 h 208335"/>
                    <a:gd name="connsiteX9" fmla="*/ 62842 w 189209"/>
                    <a:gd name="connsiteY9" fmla="*/ 49181 h 208335"/>
                    <a:gd name="connsiteX10" fmla="*/ 62842 w 189209"/>
                    <a:gd name="connsiteY10" fmla="*/ 80602 h 208335"/>
                    <a:gd name="connsiteX11" fmla="*/ 97679 w 189209"/>
                    <a:gd name="connsiteY11" fmla="*/ 80602 h 208335"/>
                    <a:gd name="connsiteX12" fmla="*/ 113389 w 189209"/>
                    <a:gd name="connsiteY12" fmla="*/ 0 h 208335"/>
                    <a:gd name="connsiteX13" fmla="*/ 178281 w 189209"/>
                    <a:gd name="connsiteY13" fmla="*/ 51913 h 208335"/>
                    <a:gd name="connsiteX14" fmla="*/ 153007 w 189209"/>
                    <a:gd name="connsiteY14" fmla="*/ 92897 h 208335"/>
                    <a:gd name="connsiteX15" fmla="*/ 189210 w 189209"/>
                    <a:gd name="connsiteY15" fmla="*/ 144810 h 208335"/>
                    <a:gd name="connsiteX16" fmla="*/ 168718 w 189209"/>
                    <a:gd name="connsiteY16" fmla="*/ 190576 h 208335"/>
                    <a:gd name="connsiteX17" fmla="*/ 117488 w 189209"/>
                    <a:gd name="connsiteY17" fmla="*/ 208336 h 208335"/>
                    <a:gd name="connsiteX18" fmla="*/ 0 w 189209"/>
                    <a:gd name="connsiteY18" fmla="*/ 208336 h 208335"/>
                    <a:gd name="connsiteX19" fmla="*/ 0 w 189209"/>
                    <a:gd name="connsiteY19" fmla="*/ 0 h 208335"/>
                    <a:gd name="connsiteX20" fmla="*/ 113389 w 189209"/>
                    <a:gd name="connsiteY20" fmla="*/ 0 h 208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89209" h="208335">
                      <a:moveTo>
                        <a:pt x="101094" y="158472"/>
                      </a:moveTo>
                      <a:cubicBezTo>
                        <a:pt x="116805" y="158472"/>
                        <a:pt x="125001" y="151641"/>
                        <a:pt x="125001" y="138663"/>
                      </a:cubicBezTo>
                      <a:cubicBezTo>
                        <a:pt x="125001" y="126368"/>
                        <a:pt x="116805" y="119537"/>
                        <a:pt x="103826" y="119537"/>
                      </a:cubicBezTo>
                      <a:lnTo>
                        <a:pt x="62842" y="119537"/>
                      </a:lnTo>
                      <a:lnTo>
                        <a:pt x="62842" y="158472"/>
                      </a:lnTo>
                      <a:lnTo>
                        <a:pt x="101094" y="158472"/>
                      </a:lnTo>
                      <a:close/>
                      <a:moveTo>
                        <a:pt x="97679" y="80602"/>
                      </a:moveTo>
                      <a:cubicBezTo>
                        <a:pt x="112023" y="80602"/>
                        <a:pt x="118171" y="75821"/>
                        <a:pt x="118171" y="63525"/>
                      </a:cubicBezTo>
                      <a:cubicBezTo>
                        <a:pt x="118171" y="53279"/>
                        <a:pt x="109974" y="49181"/>
                        <a:pt x="96996" y="49181"/>
                      </a:cubicBezTo>
                      <a:lnTo>
                        <a:pt x="62842" y="49181"/>
                      </a:lnTo>
                      <a:lnTo>
                        <a:pt x="62842" y="80602"/>
                      </a:lnTo>
                      <a:lnTo>
                        <a:pt x="97679" y="80602"/>
                      </a:lnTo>
                      <a:close/>
                      <a:moveTo>
                        <a:pt x="113389" y="0"/>
                      </a:moveTo>
                      <a:cubicBezTo>
                        <a:pt x="154373" y="0"/>
                        <a:pt x="178281" y="19809"/>
                        <a:pt x="178281" y="51913"/>
                      </a:cubicBezTo>
                      <a:cubicBezTo>
                        <a:pt x="178281" y="71039"/>
                        <a:pt x="170084" y="83334"/>
                        <a:pt x="153007" y="92897"/>
                      </a:cubicBezTo>
                      <a:cubicBezTo>
                        <a:pt x="176231" y="101094"/>
                        <a:pt x="189210" y="118854"/>
                        <a:pt x="189210" y="144810"/>
                      </a:cubicBezTo>
                      <a:cubicBezTo>
                        <a:pt x="189210" y="163936"/>
                        <a:pt x="182379" y="178964"/>
                        <a:pt x="168718" y="190576"/>
                      </a:cubicBezTo>
                      <a:cubicBezTo>
                        <a:pt x="154373" y="202188"/>
                        <a:pt x="137297" y="208336"/>
                        <a:pt x="117488" y="208336"/>
                      </a:cubicBezTo>
                      <a:lnTo>
                        <a:pt x="0" y="208336"/>
                      </a:lnTo>
                      <a:lnTo>
                        <a:pt x="0" y="0"/>
                      </a:lnTo>
                      <a:lnTo>
                        <a:pt x="113389" y="0"/>
                      </a:lnTo>
                      <a:close/>
                    </a:path>
                  </a:pathLst>
                </a:custGeom>
                <a:solidFill>
                  <a:schemeClr val="tx2"/>
                </a:solidFill>
                <a:ln w="6825" cap="flat">
                  <a:noFill/>
                  <a:prstDash val="solid"/>
                  <a:miter/>
                </a:ln>
              </p:spPr>
              <p:txBody>
                <a:bodyPr rtlCol="0" anchor="ctr"/>
                <a:lstStyle/>
                <a:p>
                  <a:endParaRPr lang="en-US"/>
                </a:p>
              </p:txBody>
            </p:sp>
            <p:sp>
              <p:nvSpPr>
                <p:cNvPr id="121" name="Freeform: Shape 120">
                  <a:extLst>
                    <a:ext uri="{FF2B5EF4-FFF2-40B4-BE49-F238E27FC236}">
                      <a16:creationId xmlns:a16="http://schemas.microsoft.com/office/drawing/2014/main" id="{C0508914-6BE9-4226-BD47-0A689D3E372E}"/>
                    </a:ext>
                  </a:extLst>
                </p:cNvPr>
                <p:cNvSpPr/>
                <p:nvPr/>
              </p:nvSpPr>
              <p:spPr>
                <a:xfrm>
                  <a:off x="3494826" y="-393873"/>
                  <a:ext cx="209701" cy="217336"/>
                </a:xfrm>
                <a:custGeom>
                  <a:avLst/>
                  <a:gdLst>
                    <a:gd name="connsiteX0" fmla="*/ 104509 w 209701"/>
                    <a:gd name="connsiteY0" fmla="*/ 165423 h 217336"/>
                    <a:gd name="connsiteX1" fmla="*/ 145494 w 209701"/>
                    <a:gd name="connsiteY1" fmla="*/ 108046 h 217336"/>
                    <a:gd name="connsiteX2" fmla="*/ 103826 w 209701"/>
                    <a:gd name="connsiteY2" fmla="*/ 50668 h 217336"/>
                    <a:gd name="connsiteX3" fmla="*/ 62842 w 209701"/>
                    <a:gd name="connsiteY3" fmla="*/ 108046 h 217336"/>
                    <a:gd name="connsiteX4" fmla="*/ 104509 w 209701"/>
                    <a:gd name="connsiteY4" fmla="*/ 165423 h 217336"/>
                    <a:gd name="connsiteX5" fmla="*/ 181013 w 209701"/>
                    <a:gd name="connsiteY5" fmla="*/ 29493 h 217336"/>
                    <a:gd name="connsiteX6" fmla="*/ 209702 w 209701"/>
                    <a:gd name="connsiteY6" fmla="*/ 108046 h 217336"/>
                    <a:gd name="connsiteX7" fmla="*/ 181013 w 209701"/>
                    <a:gd name="connsiteY7" fmla="*/ 186598 h 217336"/>
                    <a:gd name="connsiteX8" fmla="*/ 105192 w 209701"/>
                    <a:gd name="connsiteY8" fmla="*/ 217336 h 217336"/>
                    <a:gd name="connsiteX9" fmla="*/ 29372 w 209701"/>
                    <a:gd name="connsiteY9" fmla="*/ 187282 h 217336"/>
                    <a:gd name="connsiteX10" fmla="*/ 0 w 209701"/>
                    <a:gd name="connsiteY10" fmla="*/ 108729 h 217336"/>
                    <a:gd name="connsiteX11" fmla="*/ 28689 w 209701"/>
                    <a:gd name="connsiteY11" fmla="*/ 30176 h 217336"/>
                    <a:gd name="connsiteX12" fmla="*/ 104509 w 209701"/>
                    <a:gd name="connsiteY12" fmla="*/ 121 h 217336"/>
                    <a:gd name="connsiteX13" fmla="*/ 181013 w 209701"/>
                    <a:gd name="connsiteY13" fmla="*/ 29493 h 217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9701" h="217336">
                      <a:moveTo>
                        <a:pt x="104509" y="165423"/>
                      </a:moveTo>
                      <a:cubicBezTo>
                        <a:pt x="129100" y="165423"/>
                        <a:pt x="145494" y="145614"/>
                        <a:pt x="145494" y="108046"/>
                      </a:cubicBezTo>
                      <a:cubicBezTo>
                        <a:pt x="145494" y="69794"/>
                        <a:pt x="127734" y="50668"/>
                        <a:pt x="103826" y="50668"/>
                      </a:cubicBezTo>
                      <a:cubicBezTo>
                        <a:pt x="81285" y="50668"/>
                        <a:pt x="62842" y="69794"/>
                        <a:pt x="62842" y="108046"/>
                      </a:cubicBezTo>
                      <a:cubicBezTo>
                        <a:pt x="63525" y="145614"/>
                        <a:pt x="80602" y="165423"/>
                        <a:pt x="104509" y="165423"/>
                      </a:cubicBezTo>
                      <a:moveTo>
                        <a:pt x="181013" y="29493"/>
                      </a:moveTo>
                      <a:cubicBezTo>
                        <a:pt x="200139" y="49302"/>
                        <a:pt x="209702" y="77991"/>
                        <a:pt x="209702" y="108046"/>
                      </a:cubicBezTo>
                      <a:cubicBezTo>
                        <a:pt x="209702" y="140150"/>
                        <a:pt x="200139" y="166106"/>
                        <a:pt x="181013" y="186598"/>
                      </a:cubicBezTo>
                      <a:cubicBezTo>
                        <a:pt x="161887" y="207090"/>
                        <a:pt x="135930" y="217336"/>
                        <a:pt x="105192" y="217336"/>
                      </a:cubicBezTo>
                      <a:cubicBezTo>
                        <a:pt x="74454" y="217336"/>
                        <a:pt x="49181" y="207774"/>
                        <a:pt x="29372" y="187282"/>
                      </a:cubicBezTo>
                      <a:cubicBezTo>
                        <a:pt x="9563" y="166790"/>
                        <a:pt x="0" y="139467"/>
                        <a:pt x="0" y="108729"/>
                      </a:cubicBezTo>
                      <a:cubicBezTo>
                        <a:pt x="0" y="78674"/>
                        <a:pt x="9563" y="50668"/>
                        <a:pt x="28689" y="30176"/>
                      </a:cubicBezTo>
                      <a:cubicBezTo>
                        <a:pt x="47815" y="10367"/>
                        <a:pt x="75137" y="121"/>
                        <a:pt x="104509" y="121"/>
                      </a:cubicBezTo>
                      <a:cubicBezTo>
                        <a:pt x="134564" y="-1245"/>
                        <a:pt x="161204" y="9001"/>
                        <a:pt x="181013" y="29493"/>
                      </a:cubicBezTo>
                    </a:path>
                  </a:pathLst>
                </a:custGeom>
                <a:solidFill>
                  <a:schemeClr val="tx2"/>
                </a:solidFill>
                <a:ln w="6825" cap="flat">
                  <a:noFill/>
                  <a:prstDash val="solid"/>
                  <a:miter/>
                </a:ln>
              </p:spPr>
              <p:txBody>
                <a:bodyPr rtlCol="0" anchor="ctr"/>
                <a:lstStyle/>
                <a:p>
                  <a:endParaRPr lang="en-US"/>
                </a:p>
              </p:txBody>
            </p:sp>
            <p:sp>
              <p:nvSpPr>
                <p:cNvPr id="122" name="Freeform: Shape 121">
                  <a:extLst>
                    <a:ext uri="{FF2B5EF4-FFF2-40B4-BE49-F238E27FC236}">
                      <a16:creationId xmlns:a16="http://schemas.microsoft.com/office/drawing/2014/main" id="{ADABF5D0-BAB7-4652-B37A-4D05000DBFF0}"/>
                    </a:ext>
                  </a:extLst>
                </p:cNvPr>
                <p:cNvSpPr/>
                <p:nvPr/>
              </p:nvSpPr>
              <p:spPr>
                <a:xfrm>
                  <a:off x="3789228" y="-390337"/>
                  <a:ext cx="155056" cy="209018"/>
                </a:xfrm>
                <a:custGeom>
                  <a:avLst/>
                  <a:gdLst>
                    <a:gd name="connsiteX0" fmla="*/ 63525 w 155056"/>
                    <a:gd name="connsiteY0" fmla="*/ 0 h 209018"/>
                    <a:gd name="connsiteX1" fmla="*/ 63525 w 155056"/>
                    <a:gd name="connsiteY1" fmla="*/ 155056 h 209018"/>
                    <a:gd name="connsiteX2" fmla="*/ 155056 w 155056"/>
                    <a:gd name="connsiteY2" fmla="*/ 155056 h 209018"/>
                    <a:gd name="connsiteX3" fmla="*/ 155056 w 155056"/>
                    <a:gd name="connsiteY3" fmla="*/ 208336 h 209018"/>
                    <a:gd name="connsiteX4" fmla="*/ 0 w 155056"/>
                    <a:gd name="connsiteY4" fmla="*/ 209019 h 209018"/>
                    <a:gd name="connsiteX5" fmla="*/ 0 w 155056"/>
                    <a:gd name="connsiteY5" fmla="*/ 0 h 209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056" h="209018">
                      <a:moveTo>
                        <a:pt x="63525" y="0"/>
                      </a:moveTo>
                      <a:lnTo>
                        <a:pt x="63525" y="155056"/>
                      </a:lnTo>
                      <a:lnTo>
                        <a:pt x="155056" y="155056"/>
                      </a:lnTo>
                      <a:lnTo>
                        <a:pt x="155056" y="208336"/>
                      </a:lnTo>
                      <a:lnTo>
                        <a:pt x="0" y="209019"/>
                      </a:lnTo>
                      <a:lnTo>
                        <a:pt x="0" y="0"/>
                      </a:lnTo>
                      <a:close/>
                    </a:path>
                  </a:pathLst>
                </a:custGeom>
                <a:solidFill>
                  <a:schemeClr val="tx2"/>
                </a:solidFill>
                <a:ln w="6825" cap="flat">
                  <a:noFill/>
                  <a:prstDash val="solid"/>
                  <a:miter/>
                </a:ln>
              </p:spPr>
              <p:txBody>
                <a:bodyPr rtlCol="0" anchor="ctr"/>
                <a:lstStyle/>
                <a:p>
                  <a:endParaRPr lang="en-US"/>
                </a:p>
              </p:txBody>
            </p:sp>
            <p:sp>
              <p:nvSpPr>
                <p:cNvPr id="123" name="Freeform: Shape 122">
                  <a:extLst>
                    <a:ext uri="{FF2B5EF4-FFF2-40B4-BE49-F238E27FC236}">
                      <a16:creationId xmlns:a16="http://schemas.microsoft.com/office/drawing/2014/main" id="{3E658F6D-1800-4AEA-9592-BC2977169C5A}"/>
                    </a:ext>
                  </a:extLst>
                </p:cNvPr>
                <p:cNvSpPr/>
                <p:nvPr/>
              </p:nvSpPr>
              <p:spPr>
                <a:xfrm>
                  <a:off x="4029668" y="-390337"/>
                  <a:ext cx="197406" cy="208335"/>
                </a:xfrm>
                <a:custGeom>
                  <a:avLst/>
                  <a:gdLst>
                    <a:gd name="connsiteX0" fmla="*/ 89482 w 197406"/>
                    <a:gd name="connsiteY0" fmla="*/ 155056 h 208335"/>
                    <a:gd name="connsiteX1" fmla="*/ 133881 w 197406"/>
                    <a:gd name="connsiteY1" fmla="*/ 103143 h 208335"/>
                    <a:gd name="connsiteX2" fmla="*/ 84700 w 197406"/>
                    <a:gd name="connsiteY2" fmla="*/ 53279 h 208335"/>
                    <a:gd name="connsiteX3" fmla="*/ 63525 w 197406"/>
                    <a:gd name="connsiteY3" fmla="*/ 53279 h 208335"/>
                    <a:gd name="connsiteX4" fmla="*/ 63525 w 197406"/>
                    <a:gd name="connsiteY4" fmla="*/ 155056 h 208335"/>
                    <a:gd name="connsiteX5" fmla="*/ 89482 w 197406"/>
                    <a:gd name="connsiteY5" fmla="*/ 155056 h 208335"/>
                    <a:gd name="connsiteX6" fmla="*/ 105192 w 197406"/>
                    <a:gd name="connsiteY6" fmla="*/ 0 h 208335"/>
                    <a:gd name="connsiteX7" fmla="*/ 197406 w 197406"/>
                    <a:gd name="connsiteY7" fmla="*/ 103826 h 208335"/>
                    <a:gd name="connsiteX8" fmla="*/ 93580 w 197406"/>
                    <a:gd name="connsiteY8" fmla="*/ 208336 h 208335"/>
                    <a:gd name="connsiteX9" fmla="*/ 0 w 197406"/>
                    <a:gd name="connsiteY9" fmla="*/ 208336 h 208335"/>
                    <a:gd name="connsiteX10" fmla="*/ 0 w 197406"/>
                    <a:gd name="connsiteY10" fmla="*/ 0 h 208335"/>
                    <a:gd name="connsiteX11" fmla="*/ 105192 w 197406"/>
                    <a:gd name="connsiteY11" fmla="*/ 0 h 208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7406" h="208335">
                      <a:moveTo>
                        <a:pt x="89482" y="155056"/>
                      </a:moveTo>
                      <a:cubicBezTo>
                        <a:pt x="118171" y="155056"/>
                        <a:pt x="133881" y="135931"/>
                        <a:pt x="133881" y="103143"/>
                      </a:cubicBezTo>
                      <a:cubicBezTo>
                        <a:pt x="133881" y="72405"/>
                        <a:pt x="115438" y="53279"/>
                        <a:pt x="84700" y="53279"/>
                      </a:cubicBezTo>
                      <a:lnTo>
                        <a:pt x="63525" y="53279"/>
                      </a:lnTo>
                      <a:lnTo>
                        <a:pt x="63525" y="155056"/>
                      </a:lnTo>
                      <a:lnTo>
                        <a:pt x="89482" y="155056"/>
                      </a:lnTo>
                      <a:close/>
                      <a:moveTo>
                        <a:pt x="105192" y="0"/>
                      </a:moveTo>
                      <a:cubicBezTo>
                        <a:pt x="163253" y="0"/>
                        <a:pt x="197406" y="40301"/>
                        <a:pt x="197406" y="103826"/>
                      </a:cubicBezTo>
                      <a:cubicBezTo>
                        <a:pt x="197406" y="172816"/>
                        <a:pt x="158472" y="208336"/>
                        <a:pt x="93580" y="208336"/>
                      </a:cubicBezTo>
                      <a:lnTo>
                        <a:pt x="0" y="208336"/>
                      </a:lnTo>
                      <a:lnTo>
                        <a:pt x="0" y="0"/>
                      </a:lnTo>
                      <a:lnTo>
                        <a:pt x="105192" y="0"/>
                      </a:lnTo>
                      <a:close/>
                    </a:path>
                  </a:pathLst>
                </a:custGeom>
                <a:solidFill>
                  <a:schemeClr val="tx2"/>
                </a:solidFill>
                <a:ln w="6825" cap="flat">
                  <a:noFill/>
                  <a:prstDash val="solid"/>
                  <a:miter/>
                </a:ln>
              </p:spPr>
              <p:txBody>
                <a:bodyPr rtlCol="0" anchor="ctr"/>
                <a:lstStyle/>
                <a:p>
                  <a:endParaRPr lang="en-US"/>
                </a:p>
              </p:txBody>
            </p:sp>
            <p:sp>
              <p:nvSpPr>
                <p:cNvPr id="124" name="Freeform: Shape 123">
                  <a:extLst>
                    <a:ext uri="{FF2B5EF4-FFF2-40B4-BE49-F238E27FC236}">
                      <a16:creationId xmlns:a16="http://schemas.microsoft.com/office/drawing/2014/main" id="{8084079B-797B-4ED9-9C21-6BD5065C0112}"/>
                    </a:ext>
                  </a:extLst>
                </p:cNvPr>
                <p:cNvSpPr/>
                <p:nvPr/>
              </p:nvSpPr>
              <p:spPr>
                <a:xfrm>
                  <a:off x="4312458" y="-390337"/>
                  <a:ext cx="155739" cy="208335"/>
                </a:xfrm>
                <a:custGeom>
                  <a:avLst/>
                  <a:gdLst>
                    <a:gd name="connsiteX0" fmla="*/ 64209 w 155739"/>
                    <a:gd name="connsiteY0" fmla="*/ 0 h 208335"/>
                    <a:gd name="connsiteX1" fmla="*/ 64209 w 155739"/>
                    <a:gd name="connsiteY1" fmla="*/ 155056 h 208335"/>
                    <a:gd name="connsiteX2" fmla="*/ 155740 w 155739"/>
                    <a:gd name="connsiteY2" fmla="*/ 155056 h 208335"/>
                    <a:gd name="connsiteX3" fmla="*/ 155740 w 155739"/>
                    <a:gd name="connsiteY3" fmla="*/ 208336 h 208335"/>
                    <a:gd name="connsiteX4" fmla="*/ 0 w 155739"/>
                    <a:gd name="connsiteY4" fmla="*/ 208336 h 208335"/>
                    <a:gd name="connsiteX5" fmla="*/ 0 w 155739"/>
                    <a:gd name="connsiteY5" fmla="*/ 0 h 208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739" h="208335">
                      <a:moveTo>
                        <a:pt x="64209" y="0"/>
                      </a:moveTo>
                      <a:lnTo>
                        <a:pt x="64209" y="155056"/>
                      </a:lnTo>
                      <a:lnTo>
                        <a:pt x="155740" y="155056"/>
                      </a:lnTo>
                      <a:lnTo>
                        <a:pt x="155740" y="208336"/>
                      </a:lnTo>
                      <a:lnTo>
                        <a:pt x="0" y="208336"/>
                      </a:lnTo>
                      <a:lnTo>
                        <a:pt x="0" y="0"/>
                      </a:lnTo>
                      <a:close/>
                    </a:path>
                  </a:pathLst>
                </a:custGeom>
                <a:solidFill>
                  <a:schemeClr val="tx2"/>
                </a:solidFill>
                <a:ln w="6825" cap="flat">
                  <a:noFill/>
                  <a:prstDash val="solid"/>
                  <a:miter/>
                </a:ln>
              </p:spPr>
              <p:txBody>
                <a:bodyPr rtlCol="0" anchor="ctr"/>
                <a:lstStyle/>
                <a:p>
                  <a:endParaRPr lang="en-US"/>
                </a:p>
              </p:txBody>
            </p:sp>
            <p:sp>
              <p:nvSpPr>
                <p:cNvPr id="125" name="Freeform: Shape 124">
                  <a:extLst>
                    <a:ext uri="{FF2B5EF4-FFF2-40B4-BE49-F238E27FC236}">
                      <a16:creationId xmlns:a16="http://schemas.microsoft.com/office/drawing/2014/main" id="{8E39221D-81A6-4E22-8A32-47B6EDFC2DB9}"/>
                    </a:ext>
                  </a:extLst>
                </p:cNvPr>
                <p:cNvSpPr/>
                <p:nvPr/>
              </p:nvSpPr>
              <p:spPr>
                <a:xfrm>
                  <a:off x="4516012" y="-390337"/>
                  <a:ext cx="210384" cy="208335"/>
                </a:xfrm>
                <a:custGeom>
                  <a:avLst/>
                  <a:gdLst>
                    <a:gd name="connsiteX0" fmla="*/ 70356 w 210384"/>
                    <a:gd name="connsiteY0" fmla="*/ 0 h 208335"/>
                    <a:gd name="connsiteX1" fmla="*/ 105192 w 210384"/>
                    <a:gd name="connsiteY1" fmla="*/ 76504 h 208335"/>
                    <a:gd name="connsiteX2" fmla="*/ 140712 w 210384"/>
                    <a:gd name="connsiteY2" fmla="*/ 0 h 208335"/>
                    <a:gd name="connsiteX3" fmla="*/ 210385 w 210384"/>
                    <a:gd name="connsiteY3" fmla="*/ 0 h 208335"/>
                    <a:gd name="connsiteX4" fmla="*/ 136614 w 210384"/>
                    <a:gd name="connsiteY4" fmla="*/ 131832 h 208335"/>
                    <a:gd name="connsiteX5" fmla="*/ 136614 w 210384"/>
                    <a:gd name="connsiteY5" fmla="*/ 208336 h 208335"/>
                    <a:gd name="connsiteX6" fmla="*/ 73088 w 210384"/>
                    <a:gd name="connsiteY6" fmla="*/ 208336 h 208335"/>
                    <a:gd name="connsiteX7" fmla="*/ 73088 w 210384"/>
                    <a:gd name="connsiteY7" fmla="*/ 131832 h 208335"/>
                    <a:gd name="connsiteX8" fmla="*/ 0 w 210384"/>
                    <a:gd name="connsiteY8" fmla="*/ 0 h 208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0384" h="208335">
                      <a:moveTo>
                        <a:pt x="70356" y="0"/>
                      </a:moveTo>
                      <a:lnTo>
                        <a:pt x="105192" y="76504"/>
                      </a:lnTo>
                      <a:lnTo>
                        <a:pt x="140712" y="0"/>
                      </a:lnTo>
                      <a:lnTo>
                        <a:pt x="210385" y="0"/>
                      </a:lnTo>
                      <a:lnTo>
                        <a:pt x="136614" y="131832"/>
                      </a:lnTo>
                      <a:lnTo>
                        <a:pt x="136614" y="208336"/>
                      </a:lnTo>
                      <a:lnTo>
                        <a:pt x="73088" y="208336"/>
                      </a:lnTo>
                      <a:lnTo>
                        <a:pt x="73088" y="131832"/>
                      </a:lnTo>
                      <a:lnTo>
                        <a:pt x="0" y="0"/>
                      </a:lnTo>
                      <a:close/>
                    </a:path>
                  </a:pathLst>
                </a:custGeom>
                <a:solidFill>
                  <a:schemeClr val="tx2"/>
                </a:solidFill>
                <a:ln w="6825" cap="flat">
                  <a:noFill/>
                  <a:prstDash val="solid"/>
                  <a:miter/>
                </a:ln>
              </p:spPr>
              <p:txBody>
                <a:bodyPr rtlCol="0" anchor="ctr"/>
                <a:lstStyle/>
                <a:p>
                  <a:endParaRPr lang="en-US"/>
                </a:p>
              </p:txBody>
            </p:sp>
          </p:grpSp>
          <p:grpSp>
            <p:nvGrpSpPr>
              <p:cNvPr id="27" name="Group 26">
                <a:extLst>
                  <a:ext uri="{FF2B5EF4-FFF2-40B4-BE49-F238E27FC236}">
                    <a16:creationId xmlns:a16="http://schemas.microsoft.com/office/drawing/2014/main" id="{870C68AD-6610-4881-8BCB-3E7939F7A570}"/>
                  </a:ext>
                </a:extLst>
              </p:cNvPr>
              <p:cNvGrpSpPr/>
              <p:nvPr/>
            </p:nvGrpSpPr>
            <p:grpSpPr>
              <a:xfrm>
                <a:off x="4796070" y="-395801"/>
                <a:ext cx="1739090" cy="218581"/>
                <a:chOff x="4796070" y="-395801"/>
                <a:chExt cx="1739090" cy="218581"/>
              </a:xfrm>
              <a:grpFill/>
            </p:grpSpPr>
            <p:sp>
              <p:nvSpPr>
                <p:cNvPr id="113" name="Freeform: Shape 112">
                  <a:extLst>
                    <a:ext uri="{FF2B5EF4-FFF2-40B4-BE49-F238E27FC236}">
                      <a16:creationId xmlns:a16="http://schemas.microsoft.com/office/drawing/2014/main" id="{A8903422-F8FA-4BE0-A098-4624801D3E22}"/>
                    </a:ext>
                  </a:extLst>
                </p:cNvPr>
                <p:cNvSpPr/>
                <p:nvPr/>
              </p:nvSpPr>
              <p:spPr>
                <a:xfrm>
                  <a:off x="4796070" y="-390337"/>
                  <a:ext cx="178963" cy="208335"/>
                </a:xfrm>
                <a:custGeom>
                  <a:avLst/>
                  <a:gdLst>
                    <a:gd name="connsiteX0" fmla="*/ 178963 w 178963"/>
                    <a:gd name="connsiteY0" fmla="*/ 0 h 208335"/>
                    <a:gd name="connsiteX1" fmla="*/ 174182 w 178963"/>
                    <a:gd name="connsiteY1" fmla="*/ 23224 h 208335"/>
                    <a:gd name="connsiteX2" fmla="*/ 65574 w 178963"/>
                    <a:gd name="connsiteY2" fmla="*/ 23224 h 208335"/>
                    <a:gd name="connsiteX3" fmla="*/ 51913 w 178963"/>
                    <a:gd name="connsiteY3" fmla="*/ 89482 h 208335"/>
                    <a:gd name="connsiteX4" fmla="*/ 147542 w 178963"/>
                    <a:gd name="connsiteY4" fmla="*/ 89482 h 208335"/>
                    <a:gd name="connsiteX5" fmla="*/ 142761 w 178963"/>
                    <a:gd name="connsiteY5" fmla="*/ 112706 h 208335"/>
                    <a:gd name="connsiteX6" fmla="*/ 47131 w 178963"/>
                    <a:gd name="connsiteY6" fmla="*/ 112706 h 208335"/>
                    <a:gd name="connsiteX7" fmla="*/ 27323 w 178963"/>
                    <a:gd name="connsiteY7" fmla="*/ 208336 h 208335"/>
                    <a:gd name="connsiteX8" fmla="*/ 0 w 178963"/>
                    <a:gd name="connsiteY8" fmla="*/ 208336 h 208335"/>
                    <a:gd name="connsiteX9" fmla="*/ 43033 w 178963"/>
                    <a:gd name="connsiteY9" fmla="*/ 0 h 208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963" h="208335">
                      <a:moveTo>
                        <a:pt x="178963" y="0"/>
                      </a:moveTo>
                      <a:lnTo>
                        <a:pt x="174182" y="23224"/>
                      </a:lnTo>
                      <a:lnTo>
                        <a:pt x="65574" y="23224"/>
                      </a:lnTo>
                      <a:lnTo>
                        <a:pt x="51913" y="89482"/>
                      </a:lnTo>
                      <a:lnTo>
                        <a:pt x="147542" y="89482"/>
                      </a:lnTo>
                      <a:lnTo>
                        <a:pt x="142761" y="112706"/>
                      </a:lnTo>
                      <a:lnTo>
                        <a:pt x="47131" y="112706"/>
                      </a:lnTo>
                      <a:lnTo>
                        <a:pt x="27323" y="208336"/>
                      </a:lnTo>
                      <a:lnTo>
                        <a:pt x="0" y="208336"/>
                      </a:lnTo>
                      <a:lnTo>
                        <a:pt x="43033" y="0"/>
                      </a:lnTo>
                      <a:close/>
                    </a:path>
                  </a:pathLst>
                </a:custGeom>
                <a:grpFill/>
                <a:ln w="6825" cap="flat">
                  <a:noFill/>
                  <a:prstDash val="solid"/>
                  <a:miter/>
                </a:ln>
              </p:spPr>
              <p:txBody>
                <a:bodyPr rtlCol="0" anchor="ctr"/>
                <a:lstStyle/>
                <a:p>
                  <a:endParaRPr lang="en-US"/>
                </a:p>
              </p:txBody>
            </p:sp>
            <p:sp>
              <p:nvSpPr>
                <p:cNvPr id="114" name="Freeform: Shape 113">
                  <a:extLst>
                    <a:ext uri="{FF2B5EF4-FFF2-40B4-BE49-F238E27FC236}">
                      <a16:creationId xmlns:a16="http://schemas.microsoft.com/office/drawing/2014/main" id="{4B78BB86-6957-4017-9808-B22B9E857B89}"/>
                    </a:ext>
                  </a:extLst>
                </p:cNvPr>
                <p:cNvSpPr/>
                <p:nvPr/>
              </p:nvSpPr>
              <p:spPr>
                <a:xfrm>
                  <a:off x="5017384" y="-395801"/>
                  <a:ext cx="200138" cy="218581"/>
                </a:xfrm>
                <a:custGeom>
                  <a:avLst/>
                  <a:gdLst>
                    <a:gd name="connsiteX0" fmla="*/ 88799 w 200138"/>
                    <a:gd name="connsiteY0" fmla="*/ 195357 h 218581"/>
                    <a:gd name="connsiteX1" fmla="*/ 172133 w 200138"/>
                    <a:gd name="connsiteY1" fmla="*/ 92897 h 218581"/>
                    <a:gd name="connsiteX2" fmla="*/ 113389 w 200138"/>
                    <a:gd name="connsiteY2" fmla="*/ 23907 h 218581"/>
                    <a:gd name="connsiteX3" fmla="*/ 28006 w 200138"/>
                    <a:gd name="connsiteY3" fmla="*/ 127734 h 218581"/>
                    <a:gd name="connsiteX4" fmla="*/ 88799 w 200138"/>
                    <a:gd name="connsiteY4" fmla="*/ 195357 h 218581"/>
                    <a:gd name="connsiteX5" fmla="*/ 200139 w 200138"/>
                    <a:gd name="connsiteY5" fmla="*/ 92214 h 218581"/>
                    <a:gd name="connsiteX6" fmla="*/ 88799 w 200138"/>
                    <a:gd name="connsiteY6" fmla="*/ 218582 h 218581"/>
                    <a:gd name="connsiteX7" fmla="*/ 0 w 200138"/>
                    <a:gd name="connsiteY7" fmla="*/ 127051 h 218581"/>
                    <a:gd name="connsiteX8" fmla="*/ 113389 w 200138"/>
                    <a:gd name="connsiteY8" fmla="*/ 0 h 218581"/>
                    <a:gd name="connsiteX9" fmla="*/ 200139 w 200138"/>
                    <a:gd name="connsiteY9" fmla="*/ 92214 h 218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0138" h="218581">
                      <a:moveTo>
                        <a:pt x="88799" y="195357"/>
                      </a:moveTo>
                      <a:cubicBezTo>
                        <a:pt x="142078" y="195357"/>
                        <a:pt x="172133" y="144127"/>
                        <a:pt x="172133" y="92897"/>
                      </a:cubicBezTo>
                      <a:cubicBezTo>
                        <a:pt x="172133" y="52596"/>
                        <a:pt x="149592" y="23907"/>
                        <a:pt x="113389" y="23907"/>
                      </a:cubicBezTo>
                      <a:cubicBezTo>
                        <a:pt x="59427" y="23907"/>
                        <a:pt x="28006" y="73771"/>
                        <a:pt x="28006" y="127734"/>
                      </a:cubicBezTo>
                      <a:cubicBezTo>
                        <a:pt x="28006" y="169401"/>
                        <a:pt x="49181" y="195357"/>
                        <a:pt x="88799" y="195357"/>
                      </a:cubicBezTo>
                      <a:moveTo>
                        <a:pt x="200139" y="92214"/>
                      </a:moveTo>
                      <a:cubicBezTo>
                        <a:pt x="200139" y="155739"/>
                        <a:pt x="159155" y="218582"/>
                        <a:pt x="88799" y="218582"/>
                      </a:cubicBezTo>
                      <a:cubicBezTo>
                        <a:pt x="32787" y="218582"/>
                        <a:pt x="0" y="185111"/>
                        <a:pt x="0" y="127051"/>
                      </a:cubicBezTo>
                      <a:cubicBezTo>
                        <a:pt x="0" y="54645"/>
                        <a:pt x="47132" y="0"/>
                        <a:pt x="113389" y="0"/>
                      </a:cubicBezTo>
                      <a:cubicBezTo>
                        <a:pt x="166669" y="0"/>
                        <a:pt x="200139" y="39618"/>
                        <a:pt x="200139" y="92214"/>
                      </a:cubicBezTo>
                    </a:path>
                  </a:pathLst>
                </a:custGeom>
                <a:grpFill/>
                <a:ln w="6825" cap="flat">
                  <a:noFill/>
                  <a:prstDash val="solid"/>
                  <a:miter/>
                </a:ln>
              </p:spPr>
              <p:txBody>
                <a:bodyPr rtlCol="0" anchor="ctr"/>
                <a:lstStyle/>
                <a:p>
                  <a:endParaRPr lang="en-US"/>
                </a:p>
              </p:txBody>
            </p:sp>
            <p:sp>
              <p:nvSpPr>
                <p:cNvPr id="115" name="Freeform: Shape 114">
                  <a:extLst>
                    <a:ext uri="{FF2B5EF4-FFF2-40B4-BE49-F238E27FC236}">
                      <a16:creationId xmlns:a16="http://schemas.microsoft.com/office/drawing/2014/main" id="{442BC9EF-36BC-46BF-A21B-2FC5011B6CF0}"/>
                    </a:ext>
                  </a:extLst>
                </p:cNvPr>
                <p:cNvSpPr/>
                <p:nvPr/>
              </p:nvSpPr>
              <p:spPr>
                <a:xfrm>
                  <a:off x="5276267" y="-390337"/>
                  <a:ext cx="189892" cy="208335"/>
                </a:xfrm>
                <a:custGeom>
                  <a:avLst/>
                  <a:gdLst>
                    <a:gd name="connsiteX0" fmla="*/ 64891 w 189892"/>
                    <a:gd name="connsiteY0" fmla="*/ 23224 h 208335"/>
                    <a:gd name="connsiteX1" fmla="*/ 49864 w 189892"/>
                    <a:gd name="connsiteY1" fmla="*/ 95629 h 208335"/>
                    <a:gd name="connsiteX2" fmla="*/ 112706 w 189892"/>
                    <a:gd name="connsiteY2" fmla="*/ 95629 h 208335"/>
                    <a:gd name="connsiteX3" fmla="*/ 162570 w 189892"/>
                    <a:gd name="connsiteY3" fmla="*/ 54645 h 208335"/>
                    <a:gd name="connsiteX4" fmla="*/ 122952 w 189892"/>
                    <a:gd name="connsiteY4" fmla="*/ 23224 h 208335"/>
                    <a:gd name="connsiteX5" fmla="*/ 64891 w 189892"/>
                    <a:gd name="connsiteY5" fmla="*/ 23224 h 208335"/>
                    <a:gd name="connsiteX6" fmla="*/ 123635 w 189892"/>
                    <a:gd name="connsiteY6" fmla="*/ 0 h 208335"/>
                    <a:gd name="connsiteX7" fmla="*/ 189893 w 189892"/>
                    <a:gd name="connsiteY7" fmla="*/ 53279 h 208335"/>
                    <a:gd name="connsiteX8" fmla="*/ 143444 w 189892"/>
                    <a:gd name="connsiteY8" fmla="*/ 109291 h 208335"/>
                    <a:gd name="connsiteX9" fmla="*/ 143444 w 189892"/>
                    <a:gd name="connsiteY9" fmla="*/ 109974 h 208335"/>
                    <a:gd name="connsiteX10" fmla="*/ 165302 w 189892"/>
                    <a:gd name="connsiteY10" fmla="*/ 146860 h 208335"/>
                    <a:gd name="connsiteX11" fmla="*/ 161204 w 189892"/>
                    <a:gd name="connsiteY11" fmla="*/ 190576 h 208335"/>
                    <a:gd name="connsiteX12" fmla="*/ 165302 w 189892"/>
                    <a:gd name="connsiteY12" fmla="*/ 208336 h 208335"/>
                    <a:gd name="connsiteX13" fmla="*/ 136614 w 189892"/>
                    <a:gd name="connsiteY13" fmla="*/ 208336 h 208335"/>
                    <a:gd name="connsiteX14" fmla="*/ 134564 w 189892"/>
                    <a:gd name="connsiteY14" fmla="*/ 189893 h 208335"/>
                    <a:gd name="connsiteX15" fmla="*/ 139346 w 189892"/>
                    <a:gd name="connsiteY15" fmla="*/ 147543 h 208335"/>
                    <a:gd name="connsiteX16" fmla="*/ 116804 w 189892"/>
                    <a:gd name="connsiteY16" fmla="*/ 119537 h 208335"/>
                    <a:gd name="connsiteX17" fmla="*/ 45766 w 189892"/>
                    <a:gd name="connsiteY17" fmla="*/ 119537 h 208335"/>
                    <a:gd name="connsiteX18" fmla="*/ 27323 w 189892"/>
                    <a:gd name="connsiteY18" fmla="*/ 208336 h 208335"/>
                    <a:gd name="connsiteX19" fmla="*/ 0 w 189892"/>
                    <a:gd name="connsiteY19" fmla="*/ 208336 h 208335"/>
                    <a:gd name="connsiteX20" fmla="*/ 43716 w 189892"/>
                    <a:gd name="connsiteY20" fmla="*/ 0 h 208335"/>
                    <a:gd name="connsiteX21" fmla="*/ 123635 w 189892"/>
                    <a:gd name="connsiteY21" fmla="*/ 0 h 208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9892" h="208335">
                      <a:moveTo>
                        <a:pt x="64891" y="23224"/>
                      </a:moveTo>
                      <a:lnTo>
                        <a:pt x="49864" y="95629"/>
                      </a:lnTo>
                      <a:lnTo>
                        <a:pt x="112706" y="95629"/>
                      </a:lnTo>
                      <a:cubicBezTo>
                        <a:pt x="143444" y="95629"/>
                        <a:pt x="162570" y="79919"/>
                        <a:pt x="162570" y="54645"/>
                      </a:cubicBezTo>
                      <a:cubicBezTo>
                        <a:pt x="162570" y="33470"/>
                        <a:pt x="148909" y="23224"/>
                        <a:pt x="122952" y="23224"/>
                      </a:cubicBezTo>
                      <a:lnTo>
                        <a:pt x="64891" y="23224"/>
                      </a:lnTo>
                      <a:close/>
                      <a:moveTo>
                        <a:pt x="123635" y="0"/>
                      </a:moveTo>
                      <a:cubicBezTo>
                        <a:pt x="165302" y="0"/>
                        <a:pt x="189893" y="17760"/>
                        <a:pt x="189893" y="53279"/>
                      </a:cubicBezTo>
                      <a:cubicBezTo>
                        <a:pt x="189893" y="81285"/>
                        <a:pt x="171450" y="105193"/>
                        <a:pt x="143444" y="109291"/>
                      </a:cubicBezTo>
                      <a:lnTo>
                        <a:pt x="143444" y="109974"/>
                      </a:lnTo>
                      <a:cubicBezTo>
                        <a:pt x="156422" y="114072"/>
                        <a:pt x="165302" y="127051"/>
                        <a:pt x="165302" y="146860"/>
                      </a:cubicBezTo>
                      <a:cubicBezTo>
                        <a:pt x="165302" y="156423"/>
                        <a:pt x="161204" y="180330"/>
                        <a:pt x="161204" y="190576"/>
                      </a:cubicBezTo>
                      <a:cubicBezTo>
                        <a:pt x="161204" y="196723"/>
                        <a:pt x="162570" y="203554"/>
                        <a:pt x="165302" y="208336"/>
                      </a:cubicBezTo>
                      <a:lnTo>
                        <a:pt x="136614" y="208336"/>
                      </a:lnTo>
                      <a:cubicBezTo>
                        <a:pt x="135247" y="204237"/>
                        <a:pt x="134564" y="198090"/>
                        <a:pt x="134564" y="189893"/>
                      </a:cubicBezTo>
                      <a:cubicBezTo>
                        <a:pt x="134564" y="176231"/>
                        <a:pt x="139346" y="157106"/>
                        <a:pt x="139346" y="147543"/>
                      </a:cubicBezTo>
                      <a:cubicBezTo>
                        <a:pt x="139346" y="129783"/>
                        <a:pt x="131832" y="119537"/>
                        <a:pt x="116804" y="119537"/>
                      </a:cubicBezTo>
                      <a:lnTo>
                        <a:pt x="45766" y="119537"/>
                      </a:lnTo>
                      <a:lnTo>
                        <a:pt x="27323" y="208336"/>
                      </a:lnTo>
                      <a:lnTo>
                        <a:pt x="0" y="208336"/>
                      </a:lnTo>
                      <a:lnTo>
                        <a:pt x="43716" y="0"/>
                      </a:lnTo>
                      <a:lnTo>
                        <a:pt x="123635" y="0"/>
                      </a:lnTo>
                      <a:close/>
                    </a:path>
                  </a:pathLst>
                </a:custGeom>
                <a:grpFill/>
                <a:ln w="6825" cap="flat">
                  <a:noFill/>
                  <a:prstDash val="solid"/>
                  <a:miter/>
                </a:ln>
              </p:spPr>
              <p:txBody>
                <a:bodyPr rtlCol="0" anchor="ctr"/>
                <a:lstStyle/>
                <a:p>
                  <a:endParaRPr lang="en-US"/>
                </a:p>
              </p:txBody>
            </p:sp>
            <p:sp>
              <p:nvSpPr>
                <p:cNvPr id="116" name="Freeform: Shape 115">
                  <a:extLst>
                    <a:ext uri="{FF2B5EF4-FFF2-40B4-BE49-F238E27FC236}">
                      <a16:creationId xmlns:a16="http://schemas.microsoft.com/office/drawing/2014/main" id="{0F29DB33-1B52-4C43-9E49-CACD2EBA8D87}"/>
                    </a:ext>
                  </a:extLst>
                </p:cNvPr>
                <p:cNvSpPr/>
                <p:nvPr/>
              </p:nvSpPr>
              <p:spPr>
                <a:xfrm>
                  <a:off x="5546761" y="-390337"/>
                  <a:ext cx="260931" cy="208335"/>
                </a:xfrm>
                <a:custGeom>
                  <a:avLst/>
                  <a:gdLst>
                    <a:gd name="connsiteX0" fmla="*/ 26640 w 260931"/>
                    <a:gd name="connsiteY0" fmla="*/ 0 h 208335"/>
                    <a:gd name="connsiteX1" fmla="*/ 34153 w 260931"/>
                    <a:gd name="connsiteY1" fmla="*/ 174866 h 208335"/>
                    <a:gd name="connsiteX2" fmla="*/ 34837 w 260931"/>
                    <a:gd name="connsiteY2" fmla="*/ 174866 h 208335"/>
                    <a:gd name="connsiteX3" fmla="*/ 114072 w 260931"/>
                    <a:gd name="connsiteY3" fmla="*/ 0 h 208335"/>
                    <a:gd name="connsiteX4" fmla="*/ 145493 w 260931"/>
                    <a:gd name="connsiteY4" fmla="*/ 0 h 208335"/>
                    <a:gd name="connsiteX5" fmla="*/ 157106 w 260931"/>
                    <a:gd name="connsiteY5" fmla="*/ 175548 h 208335"/>
                    <a:gd name="connsiteX6" fmla="*/ 157789 w 260931"/>
                    <a:gd name="connsiteY6" fmla="*/ 175548 h 208335"/>
                    <a:gd name="connsiteX7" fmla="*/ 232926 w 260931"/>
                    <a:gd name="connsiteY7" fmla="*/ 0 h 208335"/>
                    <a:gd name="connsiteX8" fmla="*/ 260932 w 260931"/>
                    <a:gd name="connsiteY8" fmla="*/ 0 h 208335"/>
                    <a:gd name="connsiteX9" fmla="*/ 165985 w 260931"/>
                    <a:gd name="connsiteY9" fmla="*/ 208336 h 208335"/>
                    <a:gd name="connsiteX10" fmla="*/ 137297 w 260931"/>
                    <a:gd name="connsiteY10" fmla="*/ 208336 h 208335"/>
                    <a:gd name="connsiteX11" fmla="*/ 124318 w 260931"/>
                    <a:gd name="connsiteY11" fmla="*/ 28006 h 208335"/>
                    <a:gd name="connsiteX12" fmla="*/ 123636 w 260931"/>
                    <a:gd name="connsiteY12" fmla="*/ 28006 h 208335"/>
                    <a:gd name="connsiteX13" fmla="*/ 42350 w 260931"/>
                    <a:gd name="connsiteY13" fmla="*/ 208336 h 208335"/>
                    <a:gd name="connsiteX14" fmla="*/ 12978 w 260931"/>
                    <a:gd name="connsiteY14" fmla="*/ 208336 h 208335"/>
                    <a:gd name="connsiteX15" fmla="*/ 0 w 260931"/>
                    <a:gd name="connsiteY15" fmla="*/ 0 h 208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0931" h="208335">
                      <a:moveTo>
                        <a:pt x="26640" y="0"/>
                      </a:moveTo>
                      <a:lnTo>
                        <a:pt x="34153" y="174866"/>
                      </a:lnTo>
                      <a:lnTo>
                        <a:pt x="34837" y="174866"/>
                      </a:lnTo>
                      <a:lnTo>
                        <a:pt x="114072" y="0"/>
                      </a:lnTo>
                      <a:lnTo>
                        <a:pt x="145493" y="0"/>
                      </a:lnTo>
                      <a:lnTo>
                        <a:pt x="157106" y="175548"/>
                      </a:lnTo>
                      <a:lnTo>
                        <a:pt x="157789" y="175548"/>
                      </a:lnTo>
                      <a:lnTo>
                        <a:pt x="232926" y="0"/>
                      </a:lnTo>
                      <a:lnTo>
                        <a:pt x="260932" y="0"/>
                      </a:lnTo>
                      <a:lnTo>
                        <a:pt x="165985" y="208336"/>
                      </a:lnTo>
                      <a:lnTo>
                        <a:pt x="137297" y="208336"/>
                      </a:lnTo>
                      <a:lnTo>
                        <a:pt x="124318" y="28006"/>
                      </a:lnTo>
                      <a:lnTo>
                        <a:pt x="123636" y="28006"/>
                      </a:lnTo>
                      <a:lnTo>
                        <a:pt x="42350" y="208336"/>
                      </a:lnTo>
                      <a:lnTo>
                        <a:pt x="12978" y="208336"/>
                      </a:lnTo>
                      <a:lnTo>
                        <a:pt x="0" y="0"/>
                      </a:lnTo>
                      <a:close/>
                    </a:path>
                  </a:pathLst>
                </a:custGeom>
                <a:grpFill/>
                <a:ln w="6825" cap="flat">
                  <a:noFill/>
                  <a:prstDash val="solid"/>
                  <a:miter/>
                </a:ln>
              </p:spPr>
              <p:txBody>
                <a:bodyPr rtlCol="0" anchor="ctr"/>
                <a:lstStyle/>
                <a:p>
                  <a:endParaRPr lang="en-US"/>
                </a:p>
              </p:txBody>
            </p:sp>
            <p:sp>
              <p:nvSpPr>
                <p:cNvPr id="117" name="Freeform: Shape 116">
                  <a:extLst>
                    <a:ext uri="{FF2B5EF4-FFF2-40B4-BE49-F238E27FC236}">
                      <a16:creationId xmlns:a16="http://schemas.microsoft.com/office/drawing/2014/main" id="{CC1C3CA1-0991-4BDA-A720-13EAF8A3835E}"/>
                    </a:ext>
                  </a:extLst>
                </p:cNvPr>
                <p:cNvSpPr/>
                <p:nvPr/>
              </p:nvSpPr>
              <p:spPr>
                <a:xfrm>
                  <a:off x="5821355" y="-390337"/>
                  <a:ext cx="192625" cy="208335"/>
                </a:xfrm>
                <a:custGeom>
                  <a:avLst/>
                  <a:gdLst>
                    <a:gd name="connsiteX0" fmla="*/ 135247 w 192625"/>
                    <a:gd name="connsiteY0" fmla="*/ 23907 h 208335"/>
                    <a:gd name="connsiteX1" fmla="*/ 79919 w 192625"/>
                    <a:gd name="connsiteY1" fmla="*/ 121586 h 208335"/>
                    <a:gd name="connsiteX2" fmla="*/ 150958 w 192625"/>
                    <a:gd name="connsiteY2" fmla="*/ 121586 h 208335"/>
                    <a:gd name="connsiteX3" fmla="*/ 135247 w 192625"/>
                    <a:gd name="connsiteY3" fmla="*/ 23907 h 208335"/>
                    <a:gd name="connsiteX4" fmla="*/ 135247 w 192625"/>
                    <a:gd name="connsiteY4" fmla="*/ 23907 h 208335"/>
                    <a:gd name="connsiteX5" fmla="*/ 155056 w 192625"/>
                    <a:gd name="connsiteY5" fmla="*/ 0 h 208335"/>
                    <a:gd name="connsiteX6" fmla="*/ 192625 w 192625"/>
                    <a:gd name="connsiteY6" fmla="*/ 208336 h 208335"/>
                    <a:gd name="connsiteX7" fmla="*/ 163936 w 192625"/>
                    <a:gd name="connsiteY7" fmla="*/ 208336 h 208335"/>
                    <a:gd name="connsiteX8" fmla="*/ 154373 w 192625"/>
                    <a:gd name="connsiteY8" fmla="*/ 145494 h 208335"/>
                    <a:gd name="connsiteX9" fmla="*/ 66941 w 192625"/>
                    <a:gd name="connsiteY9" fmla="*/ 145494 h 208335"/>
                    <a:gd name="connsiteX10" fmla="*/ 30738 w 192625"/>
                    <a:gd name="connsiteY10" fmla="*/ 208336 h 208335"/>
                    <a:gd name="connsiteX11" fmla="*/ 0 w 192625"/>
                    <a:gd name="connsiteY11" fmla="*/ 208336 h 208335"/>
                    <a:gd name="connsiteX12" fmla="*/ 124318 w 192625"/>
                    <a:gd name="connsiteY12" fmla="*/ 0 h 208335"/>
                    <a:gd name="connsiteX13" fmla="*/ 155056 w 192625"/>
                    <a:gd name="connsiteY13" fmla="*/ 0 h 208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2625" h="208335">
                      <a:moveTo>
                        <a:pt x="135247" y="23907"/>
                      </a:moveTo>
                      <a:lnTo>
                        <a:pt x="79919" y="121586"/>
                      </a:lnTo>
                      <a:lnTo>
                        <a:pt x="150958" y="121586"/>
                      </a:lnTo>
                      <a:lnTo>
                        <a:pt x="135247" y="23907"/>
                      </a:lnTo>
                      <a:lnTo>
                        <a:pt x="135247" y="23907"/>
                      </a:lnTo>
                      <a:close/>
                      <a:moveTo>
                        <a:pt x="155056" y="0"/>
                      </a:moveTo>
                      <a:lnTo>
                        <a:pt x="192625" y="208336"/>
                      </a:lnTo>
                      <a:lnTo>
                        <a:pt x="163936" y="208336"/>
                      </a:lnTo>
                      <a:lnTo>
                        <a:pt x="154373" y="145494"/>
                      </a:lnTo>
                      <a:lnTo>
                        <a:pt x="66941" y="145494"/>
                      </a:lnTo>
                      <a:lnTo>
                        <a:pt x="30738" y="208336"/>
                      </a:lnTo>
                      <a:lnTo>
                        <a:pt x="0" y="208336"/>
                      </a:lnTo>
                      <a:lnTo>
                        <a:pt x="124318" y="0"/>
                      </a:lnTo>
                      <a:lnTo>
                        <a:pt x="155056" y="0"/>
                      </a:lnTo>
                      <a:close/>
                    </a:path>
                  </a:pathLst>
                </a:custGeom>
                <a:grpFill/>
                <a:ln w="6825" cap="flat">
                  <a:noFill/>
                  <a:prstDash val="solid"/>
                  <a:miter/>
                </a:ln>
              </p:spPr>
              <p:txBody>
                <a:bodyPr rtlCol="0" anchor="ctr"/>
                <a:lstStyle/>
                <a:p>
                  <a:endParaRPr lang="en-US"/>
                </a:p>
              </p:txBody>
            </p:sp>
            <p:sp>
              <p:nvSpPr>
                <p:cNvPr id="118" name="Freeform: Shape 117">
                  <a:extLst>
                    <a:ext uri="{FF2B5EF4-FFF2-40B4-BE49-F238E27FC236}">
                      <a16:creationId xmlns:a16="http://schemas.microsoft.com/office/drawing/2014/main" id="{6EC08E76-4517-4C42-B2A3-A2EDD9277EA1}"/>
                    </a:ext>
                  </a:extLst>
                </p:cNvPr>
                <p:cNvSpPr/>
                <p:nvPr/>
              </p:nvSpPr>
              <p:spPr>
                <a:xfrm>
                  <a:off x="6086385" y="-390337"/>
                  <a:ext cx="189892" cy="208335"/>
                </a:xfrm>
                <a:custGeom>
                  <a:avLst/>
                  <a:gdLst>
                    <a:gd name="connsiteX0" fmla="*/ 64891 w 189892"/>
                    <a:gd name="connsiteY0" fmla="*/ 23224 h 208335"/>
                    <a:gd name="connsiteX1" fmla="*/ 49864 w 189892"/>
                    <a:gd name="connsiteY1" fmla="*/ 95629 h 208335"/>
                    <a:gd name="connsiteX2" fmla="*/ 112706 w 189892"/>
                    <a:gd name="connsiteY2" fmla="*/ 95629 h 208335"/>
                    <a:gd name="connsiteX3" fmla="*/ 162570 w 189892"/>
                    <a:gd name="connsiteY3" fmla="*/ 54645 h 208335"/>
                    <a:gd name="connsiteX4" fmla="*/ 122952 w 189892"/>
                    <a:gd name="connsiteY4" fmla="*/ 23224 h 208335"/>
                    <a:gd name="connsiteX5" fmla="*/ 64891 w 189892"/>
                    <a:gd name="connsiteY5" fmla="*/ 23224 h 208335"/>
                    <a:gd name="connsiteX6" fmla="*/ 123636 w 189892"/>
                    <a:gd name="connsiteY6" fmla="*/ 0 h 208335"/>
                    <a:gd name="connsiteX7" fmla="*/ 189893 w 189892"/>
                    <a:gd name="connsiteY7" fmla="*/ 53279 h 208335"/>
                    <a:gd name="connsiteX8" fmla="*/ 143444 w 189892"/>
                    <a:gd name="connsiteY8" fmla="*/ 109291 h 208335"/>
                    <a:gd name="connsiteX9" fmla="*/ 143444 w 189892"/>
                    <a:gd name="connsiteY9" fmla="*/ 109974 h 208335"/>
                    <a:gd name="connsiteX10" fmla="*/ 165302 w 189892"/>
                    <a:gd name="connsiteY10" fmla="*/ 146860 h 208335"/>
                    <a:gd name="connsiteX11" fmla="*/ 161204 w 189892"/>
                    <a:gd name="connsiteY11" fmla="*/ 190576 h 208335"/>
                    <a:gd name="connsiteX12" fmla="*/ 165302 w 189892"/>
                    <a:gd name="connsiteY12" fmla="*/ 208336 h 208335"/>
                    <a:gd name="connsiteX13" fmla="*/ 136614 w 189892"/>
                    <a:gd name="connsiteY13" fmla="*/ 208336 h 208335"/>
                    <a:gd name="connsiteX14" fmla="*/ 134564 w 189892"/>
                    <a:gd name="connsiteY14" fmla="*/ 189893 h 208335"/>
                    <a:gd name="connsiteX15" fmla="*/ 139346 w 189892"/>
                    <a:gd name="connsiteY15" fmla="*/ 147543 h 208335"/>
                    <a:gd name="connsiteX16" fmla="*/ 116805 w 189892"/>
                    <a:gd name="connsiteY16" fmla="*/ 119537 h 208335"/>
                    <a:gd name="connsiteX17" fmla="*/ 45766 w 189892"/>
                    <a:gd name="connsiteY17" fmla="*/ 119537 h 208335"/>
                    <a:gd name="connsiteX18" fmla="*/ 27323 w 189892"/>
                    <a:gd name="connsiteY18" fmla="*/ 208336 h 208335"/>
                    <a:gd name="connsiteX19" fmla="*/ 0 w 189892"/>
                    <a:gd name="connsiteY19" fmla="*/ 208336 h 208335"/>
                    <a:gd name="connsiteX20" fmla="*/ 43717 w 189892"/>
                    <a:gd name="connsiteY20" fmla="*/ 0 h 208335"/>
                    <a:gd name="connsiteX21" fmla="*/ 123636 w 189892"/>
                    <a:gd name="connsiteY21" fmla="*/ 0 h 208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9892" h="208335">
                      <a:moveTo>
                        <a:pt x="64891" y="23224"/>
                      </a:moveTo>
                      <a:lnTo>
                        <a:pt x="49864" y="95629"/>
                      </a:lnTo>
                      <a:lnTo>
                        <a:pt x="112706" y="95629"/>
                      </a:lnTo>
                      <a:cubicBezTo>
                        <a:pt x="143444" y="95629"/>
                        <a:pt x="162570" y="79919"/>
                        <a:pt x="162570" y="54645"/>
                      </a:cubicBezTo>
                      <a:cubicBezTo>
                        <a:pt x="162570" y="33470"/>
                        <a:pt x="148909" y="23224"/>
                        <a:pt x="122952" y="23224"/>
                      </a:cubicBezTo>
                      <a:lnTo>
                        <a:pt x="64891" y="23224"/>
                      </a:lnTo>
                      <a:close/>
                      <a:moveTo>
                        <a:pt x="123636" y="0"/>
                      </a:moveTo>
                      <a:cubicBezTo>
                        <a:pt x="165302" y="0"/>
                        <a:pt x="189893" y="17760"/>
                        <a:pt x="189893" y="53279"/>
                      </a:cubicBezTo>
                      <a:cubicBezTo>
                        <a:pt x="189893" y="81285"/>
                        <a:pt x="171450" y="105193"/>
                        <a:pt x="143444" y="109291"/>
                      </a:cubicBezTo>
                      <a:lnTo>
                        <a:pt x="143444" y="109974"/>
                      </a:lnTo>
                      <a:cubicBezTo>
                        <a:pt x="156423" y="114072"/>
                        <a:pt x="165302" y="127051"/>
                        <a:pt x="165302" y="146860"/>
                      </a:cubicBezTo>
                      <a:cubicBezTo>
                        <a:pt x="165302" y="156423"/>
                        <a:pt x="161204" y="180330"/>
                        <a:pt x="161204" y="190576"/>
                      </a:cubicBezTo>
                      <a:cubicBezTo>
                        <a:pt x="161204" y="196723"/>
                        <a:pt x="162570" y="203554"/>
                        <a:pt x="165302" y="208336"/>
                      </a:cubicBezTo>
                      <a:lnTo>
                        <a:pt x="136614" y="208336"/>
                      </a:lnTo>
                      <a:cubicBezTo>
                        <a:pt x="135247" y="204237"/>
                        <a:pt x="134564" y="198090"/>
                        <a:pt x="134564" y="189893"/>
                      </a:cubicBezTo>
                      <a:cubicBezTo>
                        <a:pt x="134564" y="176231"/>
                        <a:pt x="139346" y="157106"/>
                        <a:pt x="139346" y="147543"/>
                      </a:cubicBezTo>
                      <a:cubicBezTo>
                        <a:pt x="139346" y="129783"/>
                        <a:pt x="131832" y="119537"/>
                        <a:pt x="116805" y="119537"/>
                      </a:cubicBezTo>
                      <a:lnTo>
                        <a:pt x="45766" y="119537"/>
                      </a:lnTo>
                      <a:lnTo>
                        <a:pt x="27323" y="208336"/>
                      </a:lnTo>
                      <a:lnTo>
                        <a:pt x="0" y="208336"/>
                      </a:lnTo>
                      <a:lnTo>
                        <a:pt x="43717" y="0"/>
                      </a:lnTo>
                      <a:lnTo>
                        <a:pt x="123636" y="0"/>
                      </a:lnTo>
                      <a:close/>
                    </a:path>
                  </a:pathLst>
                </a:custGeom>
                <a:grpFill/>
                <a:ln w="6825" cap="flat">
                  <a:noFill/>
                  <a:prstDash val="solid"/>
                  <a:miter/>
                </a:ln>
              </p:spPr>
              <p:txBody>
                <a:bodyPr rtlCol="0" anchor="ctr"/>
                <a:lstStyle/>
                <a:p>
                  <a:endParaRPr lang="en-US"/>
                </a:p>
              </p:txBody>
            </p:sp>
            <p:sp>
              <p:nvSpPr>
                <p:cNvPr id="119" name="Freeform: Shape 118">
                  <a:extLst>
                    <a:ext uri="{FF2B5EF4-FFF2-40B4-BE49-F238E27FC236}">
                      <a16:creationId xmlns:a16="http://schemas.microsoft.com/office/drawing/2014/main" id="{130A7F01-5D72-4F08-BFF8-B0273EBDF533}"/>
                    </a:ext>
                  </a:extLst>
                </p:cNvPr>
                <p:cNvSpPr/>
                <p:nvPr/>
              </p:nvSpPr>
              <p:spPr>
                <a:xfrm>
                  <a:off x="6341169" y="-390337"/>
                  <a:ext cx="193991" cy="208335"/>
                </a:xfrm>
                <a:custGeom>
                  <a:avLst/>
                  <a:gdLst>
                    <a:gd name="connsiteX0" fmla="*/ 32104 w 193991"/>
                    <a:gd name="connsiteY0" fmla="*/ 184428 h 208335"/>
                    <a:gd name="connsiteX1" fmla="*/ 81285 w 193991"/>
                    <a:gd name="connsiteY1" fmla="*/ 184428 h 208335"/>
                    <a:gd name="connsiteX2" fmla="*/ 166669 w 193991"/>
                    <a:gd name="connsiteY2" fmla="*/ 81968 h 208335"/>
                    <a:gd name="connsiteX3" fmla="*/ 111340 w 193991"/>
                    <a:gd name="connsiteY3" fmla="*/ 22541 h 208335"/>
                    <a:gd name="connsiteX4" fmla="*/ 65575 w 193991"/>
                    <a:gd name="connsiteY4" fmla="*/ 22541 h 208335"/>
                    <a:gd name="connsiteX5" fmla="*/ 32104 w 193991"/>
                    <a:gd name="connsiteY5" fmla="*/ 184428 h 208335"/>
                    <a:gd name="connsiteX6" fmla="*/ 117488 w 193991"/>
                    <a:gd name="connsiteY6" fmla="*/ 0 h 208335"/>
                    <a:gd name="connsiteX7" fmla="*/ 193991 w 193991"/>
                    <a:gd name="connsiteY7" fmla="*/ 79919 h 208335"/>
                    <a:gd name="connsiteX8" fmla="*/ 79236 w 193991"/>
                    <a:gd name="connsiteY8" fmla="*/ 208336 h 208335"/>
                    <a:gd name="connsiteX9" fmla="*/ 0 w 193991"/>
                    <a:gd name="connsiteY9" fmla="*/ 208336 h 208335"/>
                    <a:gd name="connsiteX10" fmla="*/ 43717 w 193991"/>
                    <a:gd name="connsiteY10" fmla="*/ 0 h 208335"/>
                    <a:gd name="connsiteX11" fmla="*/ 117488 w 193991"/>
                    <a:gd name="connsiteY11" fmla="*/ 0 h 208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3991" h="208335">
                      <a:moveTo>
                        <a:pt x="32104" y="184428"/>
                      </a:moveTo>
                      <a:lnTo>
                        <a:pt x="81285" y="184428"/>
                      </a:lnTo>
                      <a:cubicBezTo>
                        <a:pt x="134564" y="184428"/>
                        <a:pt x="166669" y="136614"/>
                        <a:pt x="166669" y="81968"/>
                      </a:cubicBezTo>
                      <a:cubicBezTo>
                        <a:pt x="166669" y="41667"/>
                        <a:pt x="146177" y="22541"/>
                        <a:pt x="111340" y="22541"/>
                      </a:cubicBezTo>
                      <a:lnTo>
                        <a:pt x="65575" y="22541"/>
                      </a:lnTo>
                      <a:lnTo>
                        <a:pt x="32104" y="184428"/>
                      </a:lnTo>
                      <a:close/>
                      <a:moveTo>
                        <a:pt x="117488" y="0"/>
                      </a:moveTo>
                      <a:cubicBezTo>
                        <a:pt x="165302" y="0"/>
                        <a:pt x="193991" y="28689"/>
                        <a:pt x="193991" y="79919"/>
                      </a:cubicBezTo>
                      <a:cubicBezTo>
                        <a:pt x="193991" y="151641"/>
                        <a:pt x="153690" y="208336"/>
                        <a:pt x="79236" y="208336"/>
                      </a:cubicBezTo>
                      <a:lnTo>
                        <a:pt x="0" y="208336"/>
                      </a:lnTo>
                      <a:lnTo>
                        <a:pt x="43717" y="0"/>
                      </a:lnTo>
                      <a:lnTo>
                        <a:pt x="117488" y="0"/>
                      </a:lnTo>
                      <a:close/>
                    </a:path>
                  </a:pathLst>
                </a:custGeom>
                <a:grpFill/>
                <a:ln w="6825" cap="flat">
                  <a:noFill/>
                  <a:prstDash val="solid"/>
                  <a:miter/>
                </a:ln>
              </p:spPr>
              <p:txBody>
                <a:bodyPr rtlCol="0" anchor="ctr"/>
                <a:lstStyle/>
                <a:p>
                  <a:endParaRPr lang="en-US"/>
                </a:p>
              </p:txBody>
            </p:sp>
          </p:grpSp>
          <p:grpSp>
            <p:nvGrpSpPr>
              <p:cNvPr id="28" name="Group 27" hidden="1">
                <a:extLst>
                  <a:ext uri="{FF2B5EF4-FFF2-40B4-BE49-F238E27FC236}">
                    <a16:creationId xmlns:a16="http://schemas.microsoft.com/office/drawing/2014/main" id="{52A12539-A550-4A54-BEEA-4EAA112CF684}"/>
                  </a:ext>
                </a:extLst>
              </p:cNvPr>
              <p:cNvGrpSpPr/>
              <p:nvPr/>
            </p:nvGrpSpPr>
            <p:grpSpPr>
              <a:xfrm>
                <a:off x="6654640" y="-415610"/>
                <a:ext cx="562273" cy="256833"/>
                <a:chOff x="6654640" y="-415610"/>
                <a:chExt cx="562273" cy="256833"/>
              </a:xfrm>
              <a:grpFill/>
            </p:grpSpPr>
            <p:sp>
              <p:nvSpPr>
                <p:cNvPr id="29" name="Freeform: Shape 28">
                  <a:extLst>
                    <a:ext uri="{FF2B5EF4-FFF2-40B4-BE49-F238E27FC236}">
                      <a16:creationId xmlns:a16="http://schemas.microsoft.com/office/drawing/2014/main" id="{3A656EDB-ABF8-407F-ABAF-88DC12A365FD}"/>
                    </a:ext>
                  </a:extLst>
                </p:cNvPr>
                <p:cNvSpPr/>
                <p:nvPr/>
              </p:nvSpPr>
              <p:spPr>
                <a:xfrm>
                  <a:off x="6655328" y="-415610"/>
                  <a:ext cx="25377" cy="25956"/>
                </a:xfrm>
                <a:custGeom>
                  <a:avLst/>
                  <a:gdLst>
                    <a:gd name="connsiteX0" fmla="*/ 13030 w 25377"/>
                    <a:gd name="connsiteY0" fmla="*/ 0 h 25956"/>
                    <a:gd name="connsiteX1" fmla="*/ 25326 w 25377"/>
                    <a:gd name="connsiteY1" fmla="*/ 12978 h 25956"/>
                    <a:gd name="connsiteX2" fmla="*/ 12348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4"/>
                        <a:pt x="25326" y="12978"/>
                      </a:cubicBezTo>
                      <a:cubicBezTo>
                        <a:pt x="25326" y="19809"/>
                        <a:pt x="19861" y="25956"/>
                        <a:pt x="12348" y="25956"/>
                      </a:cubicBezTo>
                      <a:cubicBezTo>
                        <a:pt x="5517" y="25956"/>
                        <a:pt x="-631" y="20492"/>
                        <a:pt x="52" y="12978"/>
                      </a:cubicBezTo>
                      <a:cubicBezTo>
                        <a:pt x="52" y="5464"/>
                        <a:pt x="6200" y="0"/>
                        <a:pt x="13030" y="0"/>
                      </a:cubicBezTo>
                    </a:path>
                  </a:pathLst>
                </a:custGeom>
                <a:grpFill/>
                <a:ln w="68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C2A504D8-667E-4AA6-89EE-6A4B2A109978}"/>
                    </a:ext>
                  </a:extLst>
                </p:cNvPr>
                <p:cNvSpPr/>
                <p:nvPr/>
              </p:nvSpPr>
              <p:spPr>
                <a:xfrm>
                  <a:off x="6692897" y="-377358"/>
                  <a:ext cx="25377" cy="25956"/>
                </a:xfrm>
                <a:custGeom>
                  <a:avLst/>
                  <a:gdLst>
                    <a:gd name="connsiteX0" fmla="*/ 13030 w 25377"/>
                    <a:gd name="connsiteY0" fmla="*/ 0 h 25956"/>
                    <a:gd name="connsiteX1" fmla="*/ 25326 w 25377"/>
                    <a:gd name="connsiteY1" fmla="*/ 12978 h 25956"/>
                    <a:gd name="connsiteX2" fmla="*/ 12348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4"/>
                        <a:pt x="25326" y="12978"/>
                      </a:cubicBezTo>
                      <a:cubicBezTo>
                        <a:pt x="25326" y="19809"/>
                        <a:pt x="19861" y="25956"/>
                        <a:pt x="12348" y="25956"/>
                      </a:cubicBezTo>
                      <a:cubicBezTo>
                        <a:pt x="5517" y="25956"/>
                        <a:pt x="-631" y="20492"/>
                        <a:pt x="52" y="12978"/>
                      </a:cubicBezTo>
                      <a:cubicBezTo>
                        <a:pt x="52" y="6148"/>
                        <a:pt x="6200" y="0"/>
                        <a:pt x="13030" y="0"/>
                      </a:cubicBezTo>
                    </a:path>
                  </a:pathLst>
                </a:custGeom>
                <a:grpFill/>
                <a:ln w="68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C915E05E-E2F5-4B3A-BA49-F8B661AF689F}"/>
                    </a:ext>
                  </a:extLst>
                </p:cNvPr>
                <p:cNvSpPr/>
                <p:nvPr/>
              </p:nvSpPr>
              <p:spPr>
                <a:xfrm>
                  <a:off x="6692897" y="-415610"/>
                  <a:ext cx="25377" cy="25956"/>
                </a:xfrm>
                <a:custGeom>
                  <a:avLst/>
                  <a:gdLst>
                    <a:gd name="connsiteX0" fmla="*/ 13030 w 25377"/>
                    <a:gd name="connsiteY0" fmla="*/ 0 h 25956"/>
                    <a:gd name="connsiteX1" fmla="*/ 25326 w 25377"/>
                    <a:gd name="connsiteY1" fmla="*/ 12978 h 25956"/>
                    <a:gd name="connsiteX2" fmla="*/ 12348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4"/>
                        <a:pt x="25326" y="12978"/>
                      </a:cubicBezTo>
                      <a:cubicBezTo>
                        <a:pt x="25326" y="19809"/>
                        <a:pt x="19861" y="25956"/>
                        <a:pt x="12348" y="25956"/>
                      </a:cubicBezTo>
                      <a:cubicBezTo>
                        <a:pt x="5517" y="25956"/>
                        <a:pt x="-631" y="20492"/>
                        <a:pt x="52" y="12978"/>
                      </a:cubicBezTo>
                      <a:cubicBezTo>
                        <a:pt x="735" y="5464"/>
                        <a:pt x="6200" y="0"/>
                        <a:pt x="13030" y="0"/>
                      </a:cubicBezTo>
                    </a:path>
                  </a:pathLst>
                </a:custGeom>
                <a:grpFill/>
                <a:ln w="68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6BAD973C-2311-4FD4-80FB-540ABDB0A787}"/>
                    </a:ext>
                  </a:extLst>
                </p:cNvPr>
                <p:cNvSpPr/>
                <p:nvPr/>
              </p:nvSpPr>
              <p:spPr>
                <a:xfrm>
                  <a:off x="6731149" y="-376676"/>
                  <a:ext cx="25377" cy="25956"/>
                </a:xfrm>
                <a:custGeom>
                  <a:avLst/>
                  <a:gdLst>
                    <a:gd name="connsiteX0" fmla="*/ 13030 w 25377"/>
                    <a:gd name="connsiteY0" fmla="*/ 0 h 25956"/>
                    <a:gd name="connsiteX1" fmla="*/ 25326 w 25377"/>
                    <a:gd name="connsiteY1" fmla="*/ 12978 h 25956"/>
                    <a:gd name="connsiteX2" fmla="*/ 12347 w 25377"/>
                    <a:gd name="connsiteY2" fmla="*/ 25957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5"/>
                        <a:pt x="25326" y="12978"/>
                      </a:cubicBezTo>
                      <a:cubicBezTo>
                        <a:pt x="25326" y="19809"/>
                        <a:pt x="19861" y="25957"/>
                        <a:pt x="12347" y="25957"/>
                      </a:cubicBezTo>
                      <a:cubicBezTo>
                        <a:pt x="5517" y="25957"/>
                        <a:pt x="-631" y="20492"/>
                        <a:pt x="52" y="12978"/>
                      </a:cubicBezTo>
                      <a:cubicBezTo>
                        <a:pt x="52" y="5465"/>
                        <a:pt x="6199" y="0"/>
                        <a:pt x="13030" y="0"/>
                      </a:cubicBezTo>
                    </a:path>
                  </a:pathLst>
                </a:custGeom>
                <a:grpFill/>
                <a:ln w="6825"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9F4EBE15-FF0B-45BB-99F3-4C9C0B7E05DB}"/>
                    </a:ext>
                  </a:extLst>
                </p:cNvPr>
                <p:cNvSpPr/>
                <p:nvPr/>
              </p:nvSpPr>
              <p:spPr>
                <a:xfrm>
                  <a:off x="6731149" y="-339107"/>
                  <a:ext cx="25377" cy="25956"/>
                </a:xfrm>
                <a:custGeom>
                  <a:avLst/>
                  <a:gdLst>
                    <a:gd name="connsiteX0" fmla="*/ 13030 w 25377"/>
                    <a:gd name="connsiteY0" fmla="*/ 0 h 25956"/>
                    <a:gd name="connsiteX1" fmla="*/ 25326 w 25377"/>
                    <a:gd name="connsiteY1" fmla="*/ 12978 h 25956"/>
                    <a:gd name="connsiteX2" fmla="*/ 12347 w 25377"/>
                    <a:gd name="connsiteY2" fmla="*/ 25957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5"/>
                        <a:pt x="25326" y="12978"/>
                      </a:cubicBezTo>
                      <a:cubicBezTo>
                        <a:pt x="25326" y="19809"/>
                        <a:pt x="19861" y="25957"/>
                        <a:pt x="12347" y="25957"/>
                      </a:cubicBezTo>
                      <a:cubicBezTo>
                        <a:pt x="5517" y="25957"/>
                        <a:pt x="-631" y="20492"/>
                        <a:pt x="52" y="12978"/>
                      </a:cubicBezTo>
                      <a:cubicBezTo>
                        <a:pt x="52" y="5465"/>
                        <a:pt x="6199" y="0"/>
                        <a:pt x="13030" y="0"/>
                      </a:cubicBezTo>
                    </a:path>
                  </a:pathLst>
                </a:custGeom>
                <a:grpFill/>
                <a:ln w="6825"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16C4679D-49AA-4292-B209-9D7459825AD3}"/>
                    </a:ext>
                  </a:extLst>
                </p:cNvPr>
                <p:cNvSpPr/>
                <p:nvPr/>
              </p:nvSpPr>
              <p:spPr>
                <a:xfrm>
                  <a:off x="6731143" y="-415610"/>
                  <a:ext cx="25383" cy="25956"/>
                </a:xfrm>
                <a:custGeom>
                  <a:avLst/>
                  <a:gdLst>
                    <a:gd name="connsiteX0" fmla="*/ 13036 w 25383"/>
                    <a:gd name="connsiteY0" fmla="*/ 0 h 25956"/>
                    <a:gd name="connsiteX1" fmla="*/ 25331 w 25383"/>
                    <a:gd name="connsiteY1" fmla="*/ 12978 h 25956"/>
                    <a:gd name="connsiteX2" fmla="*/ 12353 w 25383"/>
                    <a:gd name="connsiteY2" fmla="*/ 25956 h 25956"/>
                    <a:gd name="connsiteX3" fmla="*/ 58 w 25383"/>
                    <a:gd name="connsiteY3" fmla="*/ 12978 h 25956"/>
                    <a:gd name="connsiteX4" fmla="*/ 13036 w 25383"/>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83" h="25956">
                      <a:moveTo>
                        <a:pt x="13036" y="0"/>
                      </a:moveTo>
                      <a:cubicBezTo>
                        <a:pt x="19866" y="0"/>
                        <a:pt x="26014" y="5464"/>
                        <a:pt x="25331" y="12978"/>
                      </a:cubicBezTo>
                      <a:cubicBezTo>
                        <a:pt x="25331" y="19809"/>
                        <a:pt x="19866" y="25956"/>
                        <a:pt x="12353" y="25956"/>
                      </a:cubicBezTo>
                      <a:cubicBezTo>
                        <a:pt x="4839" y="25956"/>
                        <a:pt x="-626" y="20492"/>
                        <a:pt x="58" y="12978"/>
                      </a:cubicBezTo>
                      <a:cubicBezTo>
                        <a:pt x="741" y="5464"/>
                        <a:pt x="6205" y="0"/>
                        <a:pt x="13036" y="0"/>
                      </a:cubicBezTo>
                    </a:path>
                  </a:pathLst>
                </a:custGeom>
                <a:grpFill/>
                <a:ln w="6825"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23F29802-1528-48D1-B93C-CDCF31EE1C55}"/>
                    </a:ext>
                  </a:extLst>
                </p:cNvPr>
                <p:cNvSpPr/>
                <p:nvPr/>
              </p:nvSpPr>
              <p:spPr>
                <a:xfrm>
                  <a:off x="6768718" y="-376676"/>
                  <a:ext cx="25377" cy="25956"/>
                </a:xfrm>
                <a:custGeom>
                  <a:avLst/>
                  <a:gdLst>
                    <a:gd name="connsiteX0" fmla="*/ 13030 w 25377"/>
                    <a:gd name="connsiteY0" fmla="*/ 0 h 25956"/>
                    <a:gd name="connsiteX1" fmla="*/ 25326 w 25377"/>
                    <a:gd name="connsiteY1" fmla="*/ 12978 h 25956"/>
                    <a:gd name="connsiteX2" fmla="*/ 12347 w 25377"/>
                    <a:gd name="connsiteY2" fmla="*/ 25957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5"/>
                        <a:pt x="25326" y="12978"/>
                      </a:cubicBezTo>
                      <a:cubicBezTo>
                        <a:pt x="25326" y="19809"/>
                        <a:pt x="19861" y="25957"/>
                        <a:pt x="12347" y="25957"/>
                      </a:cubicBezTo>
                      <a:cubicBezTo>
                        <a:pt x="5517" y="25957"/>
                        <a:pt x="-631" y="20492"/>
                        <a:pt x="52" y="12978"/>
                      </a:cubicBezTo>
                      <a:cubicBezTo>
                        <a:pt x="52" y="5465"/>
                        <a:pt x="6199" y="0"/>
                        <a:pt x="13030" y="0"/>
                      </a:cubicBezTo>
                    </a:path>
                  </a:pathLst>
                </a:custGeom>
                <a:grpFill/>
                <a:ln w="6825"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FACEAF24-1FDA-4681-BF7F-02C3C3C8F4B2}"/>
                    </a:ext>
                  </a:extLst>
                </p:cNvPr>
                <p:cNvSpPr/>
                <p:nvPr/>
              </p:nvSpPr>
              <p:spPr>
                <a:xfrm>
                  <a:off x="6768712" y="-339107"/>
                  <a:ext cx="25383" cy="25956"/>
                </a:xfrm>
                <a:custGeom>
                  <a:avLst/>
                  <a:gdLst>
                    <a:gd name="connsiteX0" fmla="*/ 13036 w 25383"/>
                    <a:gd name="connsiteY0" fmla="*/ 0 h 25956"/>
                    <a:gd name="connsiteX1" fmla="*/ 25331 w 25383"/>
                    <a:gd name="connsiteY1" fmla="*/ 12978 h 25956"/>
                    <a:gd name="connsiteX2" fmla="*/ 12353 w 25383"/>
                    <a:gd name="connsiteY2" fmla="*/ 25957 h 25956"/>
                    <a:gd name="connsiteX3" fmla="*/ 58 w 25383"/>
                    <a:gd name="connsiteY3" fmla="*/ 12978 h 25956"/>
                    <a:gd name="connsiteX4" fmla="*/ 13036 w 25383"/>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83" h="25956">
                      <a:moveTo>
                        <a:pt x="13036" y="0"/>
                      </a:moveTo>
                      <a:cubicBezTo>
                        <a:pt x="19866" y="0"/>
                        <a:pt x="26014" y="5465"/>
                        <a:pt x="25331" y="12978"/>
                      </a:cubicBezTo>
                      <a:cubicBezTo>
                        <a:pt x="25331" y="19809"/>
                        <a:pt x="19866" y="25957"/>
                        <a:pt x="12353" y="25957"/>
                      </a:cubicBezTo>
                      <a:cubicBezTo>
                        <a:pt x="4839" y="25957"/>
                        <a:pt x="-626" y="20492"/>
                        <a:pt x="58" y="12978"/>
                      </a:cubicBezTo>
                      <a:cubicBezTo>
                        <a:pt x="58" y="5465"/>
                        <a:pt x="6205" y="0"/>
                        <a:pt x="13036" y="0"/>
                      </a:cubicBezTo>
                    </a:path>
                  </a:pathLst>
                </a:custGeom>
                <a:grpFill/>
                <a:ln w="6825"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5960542C-2128-4BD8-B0EA-A45B573FC777}"/>
                    </a:ext>
                  </a:extLst>
                </p:cNvPr>
                <p:cNvSpPr/>
                <p:nvPr/>
              </p:nvSpPr>
              <p:spPr>
                <a:xfrm>
                  <a:off x="6768718" y="-415610"/>
                  <a:ext cx="25377" cy="25956"/>
                </a:xfrm>
                <a:custGeom>
                  <a:avLst/>
                  <a:gdLst>
                    <a:gd name="connsiteX0" fmla="*/ 13030 w 25377"/>
                    <a:gd name="connsiteY0" fmla="*/ 0 h 25956"/>
                    <a:gd name="connsiteX1" fmla="*/ 25326 w 25377"/>
                    <a:gd name="connsiteY1" fmla="*/ 12978 h 25956"/>
                    <a:gd name="connsiteX2" fmla="*/ 12347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4"/>
                        <a:pt x="25326" y="12978"/>
                      </a:cubicBezTo>
                      <a:cubicBezTo>
                        <a:pt x="24642" y="20492"/>
                        <a:pt x="19861" y="25956"/>
                        <a:pt x="12347" y="25956"/>
                      </a:cubicBezTo>
                      <a:cubicBezTo>
                        <a:pt x="5517" y="25956"/>
                        <a:pt x="-631" y="20492"/>
                        <a:pt x="52" y="12978"/>
                      </a:cubicBezTo>
                      <a:cubicBezTo>
                        <a:pt x="735" y="5464"/>
                        <a:pt x="6199" y="0"/>
                        <a:pt x="13030" y="0"/>
                      </a:cubicBezTo>
                    </a:path>
                  </a:pathLst>
                </a:custGeom>
                <a:grpFill/>
                <a:ln w="6825"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A0669B7E-7177-422D-9E3B-2AF9F49BC575}"/>
                    </a:ext>
                  </a:extLst>
                </p:cNvPr>
                <p:cNvSpPr/>
                <p:nvPr/>
              </p:nvSpPr>
              <p:spPr>
                <a:xfrm>
                  <a:off x="6806286" y="-376676"/>
                  <a:ext cx="25377" cy="25956"/>
                </a:xfrm>
                <a:custGeom>
                  <a:avLst/>
                  <a:gdLst>
                    <a:gd name="connsiteX0" fmla="*/ 13030 w 25377"/>
                    <a:gd name="connsiteY0" fmla="*/ 0 h 25956"/>
                    <a:gd name="connsiteX1" fmla="*/ 25326 w 25377"/>
                    <a:gd name="connsiteY1" fmla="*/ 12978 h 25956"/>
                    <a:gd name="connsiteX2" fmla="*/ 12347 w 25377"/>
                    <a:gd name="connsiteY2" fmla="*/ 25957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5"/>
                        <a:pt x="25326" y="12978"/>
                      </a:cubicBezTo>
                      <a:cubicBezTo>
                        <a:pt x="25326" y="19809"/>
                        <a:pt x="19861" y="25957"/>
                        <a:pt x="12347" y="25957"/>
                      </a:cubicBezTo>
                      <a:cubicBezTo>
                        <a:pt x="5517" y="25957"/>
                        <a:pt x="-631" y="20492"/>
                        <a:pt x="52" y="12978"/>
                      </a:cubicBezTo>
                      <a:cubicBezTo>
                        <a:pt x="735" y="5465"/>
                        <a:pt x="6199" y="0"/>
                        <a:pt x="13030" y="0"/>
                      </a:cubicBezTo>
                    </a:path>
                  </a:pathLst>
                </a:custGeom>
                <a:grpFill/>
                <a:ln w="6825"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E9BE459F-D691-410C-9674-FBA53C089790}"/>
                    </a:ext>
                  </a:extLst>
                </p:cNvPr>
                <p:cNvSpPr/>
                <p:nvPr/>
              </p:nvSpPr>
              <p:spPr>
                <a:xfrm>
                  <a:off x="6806281" y="-339107"/>
                  <a:ext cx="25383" cy="25956"/>
                </a:xfrm>
                <a:custGeom>
                  <a:avLst/>
                  <a:gdLst>
                    <a:gd name="connsiteX0" fmla="*/ 13036 w 25383"/>
                    <a:gd name="connsiteY0" fmla="*/ 0 h 25956"/>
                    <a:gd name="connsiteX1" fmla="*/ 25331 w 25383"/>
                    <a:gd name="connsiteY1" fmla="*/ 12978 h 25956"/>
                    <a:gd name="connsiteX2" fmla="*/ 12353 w 25383"/>
                    <a:gd name="connsiteY2" fmla="*/ 25957 h 25956"/>
                    <a:gd name="connsiteX3" fmla="*/ 58 w 25383"/>
                    <a:gd name="connsiteY3" fmla="*/ 12978 h 25956"/>
                    <a:gd name="connsiteX4" fmla="*/ 13036 w 25383"/>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83" h="25956">
                      <a:moveTo>
                        <a:pt x="13036" y="0"/>
                      </a:moveTo>
                      <a:cubicBezTo>
                        <a:pt x="19866" y="0"/>
                        <a:pt x="26014" y="5465"/>
                        <a:pt x="25331" y="12978"/>
                      </a:cubicBezTo>
                      <a:cubicBezTo>
                        <a:pt x="25331" y="19809"/>
                        <a:pt x="19866" y="25957"/>
                        <a:pt x="12353" y="25957"/>
                      </a:cubicBezTo>
                      <a:cubicBezTo>
                        <a:pt x="4839" y="25957"/>
                        <a:pt x="-626" y="20492"/>
                        <a:pt x="58" y="12978"/>
                      </a:cubicBezTo>
                      <a:cubicBezTo>
                        <a:pt x="58" y="6148"/>
                        <a:pt x="6205" y="0"/>
                        <a:pt x="13036" y="0"/>
                      </a:cubicBezTo>
                    </a:path>
                  </a:pathLst>
                </a:custGeom>
                <a:grpFill/>
                <a:ln w="6825"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97EFB0A7-2998-49D2-BDEE-B1241F1EB36D}"/>
                    </a:ext>
                  </a:extLst>
                </p:cNvPr>
                <p:cNvSpPr/>
                <p:nvPr/>
              </p:nvSpPr>
              <p:spPr>
                <a:xfrm>
                  <a:off x="6768718" y="-300855"/>
                  <a:ext cx="25377" cy="25956"/>
                </a:xfrm>
                <a:custGeom>
                  <a:avLst/>
                  <a:gdLst>
                    <a:gd name="connsiteX0" fmla="*/ 13030 w 25377"/>
                    <a:gd name="connsiteY0" fmla="*/ 0 h 25956"/>
                    <a:gd name="connsiteX1" fmla="*/ 25326 w 25377"/>
                    <a:gd name="connsiteY1" fmla="*/ 12978 h 25956"/>
                    <a:gd name="connsiteX2" fmla="*/ 12347 w 25377"/>
                    <a:gd name="connsiteY2" fmla="*/ 25957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5"/>
                        <a:pt x="25326" y="12978"/>
                      </a:cubicBezTo>
                      <a:cubicBezTo>
                        <a:pt x="25326" y="19809"/>
                        <a:pt x="19861" y="25957"/>
                        <a:pt x="12347" y="25957"/>
                      </a:cubicBezTo>
                      <a:cubicBezTo>
                        <a:pt x="5517" y="25957"/>
                        <a:pt x="-631" y="20492"/>
                        <a:pt x="52" y="12978"/>
                      </a:cubicBezTo>
                      <a:cubicBezTo>
                        <a:pt x="52" y="5465"/>
                        <a:pt x="5517" y="0"/>
                        <a:pt x="13030" y="0"/>
                      </a:cubicBezTo>
                    </a:path>
                  </a:pathLst>
                </a:custGeom>
                <a:grpFill/>
                <a:ln w="6825"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2F231DDF-5C58-4B07-97BC-D5943020E9B6}"/>
                    </a:ext>
                  </a:extLst>
                </p:cNvPr>
                <p:cNvSpPr/>
                <p:nvPr/>
              </p:nvSpPr>
              <p:spPr>
                <a:xfrm>
                  <a:off x="6806286" y="-300855"/>
                  <a:ext cx="25377" cy="25956"/>
                </a:xfrm>
                <a:custGeom>
                  <a:avLst/>
                  <a:gdLst>
                    <a:gd name="connsiteX0" fmla="*/ 13030 w 25377"/>
                    <a:gd name="connsiteY0" fmla="*/ 0 h 25956"/>
                    <a:gd name="connsiteX1" fmla="*/ 25326 w 25377"/>
                    <a:gd name="connsiteY1" fmla="*/ 12978 h 25956"/>
                    <a:gd name="connsiteX2" fmla="*/ 12347 w 25377"/>
                    <a:gd name="connsiteY2" fmla="*/ 25957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5"/>
                        <a:pt x="25326" y="12978"/>
                      </a:cubicBezTo>
                      <a:cubicBezTo>
                        <a:pt x="25326" y="19809"/>
                        <a:pt x="19861" y="25957"/>
                        <a:pt x="12347" y="25957"/>
                      </a:cubicBezTo>
                      <a:cubicBezTo>
                        <a:pt x="5517" y="25957"/>
                        <a:pt x="-631" y="20492"/>
                        <a:pt x="52" y="12978"/>
                      </a:cubicBezTo>
                      <a:cubicBezTo>
                        <a:pt x="52" y="5465"/>
                        <a:pt x="5517" y="0"/>
                        <a:pt x="13030" y="0"/>
                      </a:cubicBezTo>
                    </a:path>
                  </a:pathLst>
                </a:custGeom>
                <a:grpFill/>
                <a:ln w="6825"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69493AD3-199A-4127-A983-6D52C1309A11}"/>
                    </a:ext>
                  </a:extLst>
                </p:cNvPr>
                <p:cNvSpPr/>
                <p:nvPr/>
              </p:nvSpPr>
              <p:spPr>
                <a:xfrm>
                  <a:off x="6730466" y="-262603"/>
                  <a:ext cx="25377" cy="25956"/>
                </a:xfrm>
                <a:custGeom>
                  <a:avLst/>
                  <a:gdLst>
                    <a:gd name="connsiteX0" fmla="*/ 13030 w 25377"/>
                    <a:gd name="connsiteY0" fmla="*/ 0 h 25956"/>
                    <a:gd name="connsiteX1" fmla="*/ 25326 w 25377"/>
                    <a:gd name="connsiteY1" fmla="*/ 12978 h 25956"/>
                    <a:gd name="connsiteX2" fmla="*/ 12348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4"/>
                        <a:pt x="25326" y="12978"/>
                      </a:cubicBezTo>
                      <a:cubicBezTo>
                        <a:pt x="25326" y="19809"/>
                        <a:pt x="19861" y="25956"/>
                        <a:pt x="12348" y="25956"/>
                      </a:cubicBezTo>
                      <a:cubicBezTo>
                        <a:pt x="5517" y="25956"/>
                        <a:pt x="-631" y="20492"/>
                        <a:pt x="52" y="12978"/>
                      </a:cubicBezTo>
                      <a:cubicBezTo>
                        <a:pt x="735" y="5464"/>
                        <a:pt x="6200" y="0"/>
                        <a:pt x="13030" y="0"/>
                      </a:cubicBezTo>
                    </a:path>
                  </a:pathLst>
                </a:custGeom>
                <a:grpFill/>
                <a:ln w="6825"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39460B30-28C4-4585-B0BA-C7CB36289D3E}"/>
                    </a:ext>
                  </a:extLst>
                </p:cNvPr>
                <p:cNvSpPr/>
                <p:nvPr/>
              </p:nvSpPr>
              <p:spPr>
                <a:xfrm>
                  <a:off x="6768718" y="-262603"/>
                  <a:ext cx="25377" cy="25956"/>
                </a:xfrm>
                <a:custGeom>
                  <a:avLst/>
                  <a:gdLst>
                    <a:gd name="connsiteX0" fmla="*/ 13030 w 25377"/>
                    <a:gd name="connsiteY0" fmla="*/ 0 h 25956"/>
                    <a:gd name="connsiteX1" fmla="*/ 25326 w 25377"/>
                    <a:gd name="connsiteY1" fmla="*/ 12978 h 25956"/>
                    <a:gd name="connsiteX2" fmla="*/ 12347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4"/>
                        <a:pt x="25326" y="12978"/>
                      </a:cubicBezTo>
                      <a:cubicBezTo>
                        <a:pt x="25326" y="19809"/>
                        <a:pt x="19861" y="25956"/>
                        <a:pt x="12347" y="25956"/>
                      </a:cubicBezTo>
                      <a:cubicBezTo>
                        <a:pt x="5517" y="25956"/>
                        <a:pt x="-631" y="20492"/>
                        <a:pt x="52" y="12978"/>
                      </a:cubicBezTo>
                      <a:cubicBezTo>
                        <a:pt x="52" y="6148"/>
                        <a:pt x="5517" y="0"/>
                        <a:pt x="13030" y="0"/>
                      </a:cubicBezTo>
                    </a:path>
                  </a:pathLst>
                </a:custGeom>
                <a:grpFill/>
                <a:ln w="6825"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FBAD493F-EFAB-42BC-BE9D-1020668EA383}"/>
                    </a:ext>
                  </a:extLst>
                </p:cNvPr>
                <p:cNvSpPr/>
                <p:nvPr/>
              </p:nvSpPr>
              <p:spPr>
                <a:xfrm>
                  <a:off x="6806286" y="-262603"/>
                  <a:ext cx="25377" cy="25956"/>
                </a:xfrm>
                <a:custGeom>
                  <a:avLst/>
                  <a:gdLst>
                    <a:gd name="connsiteX0" fmla="*/ 13030 w 25377"/>
                    <a:gd name="connsiteY0" fmla="*/ 0 h 25956"/>
                    <a:gd name="connsiteX1" fmla="*/ 25326 w 25377"/>
                    <a:gd name="connsiteY1" fmla="*/ 12978 h 25956"/>
                    <a:gd name="connsiteX2" fmla="*/ 12347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4"/>
                        <a:pt x="25326" y="12978"/>
                      </a:cubicBezTo>
                      <a:cubicBezTo>
                        <a:pt x="25326" y="19809"/>
                        <a:pt x="19861" y="25956"/>
                        <a:pt x="12347" y="25956"/>
                      </a:cubicBezTo>
                      <a:cubicBezTo>
                        <a:pt x="5517" y="25956"/>
                        <a:pt x="-631" y="20492"/>
                        <a:pt x="52" y="12978"/>
                      </a:cubicBezTo>
                      <a:cubicBezTo>
                        <a:pt x="52" y="6148"/>
                        <a:pt x="5517" y="0"/>
                        <a:pt x="13030" y="0"/>
                      </a:cubicBezTo>
                    </a:path>
                  </a:pathLst>
                </a:custGeom>
                <a:grpFill/>
                <a:ln w="6825"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9809EB64-13B7-45F4-AAF0-F314348E200B}"/>
                    </a:ext>
                  </a:extLst>
                </p:cNvPr>
                <p:cNvSpPr/>
                <p:nvPr/>
              </p:nvSpPr>
              <p:spPr>
                <a:xfrm>
                  <a:off x="6692208" y="-224403"/>
                  <a:ext cx="25383" cy="26008"/>
                </a:xfrm>
                <a:custGeom>
                  <a:avLst/>
                  <a:gdLst>
                    <a:gd name="connsiteX0" fmla="*/ 13036 w 25383"/>
                    <a:gd name="connsiteY0" fmla="*/ 52 h 26008"/>
                    <a:gd name="connsiteX1" fmla="*/ 25331 w 25383"/>
                    <a:gd name="connsiteY1" fmla="*/ 13030 h 26008"/>
                    <a:gd name="connsiteX2" fmla="*/ 12353 w 25383"/>
                    <a:gd name="connsiteY2" fmla="*/ 26009 h 26008"/>
                    <a:gd name="connsiteX3" fmla="*/ 58 w 25383"/>
                    <a:gd name="connsiteY3" fmla="*/ 13030 h 26008"/>
                    <a:gd name="connsiteX4" fmla="*/ 13036 w 25383"/>
                    <a:gd name="connsiteY4" fmla="*/ 52 h 26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83" h="26008">
                      <a:moveTo>
                        <a:pt x="13036" y="52"/>
                      </a:moveTo>
                      <a:cubicBezTo>
                        <a:pt x="19867" y="52"/>
                        <a:pt x="26014" y="5516"/>
                        <a:pt x="25331" y="13030"/>
                      </a:cubicBezTo>
                      <a:cubicBezTo>
                        <a:pt x="25331" y="19861"/>
                        <a:pt x="19867" y="26009"/>
                        <a:pt x="12353" y="26009"/>
                      </a:cubicBezTo>
                      <a:cubicBezTo>
                        <a:pt x="4839" y="26009"/>
                        <a:pt x="-625" y="20544"/>
                        <a:pt x="58" y="13030"/>
                      </a:cubicBezTo>
                      <a:cubicBezTo>
                        <a:pt x="741" y="5516"/>
                        <a:pt x="6205" y="-631"/>
                        <a:pt x="13036" y="52"/>
                      </a:cubicBezTo>
                    </a:path>
                  </a:pathLst>
                </a:custGeom>
                <a:grpFill/>
                <a:ln w="6825"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B17D3499-0C8C-4AA1-B162-E459D9804251}"/>
                    </a:ext>
                  </a:extLst>
                </p:cNvPr>
                <p:cNvSpPr/>
                <p:nvPr/>
              </p:nvSpPr>
              <p:spPr>
                <a:xfrm>
                  <a:off x="6730460" y="-224351"/>
                  <a:ext cx="25383" cy="25956"/>
                </a:xfrm>
                <a:custGeom>
                  <a:avLst/>
                  <a:gdLst>
                    <a:gd name="connsiteX0" fmla="*/ 13036 w 25383"/>
                    <a:gd name="connsiteY0" fmla="*/ 0 h 25956"/>
                    <a:gd name="connsiteX1" fmla="*/ 25331 w 25383"/>
                    <a:gd name="connsiteY1" fmla="*/ 12978 h 25956"/>
                    <a:gd name="connsiteX2" fmla="*/ 12353 w 25383"/>
                    <a:gd name="connsiteY2" fmla="*/ 25957 h 25956"/>
                    <a:gd name="connsiteX3" fmla="*/ 58 w 25383"/>
                    <a:gd name="connsiteY3" fmla="*/ 12978 h 25956"/>
                    <a:gd name="connsiteX4" fmla="*/ 13036 w 25383"/>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83" h="25956">
                      <a:moveTo>
                        <a:pt x="13036" y="0"/>
                      </a:moveTo>
                      <a:cubicBezTo>
                        <a:pt x="19867" y="0"/>
                        <a:pt x="26015" y="5464"/>
                        <a:pt x="25331" y="12978"/>
                      </a:cubicBezTo>
                      <a:cubicBezTo>
                        <a:pt x="25331" y="19809"/>
                        <a:pt x="19867" y="25957"/>
                        <a:pt x="12353" y="25957"/>
                      </a:cubicBezTo>
                      <a:cubicBezTo>
                        <a:pt x="4839" y="25957"/>
                        <a:pt x="-625" y="20492"/>
                        <a:pt x="58" y="12978"/>
                      </a:cubicBezTo>
                      <a:cubicBezTo>
                        <a:pt x="741" y="5464"/>
                        <a:pt x="6205" y="0"/>
                        <a:pt x="13036" y="0"/>
                      </a:cubicBezTo>
                    </a:path>
                  </a:pathLst>
                </a:custGeom>
                <a:grpFill/>
                <a:ln w="6825"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EB439930-5F95-48F7-AAB0-DD7A5A700165}"/>
                    </a:ext>
                  </a:extLst>
                </p:cNvPr>
                <p:cNvSpPr/>
                <p:nvPr/>
              </p:nvSpPr>
              <p:spPr>
                <a:xfrm>
                  <a:off x="6768086" y="-224351"/>
                  <a:ext cx="25325" cy="25956"/>
                </a:xfrm>
                <a:custGeom>
                  <a:avLst/>
                  <a:gdLst>
                    <a:gd name="connsiteX0" fmla="*/ 12978 w 25325"/>
                    <a:gd name="connsiteY0" fmla="*/ 0 h 25956"/>
                    <a:gd name="connsiteX1" fmla="*/ 25274 w 25325"/>
                    <a:gd name="connsiteY1" fmla="*/ 12978 h 25956"/>
                    <a:gd name="connsiteX2" fmla="*/ 12296 w 25325"/>
                    <a:gd name="connsiteY2" fmla="*/ 25957 h 25956"/>
                    <a:gd name="connsiteX3" fmla="*/ 0 w 25325"/>
                    <a:gd name="connsiteY3" fmla="*/ 12978 h 25956"/>
                    <a:gd name="connsiteX4" fmla="*/ 12978 w 25325"/>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25" h="25956">
                      <a:moveTo>
                        <a:pt x="12978" y="0"/>
                      </a:moveTo>
                      <a:cubicBezTo>
                        <a:pt x="19809" y="0"/>
                        <a:pt x="25957" y="5464"/>
                        <a:pt x="25274" y="12978"/>
                      </a:cubicBezTo>
                      <a:cubicBezTo>
                        <a:pt x="25274" y="19809"/>
                        <a:pt x="19809" y="25957"/>
                        <a:pt x="12296" y="25957"/>
                      </a:cubicBezTo>
                      <a:cubicBezTo>
                        <a:pt x="5465" y="25957"/>
                        <a:pt x="0" y="20492"/>
                        <a:pt x="0" y="12978"/>
                      </a:cubicBezTo>
                      <a:cubicBezTo>
                        <a:pt x="683" y="5464"/>
                        <a:pt x="6148" y="0"/>
                        <a:pt x="12978" y="0"/>
                      </a:cubicBezTo>
                    </a:path>
                  </a:pathLst>
                </a:custGeom>
                <a:grpFill/>
                <a:ln w="6825"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81324786-74EB-4011-B089-18A07909F82C}"/>
                    </a:ext>
                  </a:extLst>
                </p:cNvPr>
                <p:cNvSpPr/>
                <p:nvPr/>
              </p:nvSpPr>
              <p:spPr>
                <a:xfrm>
                  <a:off x="6805603" y="-224351"/>
                  <a:ext cx="25377" cy="25956"/>
                </a:xfrm>
                <a:custGeom>
                  <a:avLst/>
                  <a:gdLst>
                    <a:gd name="connsiteX0" fmla="*/ 13030 w 25377"/>
                    <a:gd name="connsiteY0" fmla="*/ 0 h 25956"/>
                    <a:gd name="connsiteX1" fmla="*/ 25326 w 25377"/>
                    <a:gd name="connsiteY1" fmla="*/ 12978 h 25956"/>
                    <a:gd name="connsiteX2" fmla="*/ 12348 w 25377"/>
                    <a:gd name="connsiteY2" fmla="*/ 25957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4"/>
                        <a:pt x="25326" y="12978"/>
                      </a:cubicBezTo>
                      <a:cubicBezTo>
                        <a:pt x="25326" y="19809"/>
                        <a:pt x="19861" y="25957"/>
                        <a:pt x="12348" y="25957"/>
                      </a:cubicBezTo>
                      <a:cubicBezTo>
                        <a:pt x="5517" y="25957"/>
                        <a:pt x="-631" y="20492"/>
                        <a:pt x="52" y="12978"/>
                      </a:cubicBezTo>
                      <a:cubicBezTo>
                        <a:pt x="735" y="5464"/>
                        <a:pt x="6200" y="0"/>
                        <a:pt x="13030" y="0"/>
                      </a:cubicBezTo>
                    </a:path>
                  </a:pathLst>
                </a:custGeom>
                <a:grpFill/>
                <a:ln w="6825"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66FB0741-E67E-42D5-A733-B88F02E6EC7B}"/>
                    </a:ext>
                  </a:extLst>
                </p:cNvPr>
                <p:cNvSpPr/>
                <p:nvPr/>
              </p:nvSpPr>
              <p:spPr>
                <a:xfrm>
                  <a:off x="6845221" y="-338476"/>
                  <a:ext cx="25377" cy="26008"/>
                </a:xfrm>
                <a:custGeom>
                  <a:avLst/>
                  <a:gdLst>
                    <a:gd name="connsiteX0" fmla="*/ 13030 w 25377"/>
                    <a:gd name="connsiteY0" fmla="*/ 52 h 26008"/>
                    <a:gd name="connsiteX1" fmla="*/ 25325 w 25377"/>
                    <a:gd name="connsiteY1" fmla="*/ 13030 h 26008"/>
                    <a:gd name="connsiteX2" fmla="*/ 12347 w 25377"/>
                    <a:gd name="connsiteY2" fmla="*/ 26009 h 26008"/>
                    <a:gd name="connsiteX3" fmla="*/ 52 w 25377"/>
                    <a:gd name="connsiteY3" fmla="*/ 13030 h 26008"/>
                    <a:gd name="connsiteX4" fmla="*/ 13030 w 25377"/>
                    <a:gd name="connsiteY4" fmla="*/ 52 h 26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6008">
                      <a:moveTo>
                        <a:pt x="13030" y="52"/>
                      </a:moveTo>
                      <a:cubicBezTo>
                        <a:pt x="19861" y="52"/>
                        <a:pt x="26009" y="5517"/>
                        <a:pt x="25325" y="13030"/>
                      </a:cubicBezTo>
                      <a:cubicBezTo>
                        <a:pt x="25325" y="19861"/>
                        <a:pt x="19861" y="26009"/>
                        <a:pt x="12347" y="26009"/>
                      </a:cubicBezTo>
                      <a:cubicBezTo>
                        <a:pt x="5517" y="26009"/>
                        <a:pt x="-631" y="20544"/>
                        <a:pt x="52" y="13030"/>
                      </a:cubicBezTo>
                      <a:cubicBezTo>
                        <a:pt x="735" y="5517"/>
                        <a:pt x="6199" y="-631"/>
                        <a:pt x="13030" y="52"/>
                      </a:cubicBezTo>
                    </a:path>
                  </a:pathLst>
                </a:custGeom>
                <a:grpFill/>
                <a:ln w="6825"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1498B309-ABD5-4C0E-9576-AE3DDC29FBEB}"/>
                    </a:ext>
                  </a:extLst>
                </p:cNvPr>
                <p:cNvSpPr/>
                <p:nvPr/>
              </p:nvSpPr>
              <p:spPr>
                <a:xfrm>
                  <a:off x="6845221" y="-300855"/>
                  <a:ext cx="25377" cy="25956"/>
                </a:xfrm>
                <a:custGeom>
                  <a:avLst/>
                  <a:gdLst>
                    <a:gd name="connsiteX0" fmla="*/ 13030 w 25377"/>
                    <a:gd name="connsiteY0" fmla="*/ 0 h 25956"/>
                    <a:gd name="connsiteX1" fmla="*/ 25325 w 25377"/>
                    <a:gd name="connsiteY1" fmla="*/ 12978 h 25956"/>
                    <a:gd name="connsiteX2" fmla="*/ 12347 w 25377"/>
                    <a:gd name="connsiteY2" fmla="*/ 25957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5"/>
                        <a:pt x="25325" y="12978"/>
                      </a:cubicBezTo>
                      <a:cubicBezTo>
                        <a:pt x="24642" y="20492"/>
                        <a:pt x="19861" y="25957"/>
                        <a:pt x="12347" y="25957"/>
                      </a:cubicBezTo>
                      <a:cubicBezTo>
                        <a:pt x="5517" y="25957"/>
                        <a:pt x="-631" y="20492"/>
                        <a:pt x="52" y="12978"/>
                      </a:cubicBezTo>
                      <a:cubicBezTo>
                        <a:pt x="735" y="5465"/>
                        <a:pt x="6199" y="0"/>
                        <a:pt x="13030" y="0"/>
                      </a:cubicBezTo>
                    </a:path>
                  </a:pathLst>
                </a:custGeom>
                <a:grpFill/>
                <a:ln w="6825"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DD2D5F05-009B-4613-A589-B72183BB9B0E}"/>
                    </a:ext>
                  </a:extLst>
                </p:cNvPr>
                <p:cNvSpPr/>
                <p:nvPr/>
              </p:nvSpPr>
              <p:spPr>
                <a:xfrm>
                  <a:off x="6845221" y="-261920"/>
                  <a:ext cx="25377" cy="25956"/>
                </a:xfrm>
                <a:custGeom>
                  <a:avLst/>
                  <a:gdLst>
                    <a:gd name="connsiteX0" fmla="*/ 13030 w 25377"/>
                    <a:gd name="connsiteY0" fmla="*/ 0 h 25956"/>
                    <a:gd name="connsiteX1" fmla="*/ 25325 w 25377"/>
                    <a:gd name="connsiteY1" fmla="*/ 12978 h 25956"/>
                    <a:gd name="connsiteX2" fmla="*/ 12347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4"/>
                        <a:pt x="25325" y="12978"/>
                      </a:cubicBezTo>
                      <a:cubicBezTo>
                        <a:pt x="25325" y="19809"/>
                        <a:pt x="19861" y="25956"/>
                        <a:pt x="12347" y="25956"/>
                      </a:cubicBezTo>
                      <a:cubicBezTo>
                        <a:pt x="5517" y="25956"/>
                        <a:pt x="-631" y="20492"/>
                        <a:pt x="52" y="12978"/>
                      </a:cubicBezTo>
                      <a:cubicBezTo>
                        <a:pt x="52" y="5464"/>
                        <a:pt x="6199" y="0"/>
                        <a:pt x="13030" y="0"/>
                      </a:cubicBezTo>
                    </a:path>
                  </a:pathLst>
                </a:custGeom>
                <a:grpFill/>
                <a:ln w="6825"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4B5A5135-CA85-4539-99B8-E8BFE5F1C379}"/>
                    </a:ext>
                  </a:extLst>
                </p:cNvPr>
                <p:cNvSpPr/>
                <p:nvPr/>
              </p:nvSpPr>
              <p:spPr>
                <a:xfrm>
                  <a:off x="6654640" y="-185417"/>
                  <a:ext cx="25383" cy="25956"/>
                </a:xfrm>
                <a:custGeom>
                  <a:avLst/>
                  <a:gdLst>
                    <a:gd name="connsiteX0" fmla="*/ 13036 w 25383"/>
                    <a:gd name="connsiteY0" fmla="*/ 0 h 25956"/>
                    <a:gd name="connsiteX1" fmla="*/ 25331 w 25383"/>
                    <a:gd name="connsiteY1" fmla="*/ 12978 h 25956"/>
                    <a:gd name="connsiteX2" fmla="*/ 12353 w 25383"/>
                    <a:gd name="connsiteY2" fmla="*/ 25956 h 25956"/>
                    <a:gd name="connsiteX3" fmla="*/ 58 w 25383"/>
                    <a:gd name="connsiteY3" fmla="*/ 12978 h 25956"/>
                    <a:gd name="connsiteX4" fmla="*/ 13036 w 25383"/>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83" h="25956">
                      <a:moveTo>
                        <a:pt x="13036" y="0"/>
                      </a:moveTo>
                      <a:cubicBezTo>
                        <a:pt x="19867" y="0"/>
                        <a:pt x="26014" y="5464"/>
                        <a:pt x="25331" y="12978"/>
                      </a:cubicBezTo>
                      <a:cubicBezTo>
                        <a:pt x="24648" y="20492"/>
                        <a:pt x="19867" y="25956"/>
                        <a:pt x="12353" y="25956"/>
                      </a:cubicBezTo>
                      <a:cubicBezTo>
                        <a:pt x="4839" y="25956"/>
                        <a:pt x="-625" y="20492"/>
                        <a:pt x="58" y="12978"/>
                      </a:cubicBezTo>
                      <a:cubicBezTo>
                        <a:pt x="58" y="5464"/>
                        <a:pt x="6205" y="0"/>
                        <a:pt x="13036" y="0"/>
                      </a:cubicBezTo>
                    </a:path>
                  </a:pathLst>
                </a:custGeom>
                <a:grpFill/>
                <a:ln w="6825"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F7733031-FF9B-4F30-AE8E-24B0515EFC58}"/>
                    </a:ext>
                  </a:extLst>
                </p:cNvPr>
                <p:cNvSpPr/>
                <p:nvPr/>
              </p:nvSpPr>
              <p:spPr>
                <a:xfrm>
                  <a:off x="6692208" y="-185417"/>
                  <a:ext cx="25383" cy="25956"/>
                </a:xfrm>
                <a:custGeom>
                  <a:avLst/>
                  <a:gdLst>
                    <a:gd name="connsiteX0" fmla="*/ 13036 w 25383"/>
                    <a:gd name="connsiteY0" fmla="*/ 0 h 25956"/>
                    <a:gd name="connsiteX1" fmla="*/ 25331 w 25383"/>
                    <a:gd name="connsiteY1" fmla="*/ 12978 h 25956"/>
                    <a:gd name="connsiteX2" fmla="*/ 12353 w 25383"/>
                    <a:gd name="connsiteY2" fmla="*/ 25956 h 25956"/>
                    <a:gd name="connsiteX3" fmla="*/ 58 w 25383"/>
                    <a:gd name="connsiteY3" fmla="*/ 12978 h 25956"/>
                    <a:gd name="connsiteX4" fmla="*/ 13036 w 25383"/>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83" h="25956">
                      <a:moveTo>
                        <a:pt x="13036" y="0"/>
                      </a:moveTo>
                      <a:cubicBezTo>
                        <a:pt x="19867" y="0"/>
                        <a:pt x="26014" y="5464"/>
                        <a:pt x="25331" y="12978"/>
                      </a:cubicBezTo>
                      <a:cubicBezTo>
                        <a:pt x="25331" y="19809"/>
                        <a:pt x="19867" y="25956"/>
                        <a:pt x="12353" y="25956"/>
                      </a:cubicBezTo>
                      <a:cubicBezTo>
                        <a:pt x="4839" y="25956"/>
                        <a:pt x="-625" y="20492"/>
                        <a:pt x="58" y="12978"/>
                      </a:cubicBezTo>
                      <a:cubicBezTo>
                        <a:pt x="741" y="5464"/>
                        <a:pt x="6205" y="0"/>
                        <a:pt x="13036" y="0"/>
                      </a:cubicBezTo>
                    </a:path>
                  </a:pathLst>
                </a:custGeom>
                <a:grpFill/>
                <a:ln w="6825"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AC9B0B93-7E24-4121-AB36-ACF21D319F7D}"/>
                    </a:ext>
                  </a:extLst>
                </p:cNvPr>
                <p:cNvSpPr/>
                <p:nvPr/>
              </p:nvSpPr>
              <p:spPr>
                <a:xfrm>
                  <a:off x="6730518" y="-184785"/>
                  <a:ext cx="25325" cy="26008"/>
                </a:xfrm>
                <a:custGeom>
                  <a:avLst/>
                  <a:gdLst>
                    <a:gd name="connsiteX0" fmla="*/ 12978 w 25325"/>
                    <a:gd name="connsiteY0" fmla="*/ 52 h 26008"/>
                    <a:gd name="connsiteX1" fmla="*/ 25274 w 25325"/>
                    <a:gd name="connsiteY1" fmla="*/ 13030 h 26008"/>
                    <a:gd name="connsiteX2" fmla="*/ 12296 w 25325"/>
                    <a:gd name="connsiteY2" fmla="*/ 26008 h 26008"/>
                    <a:gd name="connsiteX3" fmla="*/ 0 w 25325"/>
                    <a:gd name="connsiteY3" fmla="*/ 13030 h 26008"/>
                    <a:gd name="connsiteX4" fmla="*/ 12978 w 25325"/>
                    <a:gd name="connsiteY4" fmla="*/ 52 h 26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25" h="26008">
                      <a:moveTo>
                        <a:pt x="12978" y="52"/>
                      </a:moveTo>
                      <a:cubicBezTo>
                        <a:pt x="19809" y="52"/>
                        <a:pt x="25957" y="5516"/>
                        <a:pt x="25274" y="13030"/>
                      </a:cubicBezTo>
                      <a:cubicBezTo>
                        <a:pt x="25274" y="19861"/>
                        <a:pt x="19809" y="26008"/>
                        <a:pt x="12296" y="26008"/>
                      </a:cubicBezTo>
                      <a:cubicBezTo>
                        <a:pt x="5465" y="26008"/>
                        <a:pt x="0" y="20544"/>
                        <a:pt x="0" y="13030"/>
                      </a:cubicBezTo>
                      <a:cubicBezTo>
                        <a:pt x="683" y="5516"/>
                        <a:pt x="6148" y="-631"/>
                        <a:pt x="12978" y="52"/>
                      </a:cubicBezTo>
                    </a:path>
                  </a:pathLst>
                </a:custGeom>
                <a:grpFill/>
                <a:ln w="6825"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8F6E5E1B-B594-42F7-9576-FF1C87685CB6}"/>
                    </a:ext>
                  </a:extLst>
                </p:cNvPr>
                <p:cNvSpPr/>
                <p:nvPr/>
              </p:nvSpPr>
              <p:spPr>
                <a:xfrm>
                  <a:off x="6768034" y="-184733"/>
                  <a:ext cx="25377" cy="25956"/>
                </a:xfrm>
                <a:custGeom>
                  <a:avLst/>
                  <a:gdLst>
                    <a:gd name="connsiteX0" fmla="*/ 13030 w 25377"/>
                    <a:gd name="connsiteY0" fmla="*/ 0 h 25956"/>
                    <a:gd name="connsiteX1" fmla="*/ 25326 w 25377"/>
                    <a:gd name="connsiteY1" fmla="*/ 12978 h 25956"/>
                    <a:gd name="connsiteX2" fmla="*/ 12348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4"/>
                        <a:pt x="25326" y="12978"/>
                      </a:cubicBezTo>
                      <a:cubicBezTo>
                        <a:pt x="25326" y="19809"/>
                        <a:pt x="19861" y="25956"/>
                        <a:pt x="12348" y="25956"/>
                      </a:cubicBezTo>
                      <a:cubicBezTo>
                        <a:pt x="5517" y="25956"/>
                        <a:pt x="-631" y="20492"/>
                        <a:pt x="52" y="12978"/>
                      </a:cubicBezTo>
                      <a:cubicBezTo>
                        <a:pt x="735" y="5464"/>
                        <a:pt x="6200" y="0"/>
                        <a:pt x="13030" y="0"/>
                      </a:cubicBezTo>
                    </a:path>
                  </a:pathLst>
                </a:custGeom>
                <a:grpFill/>
                <a:ln w="6825"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9DB27D23-818A-43D7-A0EF-8FDF7C3679FF}"/>
                    </a:ext>
                  </a:extLst>
                </p:cNvPr>
                <p:cNvSpPr/>
                <p:nvPr/>
              </p:nvSpPr>
              <p:spPr>
                <a:xfrm>
                  <a:off x="6882784" y="-300855"/>
                  <a:ext cx="25382" cy="25956"/>
                </a:xfrm>
                <a:custGeom>
                  <a:avLst/>
                  <a:gdLst>
                    <a:gd name="connsiteX0" fmla="*/ 13036 w 25382"/>
                    <a:gd name="connsiteY0" fmla="*/ 0 h 25956"/>
                    <a:gd name="connsiteX1" fmla="*/ 25331 w 25382"/>
                    <a:gd name="connsiteY1" fmla="*/ 12978 h 25956"/>
                    <a:gd name="connsiteX2" fmla="*/ 12353 w 25382"/>
                    <a:gd name="connsiteY2" fmla="*/ 25957 h 25956"/>
                    <a:gd name="connsiteX3" fmla="*/ 58 w 25382"/>
                    <a:gd name="connsiteY3" fmla="*/ 12978 h 25956"/>
                    <a:gd name="connsiteX4" fmla="*/ 13036 w 25382"/>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82" h="25956">
                      <a:moveTo>
                        <a:pt x="13036" y="0"/>
                      </a:moveTo>
                      <a:cubicBezTo>
                        <a:pt x="19866" y="0"/>
                        <a:pt x="26014" y="5465"/>
                        <a:pt x="25331" y="12978"/>
                      </a:cubicBezTo>
                      <a:cubicBezTo>
                        <a:pt x="25331" y="19809"/>
                        <a:pt x="19866" y="25957"/>
                        <a:pt x="12353" y="25957"/>
                      </a:cubicBezTo>
                      <a:cubicBezTo>
                        <a:pt x="4839" y="25957"/>
                        <a:pt x="-626" y="20492"/>
                        <a:pt x="58" y="12978"/>
                      </a:cubicBezTo>
                      <a:cubicBezTo>
                        <a:pt x="741" y="5465"/>
                        <a:pt x="6205" y="0"/>
                        <a:pt x="13036" y="0"/>
                      </a:cubicBezTo>
                    </a:path>
                  </a:pathLst>
                </a:custGeom>
                <a:grpFill/>
                <a:ln w="6825"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706B221A-1D54-4044-872C-13671676EE99}"/>
                    </a:ext>
                  </a:extLst>
                </p:cNvPr>
                <p:cNvSpPr/>
                <p:nvPr/>
              </p:nvSpPr>
              <p:spPr>
                <a:xfrm>
                  <a:off x="6809018" y="-415610"/>
                  <a:ext cx="25377" cy="25956"/>
                </a:xfrm>
                <a:custGeom>
                  <a:avLst/>
                  <a:gdLst>
                    <a:gd name="connsiteX0" fmla="*/ 13030 w 25377"/>
                    <a:gd name="connsiteY0" fmla="*/ 0 h 25956"/>
                    <a:gd name="connsiteX1" fmla="*/ 25326 w 25377"/>
                    <a:gd name="connsiteY1" fmla="*/ 12978 h 25956"/>
                    <a:gd name="connsiteX2" fmla="*/ 12348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4"/>
                        <a:pt x="25326" y="12978"/>
                      </a:cubicBezTo>
                      <a:cubicBezTo>
                        <a:pt x="25326" y="19809"/>
                        <a:pt x="19861" y="25956"/>
                        <a:pt x="12348" y="25956"/>
                      </a:cubicBezTo>
                      <a:cubicBezTo>
                        <a:pt x="5517" y="25956"/>
                        <a:pt x="-631" y="20492"/>
                        <a:pt x="52" y="12978"/>
                      </a:cubicBezTo>
                      <a:cubicBezTo>
                        <a:pt x="52" y="5464"/>
                        <a:pt x="5517" y="0"/>
                        <a:pt x="13030" y="0"/>
                      </a:cubicBezTo>
                    </a:path>
                  </a:pathLst>
                </a:custGeom>
                <a:grpFill/>
                <a:ln w="6825"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32C79739-0B8B-42FE-BF1C-5DEF1093509F}"/>
                    </a:ext>
                  </a:extLst>
                </p:cNvPr>
                <p:cNvSpPr/>
                <p:nvPr/>
              </p:nvSpPr>
              <p:spPr>
                <a:xfrm>
                  <a:off x="6846639" y="-377358"/>
                  <a:ext cx="25325" cy="25956"/>
                </a:xfrm>
                <a:custGeom>
                  <a:avLst/>
                  <a:gdLst>
                    <a:gd name="connsiteX0" fmla="*/ 12978 w 25325"/>
                    <a:gd name="connsiteY0" fmla="*/ 0 h 25956"/>
                    <a:gd name="connsiteX1" fmla="*/ 25274 w 25325"/>
                    <a:gd name="connsiteY1" fmla="*/ 12978 h 25956"/>
                    <a:gd name="connsiteX2" fmla="*/ 12296 w 25325"/>
                    <a:gd name="connsiteY2" fmla="*/ 25956 h 25956"/>
                    <a:gd name="connsiteX3" fmla="*/ 0 w 25325"/>
                    <a:gd name="connsiteY3" fmla="*/ 12978 h 25956"/>
                    <a:gd name="connsiteX4" fmla="*/ 12978 w 25325"/>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25" h="25956">
                      <a:moveTo>
                        <a:pt x="12978" y="0"/>
                      </a:moveTo>
                      <a:cubicBezTo>
                        <a:pt x="19809" y="0"/>
                        <a:pt x="25957" y="5464"/>
                        <a:pt x="25274" y="12978"/>
                      </a:cubicBezTo>
                      <a:cubicBezTo>
                        <a:pt x="25274" y="19809"/>
                        <a:pt x="19809" y="25956"/>
                        <a:pt x="12296" y="25956"/>
                      </a:cubicBezTo>
                      <a:cubicBezTo>
                        <a:pt x="5465" y="25956"/>
                        <a:pt x="0" y="20492"/>
                        <a:pt x="0" y="12978"/>
                      </a:cubicBezTo>
                      <a:cubicBezTo>
                        <a:pt x="0" y="6148"/>
                        <a:pt x="5465" y="0"/>
                        <a:pt x="12978" y="0"/>
                      </a:cubicBezTo>
                    </a:path>
                  </a:pathLst>
                </a:custGeom>
                <a:grpFill/>
                <a:ln w="6825"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9F29233D-C7D0-467B-B1E5-3444DB7EEB76}"/>
                    </a:ext>
                  </a:extLst>
                </p:cNvPr>
                <p:cNvSpPr/>
                <p:nvPr/>
              </p:nvSpPr>
              <p:spPr>
                <a:xfrm>
                  <a:off x="6846587" y="-415610"/>
                  <a:ext cx="25377" cy="25956"/>
                </a:xfrm>
                <a:custGeom>
                  <a:avLst/>
                  <a:gdLst>
                    <a:gd name="connsiteX0" fmla="*/ 13030 w 25377"/>
                    <a:gd name="connsiteY0" fmla="*/ 0 h 25956"/>
                    <a:gd name="connsiteX1" fmla="*/ 25326 w 25377"/>
                    <a:gd name="connsiteY1" fmla="*/ 12978 h 25956"/>
                    <a:gd name="connsiteX2" fmla="*/ 12348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4"/>
                        <a:pt x="25326" y="12978"/>
                      </a:cubicBezTo>
                      <a:cubicBezTo>
                        <a:pt x="25326" y="19809"/>
                        <a:pt x="19861" y="25956"/>
                        <a:pt x="12348" y="25956"/>
                      </a:cubicBezTo>
                      <a:cubicBezTo>
                        <a:pt x="5517" y="25956"/>
                        <a:pt x="-631" y="20492"/>
                        <a:pt x="52" y="12978"/>
                      </a:cubicBezTo>
                      <a:cubicBezTo>
                        <a:pt x="52" y="5464"/>
                        <a:pt x="5517" y="0"/>
                        <a:pt x="13030" y="0"/>
                      </a:cubicBezTo>
                    </a:path>
                  </a:pathLst>
                </a:custGeom>
                <a:grpFill/>
                <a:ln w="6825"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934311C7-7ED4-4037-AA7F-90F0425C5A47}"/>
                    </a:ext>
                  </a:extLst>
                </p:cNvPr>
                <p:cNvSpPr/>
                <p:nvPr/>
              </p:nvSpPr>
              <p:spPr>
                <a:xfrm>
                  <a:off x="6884833" y="-376676"/>
                  <a:ext cx="25383" cy="25956"/>
                </a:xfrm>
                <a:custGeom>
                  <a:avLst/>
                  <a:gdLst>
                    <a:gd name="connsiteX0" fmla="*/ 13036 w 25383"/>
                    <a:gd name="connsiteY0" fmla="*/ 0 h 25956"/>
                    <a:gd name="connsiteX1" fmla="*/ 25331 w 25383"/>
                    <a:gd name="connsiteY1" fmla="*/ 12978 h 25956"/>
                    <a:gd name="connsiteX2" fmla="*/ 12353 w 25383"/>
                    <a:gd name="connsiteY2" fmla="*/ 25957 h 25956"/>
                    <a:gd name="connsiteX3" fmla="*/ 58 w 25383"/>
                    <a:gd name="connsiteY3" fmla="*/ 12978 h 25956"/>
                    <a:gd name="connsiteX4" fmla="*/ 13036 w 25383"/>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83" h="25956">
                      <a:moveTo>
                        <a:pt x="13036" y="0"/>
                      </a:moveTo>
                      <a:cubicBezTo>
                        <a:pt x="19866" y="0"/>
                        <a:pt x="26014" y="5465"/>
                        <a:pt x="25331" y="12978"/>
                      </a:cubicBezTo>
                      <a:cubicBezTo>
                        <a:pt x="25331" y="19809"/>
                        <a:pt x="19866" y="25957"/>
                        <a:pt x="12353" y="25957"/>
                      </a:cubicBezTo>
                      <a:cubicBezTo>
                        <a:pt x="4839" y="25957"/>
                        <a:pt x="-626" y="20492"/>
                        <a:pt x="58" y="12978"/>
                      </a:cubicBezTo>
                      <a:cubicBezTo>
                        <a:pt x="58" y="5465"/>
                        <a:pt x="5522" y="0"/>
                        <a:pt x="13036" y="0"/>
                      </a:cubicBezTo>
                    </a:path>
                  </a:pathLst>
                </a:custGeom>
                <a:grpFill/>
                <a:ln w="6825"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EA5B80FC-40C4-4F94-B878-8ACA9959CD53}"/>
                    </a:ext>
                  </a:extLst>
                </p:cNvPr>
                <p:cNvSpPr/>
                <p:nvPr/>
              </p:nvSpPr>
              <p:spPr>
                <a:xfrm>
                  <a:off x="6884833" y="-339107"/>
                  <a:ext cx="25383" cy="25956"/>
                </a:xfrm>
                <a:custGeom>
                  <a:avLst/>
                  <a:gdLst>
                    <a:gd name="connsiteX0" fmla="*/ 13036 w 25383"/>
                    <a:gd name="connsiteY0" fmla="*/ 0 h 25956"/>
                    <a:gd name="connsiteX1" fmla="*/ 25331 w 25383"/>
                    <a:gd name="connsiteY1" fmla="*/ 12978 h 25956"/>
                    <a:gd name="connsiteX2" fmla="*/ 12353 w 25383"/>
                    <a:gd name="connsiteY2" fmla="*/ 25957 h 25956"/>
                    <a:gd name="connsiteX3" fmla="*/ 58 w 25383"/>
                    <a:gd name="connsiteY3" fmla="*/ 12978 h 25956"/>
                    <a:gd name="connsiteX4" fmla="*/ 13036 w 25383"/>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83" h="25956">
                      <a:moveTo>
                        <a:pt x="13036" y="0"/>
                      </a:moveTo>
                      <a:cubicBezTo>
                        <a:pt x="19866" y="0"/>
                        <a:pt x="26014" y="5465"/>
                        <a:pt x="25331" y="12978"/>
                      </a:cubicBezTo>
                      <a:cubicBezTo>
                        <a:pt x="25331" y="19809"/>
                        <a:pt x="19866" y="25957"/>
                        <a:pt x="12353" y="25957"/>
                      </a:cubicBezTo>
                      <a:cubicBezTo>
                        <a:pt x="4839" y="25957"/>
                        <a:pt x="-626" y="20492"/>
                        <a:pt x="58" y="12978"/>
                      </a:cubicBezTo>
                      <a:cubicBezTo>
                        <a:pt x="58" y="5465"/>
                        <a:pt x="5522" y="0"/>
                        <a:pt x="13036" y="0"/>
                      </a:cubicBezTo>
                    </a:path>
                  </a:pathLst>
                </a:custGeom>
                <a:grpFill/>
                <a:ln w="6825"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A9CDE800-2AA7-44B4-AD6E-A95AB11ED37A}"/>
                    </a:ext>
                  </a:extLst>
                </p:cNvPr>
                <p:cNvSpPr/>
                <p:nvPr/>
              </p:nvSpPr>
              <p:spPr>
                <a:xfrm>
                  <a:off x="6884839" y="-415610"/>
                  <a:ext cx="25377" cy="25956"/>
                </a:xfrm>
                <a:custGeom>
                  <a:avLst/>
                  <a:gdLst>
                    <a:gd name="connsiteX0" fmla="*/ 13030 w 25377"/>
                    <a:gd name="connsiteY0" fmla="*/ 0 h 25956"/>
                    <a:gd name="connsiteX1" fmla="*/ 25326 w 25377"/>
                    <a:gd name="connsiteY1" fmla="*/ 12978 h 25956"/>
                    <a:gd name="connsiteX2" fmla="*/ 12347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4"/>
                        <a:pt x="25326" y="12978"/>
                      </a:cubicBezTo>
                      <a:cubicBezTo>
                        <a:pt x="25326" y="19809"/>
                        <a:pt x="19861" y="25956"/>
                        <a:pt x="12347" y="25956"/>
                      </a:cubicBezTo>
                      <a:cubicBezTo>
                        <a:pt x="5517" y="25956"/>
                        <a:pt x="-631" y="20492"/>
                        <a:pt x="52" y="12978"/>
                      </a:cubicBezTo>
                      <a:cubicBezTo>
                        <a:pt x="52" y="5464"/>
                        <a:pt x="6199" y="0"/>
                        <a:pt x="13030" y="0"/>
                      </a:cubicBezTo>
                    </a:path>
                  </a:pathLst>
                </a:custGeom>
                <a:grpFill/>
                <a:ln w="6825"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83E7A22C-5630-47E2-90D8-31B9E7555398}"/>
                    </a:ext>
                  </a:extLst>
                </p:cNvPr>
                <p:cNvSpPr/>
                <p:nvPr/>
              </p:nvSpPr>
              <p:spPr>
                <a:xfrm>
                  <a:off x="6922460" y="-376676"/>
                  <a:ext cx="25325" cy="25956"/>
                </a:xfrm>
                <a:custGeom>
                  <a:avLst/>
                  <a:gdLst>
                    <a:gd name="connsiteX0" fmla="*/ 12978 w 25325"/>
                    <a:gd name="connsiteY0" fmla="*/ 0 h 25956"/>
                    <a:gd name="connsiteX1" fmla="*/ 25274 w 25325"/>
                    <a:gd name="connsiteY1" fmla="*/ 12978 h 25956"/>
                    <a:gd name="connsiteX2" fmla="*/ 12295 w 25325"/>
                    <a:gd name="connsiteY2" fmla="*/ 25957 h 25956"/>
                    <a:gd name="connsiteX3" fmla="*/ 0 w 25325"/>
                    <a:gd name="connsiteY3" fmla="*/ 12978 h 25956"/>
                    <a:gd name="connsiteX4" fmla="*/ 12978 w 25325"/>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25" h="25956">
                      <a:moveTo>
                        <a:pt x="12978" y="0"/>
                      </a:moveTo>
                      <a:cubicBezTo>
                        <a:pt x="19809" y="0"/>
                        <a:pt x="25956" y="5465"/>
                        <a:pt x="25274" y="12978"/>
                      </a:cubicBezTo>
                      <a:cubicBezTo>
                        <a:pt x="25274" y="19809"/>
                        <a:pt x="19809" y="25957"/>
                        <a:pt x="12295" y="25957"/>
                      </a:cubicBezTo>
                      <a:cubicBezTo>
                        <a:pt x="5464" y="25957"/>
                        <a:pt x="0" y="20492"/>
                        <a:pt x="0" y="12978"/>
                      </a:cubicBezTo>
                      <a:cubicBezTo>
                        <a:pt x="0" y="5465"/>
                        <a:pt x="5464" y="0"/>
                        <a:pt x="12978" y="0"/>
                      </a:cubicBezTo>
                    </a:path>
                  </a:pathLst>
                </a:custGeom>
                <a:grpFill/>
                <a:ln w="6825"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FDEF5148-2034-49E9-9D1E-563B55043189}"/>
                    </a:ext>
                  </a:extLst>
                </p:cNvPr>
                <p:cNvSpPr/>
                <p:nvPr/>
              </p:nvSpPr>
              <p:spPr>
                <a:xfrm>
                  <a:off x="6922408" y="-339107"/>
                  <a:ext cx="25377" cy="25956"/>
                </a:xfrm>
                <a:custGeom>
                  <a:avLst/>
                  <a:gdLst>
                    <a:gd name="connsiteX0" fmla="*/ 13030 w 25377"/>
                    <a:gd name="connsiteY0" fmla="*/ 0 h 25956"/>
                    <a:gd name="connsiteX1" fmla="*/ 25326 w 25377"/>
                    <a:gd name="connsiteY1" fmla="*/ 12978 h 25956"/>
                    <a:gd name="connsiteX2" fmla="*/ 12347 w 25377"/>
                    <a:gd name="connsiteY2" fmla="*/ 25957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5"/>
                        <a:pt x="25326" y="12978"/>
                      </a:cubicBezTo>
                      <a:cubicBezTo>
                        <a:pt x="25326" y="19809"/>
                        <a:pt x="19861" y="25957"/>
                        <a:pt x="12347" y="25957"/>
                      </a:cubicBezTo>
                      <a:cubicBezTo>
                        <a:pt x="5517" y="25957"/>
                        <a:pt x="-631" y="20492"/>
                        <a:pt x="52" y="12978"/>
                      </a:cubicBezTo>
                      <a:cubicBezTo>
                        <a:pt x="52" y="5465"/>
                        <a:pt x="5517" y="0"/>
                        <a:pt x="13030" y="0"/>
                      </a:cubicBezTo>
                    </a:path>
                  </a:pathLst>
                </a:custGeom>
                <a:grpFill/>
                <a:ln w="6825"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A0B0E158-8BBB-4E91-9299-9A5E45A52660}"/>
                    </a:ext>
                  </a:extLst>
                </p:cNvPr>
                <p:cNvSpPr/>
                <p:nvPr/>
              </p:nvSpPr>
              <p:spPr>
                <a:xfrm>
                  <a:off x="6922460" y="-415610"/>
                  <a:ext cx="25325" cy="25956"/>
                </a:xfrm>
                <a:custGeom>
                  <a:avLst/>
                  <a:gdLst>
                    <a:gd name="connsiteX0" fmla="*/ 12978 w 25325"/>
                    <a:gd name="connsiteY0" fmla="*/ 0 h 25956"/>
                    <a:gd name="connsiteX1" fmla="*/ 25274 w 25325"/>
                    <a:gd name="connsiteY1" fmla="*/ 12978 h 25956"/>
                    <a:gd name="connsiteX2" fmla="*/ 12295 w 25325"/>
                    <a:gd name="connsiteY2" fmla="*/ 25956 h 25956"/>
                    <a:gd name="connsiteX3" fmla="*/ 0 w 25325"/>
                    <a:gd name="connsiteY3" fmla="*/ 12978 h 25956"/>
                    <a:gd name="connsiteX4" fmla="*/ 12978 w 25325"/>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25" h="25956">
                      <a:moveTo>
                        <a:pt x="12978" y="0"/>
                      </a:moveTo>
                      <a:cubicBezTo>
                        <a:pt x="19809" y="0"/>
                        <a:pt x="25956" y="5464"/>
                        <a:pt x="25274" y="12978"/>
                      </a:cubicBezTo>
                      <a:cubicBezTo>
                        <a:pt x="25274" y="19809"/>
                        <a:pt x="19809" y="25956"/>
                        <a:pt x="12295" y="25956"/>
                      </a:cubicBezTo>
                      <a:cubicBezTo>
                        <a:pt x="5464" y="25956"/>
                        <a:pt x="0" y="20492"/>
                        <a:pt x="0" y="12978"/>
                      </a:cubicBezTo>
                      <a:cubicBezTo>
                        <a:pt x="0" y="5464"/>
                        <a:pt x="6147" y="0"/>
                        <a:pt x="12978" y="0"/>
                      </a:cubicBezTo>
                    </a:path>
                  </a:pathLst>
                </a:custGeom>
                <a:grpFill/>
                <a:ln w="6825"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E99C3395-96D7-4C7D-A9E8-1B881C8B4710}"/>
                    </a:ext>
                  </a:extLst>
                </p:cNvPr>
                <p:cNvSpPr/>
                <p:nvPr/>
              </p:nvSpPr>
              <p:spPr>
                <a:xfrm>
                  <a:off x="6959971" y="-376676"/>
                  <a:ext cx="25383" cy="25956"/>
                </a:xfrm>
                <a:custGeom>
                  <a:avLst/>
                  <a:gdLst>
                    <a:gd name="connsiteX0" fmla="*/ 13036 w 25383"/>
                    <a:gd name="connsiteY0" fmla="*/ 0 h 25956"/>
                    <a:gd name="connsiteX1" fmla="*/ 25331 w 25383"/>
                    <a:gd name="connsiteY1" fmla="*/ 12978 h 25956"/>
                    <a:gd name="connsiteX2" fmla="*/ 12353 w 25383"/>
                    <a:gd name="connsiteY2" fmla="*/ 25957 h 25956"/>
                    <a:gd name="connsiteX3" fmla="*/ 58 w 25383"/>
                    <a:gd name="connsiteY3" fmla="*/ 12978 h 25956"/>
                    <a:gd name="connsiteX4" fmla="*/ 13036 w 25383"/>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83" h="25956">
                      <a:moveTo>
                        <a:pt x="13036" y="0"/>
                      </a:moveTo>
                      <a:cubicBezTo>
                        <a:pt x="19866" y="0"/>
                        <a:pt x="26014" y="5465"/>
                        <a:pt x="25331" y="12978"/>
                      </a:cubicBezTo>
                      <a:cubicBezTo>
                        <a:pt x="25331" y="19809"/>
                        <a:pt x="19866" y="25957"/>
                        <a:pt x="12353" y="25957"/>
                      </a:cubicBezTo>
                      <a:cubicBezTo>
                        <a:pt x="4839" y="25957"/>
                        <a:pt x="-626" y="20492"/>
                        <a:pt x="58" y="12978"/>
                      </a:cubicBezTo>
                      <a:cubicBezTo>
                        <a:pt x="58" y="5465"/>
                        <a:pt x="6205" y="0"/>
                        <a:pt x="13036" y="0"/>
                      </a:cubicBezTo>
                    </a:path>
                  </a:pathLst>
                </a:custGeom>
                <a:grpFill/>
                <a:ln w="6825"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352E15E4-97F9-476C-A8BF-B2B441D47793}"/>
                    </a:ext>
                  </a:extLst>
                </p:cNvPr>
                <p:cNvSpPr/>
                <p:nvPr/>
              </p:nvSpPr>
              <p:spPr>
                <a:xfrm>
                  <a:off x="6959976" y="-339107"/>
                  <a:ext cx="25377" cy="25956"/>
                </a:xfrm>
                <a:custGeom>
                  <a:avLst/>
                  <a:gdLst>
                    <a:gd name="connsiteX0" fmla="*/ 13030 w 25377"/>
                    <a:gd name="connsiteY0" fmla="*/ 0 h 25956"/>
                    <a:gd name="connsiteX1" fmla="*/ 25326 w 25377"/>
                    <a:gd name="connsiteY1" fmla="*/ 12978 h 25956"/>
                    <a:gd name="connsiteX2" fmla="*/ 12347 w 25377"/>
                    <a:gd name="connsiteY2" fmla="*/ 25957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5"/>
                        <a:pt x="25326" y="12978"/>
                      </a:cubicBezTo>
                      <a:cubicBezTo>
                        <a:pt x="25326" y="19809"/>
                        <a:pt x="19861" y="25957"/>
                        <a:pt x="12347" y="25957"/>
                      </a:cubicBezTo>
                      <a:cubicBezTo>
                        <a:pt x="5517" y="25957"/>
                        <a:pt x="-631" y="20492"/>
                        <a:pt x="52" y="12978"/>
                      </a:cubicBezTo>
                      <a:cubicBezTo>
                        <a:pt x="52" y="6148"/>
                        <a:pt x="5517" y="0"/>
                        <a:pt x="13030" y="0"/>
                      </a:cubicBezTo>
                    </a:path>
                  </a:pathLst>
                </a:custGeom>
                <a:grpFill/>
                <a:ln w="6825"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91D2C595-D819-4C75-93F8-56AFB590CD2D}"/>
                    </a:ext>
                  </a:extLst>
                </p:cNvPr>
                <p:cNvSpPr/>
                <p:nvPr/>
              </p:nvSpPr>
              <p:spPr>
                <a:xfrm>
                  <a:off x="6921724" y="-300855"/>
                  <a:ext cx="25377" cy="25956"/>
                </a:xfrm>
                <a:custGeom>
                  <a:avLst/>
                  <a:gdLst>
                    <a:gd name="connsiteX0" fmla="*/ 13030 w 25377"/>
                    <a:gd name="connsiteY0" fmla="*/ 0 h 25956"/>
                    <a:gd name="connsiteX1" fmla="*/ 25326 w 25377"/>
                    <a:gd name="connsiteY1" fmla="*/ 12978 h 25956"/>
                    <a:gd name="connsiteX2" fmla="*/ 12348 w 25377"/>
                    <a:gd name="connsiteY2" fmla="*/ 25957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5"/>
                        <a:pt x="25326" y="12978"/>
                      </a:cubicBezTo>
                      <a:cubicBezTo>
                        <a:pt x="25326" y="19809"/>
                        <a:pt x="19861" y="25957"/>
                        <a:pt x="12348" y="25957"/>
                      </a:cubicBezTo>
                      <a:cubicBezTo>
                        <a:pt x="5517" y="25957"/>
                        <a:pt x="-631" y="20492"/>
                        <a:pt x="52" y="12978"/>
                      </a:cubicBezTo>
                      <a:cubicBezTo>
                        <a:pt x="735" y="5465"/>
                        <a:pt x="6200" y="0"/>
                        <a:pt x="13030" y="0"/>
                      </a:cubicBezTo>
                    </a:path>
                  </a:pathLst>
                </a:custGeom>
                <a:grpFill/>
                <a:ln w="6825"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9EB44515-6B60-4C31-9F9C-699BA9CD055B}"/>
                    </a:ext>
                  </a:extLst>
                </p:cNvPr>
                <p:cNvSpPr/>
                <p:nvPr/>
              </p:nvSpPr>
              <p:spPr>
                <a:xfrm>
                  <a:off x="6959288" y="-300855"/>
                  <a:ext cx="25383" cy="25956"/>
                </a:xfrm>
                <a:custGeom>
                  <a:avLst/>
                  <a:gdLst>
                    <a:gd name="connsiteX0" fmla="*/ 13036 w 25383"/>
                    <a:gd name="connsiteY0" fmla="*/ 0 h 25956"/>
                    <a:gd name="connsiteX1" fmla="*/ 25331 w 25383"/>
                    <a:gd name="connsiteY1" fmla="*/ 12978 h 25956"/>
                    <a:gd name="connsiteX2" fmla="*/ 12353 w 25383"/>
                    <a:gd name="connsiteY2" fmla="*/ 25957 h 25956"/>
                    <a:gd name="connsiteX3" fmla="*/ 58 w 25383"/>
                    <a:gd name="connsiteY3" fmla="*/ 12978 h 25956"/>
                    <a:gd name="connsiteX4" fmla="*/ 13036 w 25383"/>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83" h="25956">
                      <a:moveTo>
                        <a:pt x="13036" y="0"/>
                      </a:moveTo>
                      <a:cubicBezTo>
                        <a:pt x="19867" y="0"/>
                        <a:pt x="26015" y="5465"/>
                        <a:pt x="25331" y="12978"/>
                      </a:cubicBezTo>
                      <a:cubicBezTo>
                        <a:pt x="25331" y="19809"/>
                        <a:pt x="19867" y="25957"/>
                        <a:pt x="12353" y="25957"/>
                      </a:cubicBezTo>
                      <a:cubicBezTo>
                        <a:pt x="4839" y="25957"/>
                        <a:pt x="-625" y="20492"/>
                        <a:pt x="58" y="12978"/>
                      </a:cubicBezTo>
                      <a:cubicBezTo>
                        <a:pt x="741" y="5465"/>
                        <a:pt x="6205" y="0"/>
                        <a:pt x="13036" y="0"/>
                      </a:cubicBezTo>
                    </a:path>
                  </a:pathLst>
                </a:custGeom>
                <a:grpFill/>
                <a:ln w="6825"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26D4A6B4-6CD8-47A1-864A-0FA9EDDFCA50}"/>
                    </a:ext>
                  </a:extLst>
                </p:cNvPr>
                <p:cNvSpPr/>
                <p:nvPr/>
              </p:nvSpPr>
              <p:spPr>
                <a:xfrm>
                  <a:off x="6884156" y="-262603"/>
                  <a:ext cx="25377" cy="25956"/>
                </a:xfrm>
                <a:custGeom>
                  <a:avLst/>
                  <a:gdLst>
                    <a:gd name="connsiteX0" fmla="*/ 13030 w 25377"/>
                    <a:gd name="connsiteY0" fmla="*/ 0 h 25956"/>
                    <a:gd name="connsiteX1" fmla="*/ 25326 w 25377"/>
                    <a:gd name="connsiteY1" fmla="*/ 12978 h 25956"/>
                    <a:gd name="connsiteX2" fmla="*/ 12348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4"/>
                        <a:pt x="25326" y="12978"/>
                      </a:cubicBezTo>
                      <a:cubicBezTo>
                        <a:pt x="25326" y="19809"/>
                        <a:pt x="19861" y="25956"/>
                        <a:pt x="12348" y="25956"/>
                      </a:cubicBezTo>
                      <a:cubicBezTo>
                        <a:pt x="5517" y="25956"/>
                        <a:pt x="-631" y="20492"/>
                        <a:pt x="52" y="12978"/>
                      </a:cubicBezTo>
                      <a:cubicBezTo>
                        <a:pt x="735" y="5464"/>
                        <a:pt x="6200" y="0"/>
                        <a:pt x="13030" y="0"/>
                      </a:cubicBezTo>
                    </a:path>
                  </a:pathLst>
                </a:custGeom>
                <a:grpFill/>
                <a:ln w="6825"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B5A1FD7D-1A5C-4CE1-B429-841F657796F5}"/>
                    </a:ext>
                  </a:extLst>
                </p:cNvPr>
                <p:cNvSpPr/>
                <p:nvPr/>
              </p:nvSpPr>
              <p:spPr>
                <a:xfrm>
                  <a:off x="6921724" y="-262603"/>
                  <a:ext cx="25377" cy="25956"/>
                </a:xfrm>
                <a:custGeom>
                  <a:avLst/>
                  <a:gdLst>
                    <a:gd name="connsiteX0" fmla="*/ 13030 w 25377"/>
                    <a:gd name="connsiteY0" fmla="*/ 0 h 25956"/>
                    <a:gd name="connsiteX1" fmla="*/ 25326 w 25377"/>
                    <a:gd name="connsiteY1" fmla="*/ 12978 h 25956"/>
                    <a:gd name="connsiteX2" fmla="*/ 12348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4"/>
                        <a:pt x="25326" y="12978"/>
                      </a:cubicBezTo>
                      <a:cubicBezTo>
                        <a:pt x="25326" y="19809"/>
                        <a:pt x="19861" y="25956"/>
                        <a:pt x="12348" y="25956"/>
                      </a:cubicBezTo>
                      <a:cubicBezTo>
                        <a:pt x="5517" y="25956"/>
                        <a:pt x="-631" y="20492"/>
                        <a:pt x="52" y="12978"/>
                      </a:cubicBezTo>
                      <a:cubicBezTo>
                        <a:pt x="735" y="6148"/>
                        <a:pt x="6200" y="0"/>
                        <a:pt x="13030" y="0"/>
                      </a:cubicBezTo>
                    </a:path>
                  </a:pathLst>
                </a:custGeom>
                <a:grpFill/>
                <a:ln w="6825"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DA9D5221-E5ED-420C-BD75-32821894FF25}"/>
                    </a:ext>
                  </a:extLst>
                </p:cNvPr>
                <p:cNvSpPr/>
                <p:nvPr/>
              </p:nvSpPr>
              <p:spPr>
                <a:xfrm>
                  <a:off x="6959293" y="-262603"/>
                  <a:ext cx="25377" cy="25956"/>
                </a:xfrm>
                <a:custGeom>
                  <a:avLst/>
                  <a:gdLst>
                    <a:gd name="connsiteX0" fmla="*/ 13030 w 25377"/>
                    <a:gd name="connsiteY0" fmla="*/ 0 h 25956"/>
                    <a:gd name="connsiteX1" fmla="*/ 25326 w 25377"/>
                    <a:gd name="connsiteY1" fmla="*/ 12978 h 25956"/>
                    <a:gd name="connsiteX2" fmla="*/ 12348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4"/>
                        <a:pt x="25326" y="12978"/>
                      </a:cubicBezTo>
                      <a:cubicBezTo>
                        <a:pt x="25326" y="19809"/>
                        <a:pt x="19861" y="25956"/>
                        <a:pt x="12348" y="25956"/>
                      </a:cubicBezTo>
                      <a:cubicBezTo>
                        <a:pt x="5517" y="25956"/>
                        <a:pt x="-631" y="20492"/>
                        <a:pt x="52" y="12978"/>
                      </a:cubicBezTo>
                      <a:cubicBezTo>
                        <a:pt x="735" y="6148"/>
                        <a:pt x="6200" y="0"/>
                        <a:pt x="13030" y="0"/>
                      </a:cubicBezTo>
                    </a:path>
                  </a:pathLst>
                </a:custGeom>
                <a:grpFill/>
                <a:ln w="6825"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D99A8002-FBF4-4312-A774-84E6B9D12F3C}"/>
                    </a:ext>
                  </a:extLst>
                </p:cNvPr>
                <p:cNvSpPr/>
                <p:nvPr/>
              </p:nvSpPr>
              <p:spPr>
                <a:xfrm>
                  <a:off x="6845956" y="-224403"/>
                  <a:ext cx="25325" cy="26008"/>
                </a:xfrm>
                <a:custGeom>
                  <a:avLst/>
                  <a:gdLst>
                    <a:gd name="connsiteX0" fmla="*/ 12978 w 25325"/>
                    <a:gd name="connsiteY0" fmla="*/ 52 h 26008"/>
                    <a:gd name="connsiteX1" fmla="*/ 25274 w 25325"/>
                    <a:gd name="connsiteY1" fmla="*/ 13030 h 26008"/>
                    <a:gd name="connsiteX2" fmla="*/ 12295 w 25325"/>
                    <a:gd name="connsiteY2" fmla="*/ 26009 h 26008"/>
                    <a:gd name="connsiteX3" fmla="*/ 0 w 25325"/>
                    <a:gd name="connsiteY3" fmla="*/ 13030 h 26008"/>
                    <a:gd name="connsiteX4" fmla="*/ 12978 w 25325"/>
                    <a:gd name="connsiteY4" fmla="*/ 52 h 26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25" h="26008">
                      <a:moveTo>
                        <a:pt x="12978" y="52"/>
                      </a:moveTo>
                      <a:cubicBezTo>
                        <a:pt x="19809" y="52"/>
                        <a:pt x="25956" y="5516"/>
                        <a:pt x="25274" y="13030"/>
                      </a:cubicBezTo>
                      <a:cubicBezTo>
                        <a:pt x="25274" y="19861"/>
                        <a:pt x="19809" y="26009"/>
                        <a:pt x="12295" y="26009"/>
                      </a:cubicBezTo>
                      <a:cubicBezTo>
                        <a:pt x="5464" y="26009"/>
                        <a:pt x="0" y="20544"/>
                        <a:pt x="0" y="13030"/>
                      </a:cubicBezTo>
                      <a:cubicBezTo>
                        <a:pt x="0" y="5516"/>
                        <a:pt x="6148" y="-631"/>
                        <a:pt x="12978" y="52"/>
                      </a:cubicBezTo>
                    </a:path>
                  </a:pathLst>
                </a:custGeom>
                <a:grpFill/>
                <a:ln w="6825"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80A959C1-D28C-4AB3-821D-2B03A10F6AFD}"/>
                    </a:ext>
                  </a:extLst>
                </p:cNvPr>
                <p:cNvSpPr/>
                <p:nvPr/>
              </p:nvSpPr>
              <p:spPr>
                <a:xfrm>
                  <a:off x="6884150" y="-224351"/>
                  <a:ext cx="25383" cy="25956"/>
                </a:xfrm>
                <a:custGeom>
                  <a:avLst/>
                  <a:gdLst>
                    <a:gd name="connsiteX0" fmla="*/ 13036 w 25383"/>
                    <a:gd name="connsiteY0" fmla="*/ 0 h 25956"/>
                    <a:gd name="connsiteX1" fmla="*/ 25331 w 25383"/>
                    <a:gd name="connsiteY1" fmla="*/ 12978 h 25956"/>
                    <a:gd name="connsiteX2" fmla="*/ 12353 w 25383"/>
                    <a:gd name="connsiteY2" fmla="*/ 25957 h 25956"/>
                    <a:gd name="connsiteX3" fmla="*/ 58 w 25383"/>
                    <a:gd name="connsiteY3" fmla="*/ 12978 h 25956"/>
                    <a:gd name="connsiteX4" fmla="*/ 13036 w 25383"/>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83" h="25956">
                      <a:moveTo>
                        <a:pt x="13036" y="0"/>
                      </a:moveTo>
                      <a:cubicBezTo>
                        <a:pt x="19867" y="0"/>
                        <a:pt x="26015" y="5464"/>
                        <a:pt x="25331" y="12978"/>
                      </a:cubicBezTo>
                      <a:cubicBezTo>
                        <a:pt x="25331" y="19809"/>
                        <a:pt x="19867" y="25957"/>
                        <a:pt x="12353" y="25957"/>
                      </a:cubicBezTo>
                      <a:cubicBezTo>
                        <a:pt x="4839" y="25957"/>
                        <a:pt x="-625" y="20492"/>
                        <a:pt x="58" y="12978"/>
                      </a:cubicBezTo>
                      <a:cubicBezTo>
                        <a:pt x="58" y="5464"/>
                        <a:pt x="6205" y="0"/>
                        <a:pt x="13036" y="0"/>
                      </a:cubicBezTo>
                    </a:path>
                  </a:pathLst>
                </a:custGeom>
                <a:grpFill/>
                <a:ln w="6825"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C5F10751-E6E9-4BA3-8F37-0273D699FCC7}"/>
                    </a:ext>
                  </a:extLst>
                </p:cNvPr>
                <p:cNvSpPr/>
                <p:nvPr/>
              </p:nvSpPr>
              <p:spPr>
                <a:xfrm>
                  <a:off x="6921724" y="-224351"/>
                  <a:ext cx="25377" cy="25956"/>
                </a:xfrm>
                <a:custGeom>
                  <a:avLst/>
                  <a:gdLst>
                    <a:gd name="connsiteX0" fmla="*/ 13030 w 25377"/>
                    <a:gd name="connsiteY0" fmla="*/ 0 h 25956"/>
                    <a:gd name="connsiteX1" fmla="*/ 25326 w 25377"/>
                    <a:gd name="connsiteY1" fmla="*/ 12978 h 25956"/>
                    <a:gd name="connsiteX2" fmla="*/ 12348 w 25377"/>
                    <a:gd name="connsiteY2" fmla="*/ 25957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4"/>
                        <a:pt x="25326" y="12978"/>
                      </a:cubicBezTo>
                      <a:cubicBezTo>
                        <a:pt x="25326" y="19809"/>
                        <a:pt x="19861" y="25957"/>
                        <a:pt x="12348" y="25957"/>
                      </a:cubicBezTo>
                      <a:cubicBezTo>
                        <a:pt x="5517" y="25957"/>
                        <a:pt x="-631" y="20492"/>
                        <a:pt x="52" y="12978"/>
                      </a:cubicBezTo>
                      <a:cubicBezTo>
                        <a:pt x="735" y="5464"/>
                        <a:pt x="6200" y="0"/>
                        <a:pt x="13030" y="0"/>
                      </a:cubicBezTo>
                    </a:path>
                  </a:pathLst>
                </a:custGeom>
                <a:grpFill/>
                <a:ln w="6825"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7348C946-359C-44A2-BA80-C77B32F7BD37}"/>
                    </a:ext>
                  </a:extLst>
                </p:cNvPr>
                <p:cNvSpPr/>
                <p:nvPr/>
              </p:nvSpPr>
              <p:spPr>
                <a:xfrm>
                  <a:off x="6959293" y="-224351"/>
                  <a:ext cx="25377" cy="25956"/>
                </a:xfrm>
                <a:custGeom>
                  <a:avLst/>
                  <a:gdLst>
                    <a:gd name="connsiteX0" fmla="*/ 13030 w 25377"/>
                    <a:gd name="connsiteY0" fmla="*/ 0 h 25956"/>
                    <a:gd name="connsiteX1" fmla="*/ 25326 w 25377"/>
                    <a:gd name="connsiteY1" fmla="*/ 12978 h 25956"/>
                    <a:gd name="connsiteX2" fmla="*/ 12348 w 25377"/>
                    <a:gd name="connsiteY2" fmla="*/ 25957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4"/>
                        <a:pt x="25326" y="12978"/>
                      </a:cubicBezTo>
                      <a:cubicBezTo>
                        <a:pt x="25326" y="19809"/>
                        <a:pt x="19861" y="25957"/>
                        <a:pt x="12348" y="25957"/>
                      </a:cubicBezTo>
                      <a:cubicBezTo>
                        <a:pt x="5517" y="25957"/>
                        <a:pt x="-631" y="20492"/>
                        <a:pt x="52" y="12978"/>
                      </a:cubicBezTo>
                      <a:cubicBezTo>
                        <a:pt x="735" y="5464"/>
                        <a:pt x="6200" y="0"/>
                        <a:pt x="13030" y="0"/>
                      </a:cubicBezTo>
                    </a:path>
                  </a:pathLst>
                </a:custGeom>
                <a:grpFill/>
                <a:ln w="6825"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01B6832C-5211-4E5D-B744-354FB69EF87C}"/>
                    </a:ext>
                  </a:extLst>
                </p:cNvPr>
                <p:cNvSpPr/>
                <p:nvPr/>
              </p:nvSpPr>
              <p:spPr>
                <a:xfrm>
                  <a:off x="6998911" y="-338476"/>
                  <a:ext cx="25377" cy="26008"/>
                </a:xfrm>
                <a:custGeom>
                  <a:avLst/>
                  <a:gdLst>
                    <a:gd name="connsiteX0" fmla="*/ 13030 w 25377"/>
                    <a:gd name="connsiteY0" fmla="*/ 52 h 26008"/>
                    <a:gd name="connsiteX1" fmla="*/ 25325 w 25377"/>
                    <a:gd name="connsiteY1" fmla="*/ 13030 h 26008"/>
                    <a:gd name="connsiteX2" fmla="*/ 12347 w 25377"/>
                    <a:gd name="connsiteY2" fmla="*/ 26009 h 26008"/>
                    <a:gd name="connsiteX3" fmla="*/ 52 w 25377"/>
                    <a:gd name="connsiteY3" fmla="*/ 13030 h 26008"/>
                    <a:gd name="connsiteX4" fmla="*/ 13030 w 25377"/>
                    <a:gd name="connsiteY4" fmla="*/ 52 h 26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6008">
                      <a:moveTo>
                        <a:pt x="13030" y="52"/>
                      </a:moveTo>
                      <a:cubicBezTo>
                        <a:pt x="19861" y="52"/>
                        <a:pt x="26009" y="5517"/>
                        <a:pt x="25325" y="13030"/>
                      </a:cubicBezTo>
                      <a:cubicBezTo>
                        <a:pt x="25325" y="19861"/>
                        <a:pt x="19861" y="26009"/>
                        <a:pt x="12347" y="26009"/>
                      </a:cubicBezTo>
                      <a:cubicBezTo>
                        <a:pt x="5517" y="26009"/>
                        <a:pt x="-631" y="20544"/>
                        <a:pt x="52" y="13030"/>
                      </a:cubicBezTo>
                      <a:cubicBezTo>
                        <a:pt x="52" y="5517"/>
                        <a:pt x="6199" y="-631"/>
                        <a:pt x="13030" y="52"/>
                      </a:cubicBezTo>
                    </a:path>
                  </a:pathLst>
                </a:custGeom>
                <a:grpFill/>
                <a:ln w="6825"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86E8AFC4-4389-4125-AB53-1EB8D4AB0306}"/>
                    </a:ext>
                  </a:extLst>
                </p:cNvPr>
                <p:cNvSpPr/>
                <p:nvPr/>
              </p:nvSpPr>
              <p:spPr>
                <a:xfrm>
                  <a:off x="6998911" y="-300855"/>
                  <a:ext cx="25377" cy="25956"/>
                </a:xfrm>
                <a:custGeom>
                  <a:avLst/>
                  <a:gdLst>
                    <a:gd name="connsiteX0" fmla="*/ 13030 w 25377"/>
                    <a:gd name="connsiteY0" fmla="*/ 0 h 25956"/>
                    <a:gd name="connsiteX1" fmla="*/ 25325 w 25377"/>
                    <a:gd name="connsiteY1" fmla="*/ 12978 h 25956"/>
                    <a:gd name="connsiteX2" fmla="*/ 12347 w 25377"/>
                    <a:gd name="connsiteY2" fmla="*/ 25957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5"/>
                        <a:pt x="25325" y="12978"/>
                      </a:cubicBezTo>
                      <a:cubicBezTo>
                        <a:pt x="25325" y="19809"/>
                        <a:pt x="19861" y="25957"/>
                        <a:pt x="12347" y="25957"/>
                      </a:cubicBezTo>
                      <a:cubicBezTo>
                        <a:pt x="5517" y="25957"/>
                        <a:pt x="-631" y="20492"/>
                        <a:pt x="52" y="12978"/>
                      </a:cubicBezTo>
                      <a:cubicBezTo>
                        <a:pt x="52" y="5465"/>
                        <a:pt x="6199" y="0"/>
                        <a:pt x="13030" y="0"/>
                      </a:cubicBezTo>
                    </a:path>
                  </a:pathLst>
                </a:custGeom>
                <a:grpFill/>
                <a:ln w="6825"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6BA9D3F6-DE02-4DE6-8FA4-E0CB4FA23DDA}"/>
                    </a:ext>
                  </a:extLst>
                </p:cNvPr>
                <p:cNvSpPr/>
                <p:nvPr/>
              </p:nvSpPr>
              <p:spPr>
                <a:xfrm>
                  <a:off x="6998906" y="-261920"/>
                  <a:ext cx="25382" cy="25956"/>
                </a:xfrm>
                <a:custGeom>
                  <a:avLst/>
                  <a:gdLst>
                    <a:gd name="connsiteX0" fmla="*/ 13036 w 25382"/>
                    <a:gd name="connsiteY0" fmla="*/ 0 h 25956"/>
                    <a:gd name="connsiteX1" fmla="*/ 25331 w 25382"/>
                    <a:gd name="connsiteY1" fmla="*/ 12978 h 25956"/>
                    <a:gd name="connsiteX2" fmla="*/ 12353 w 25382"/>
                    <a:gd name="connsiteY2" fmla="*/ 25956 h 25956"/>
                    <a:gd name="connsiteX3" fmla="*/ 58 w 25382"/>
                    <a:gd name="connsiteY3" fmla="*/ 12978 h 25956"/>
                    <a:gd name="connsiteX4" fmla="*/ 13036 w 25382"/>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82" h="25956">
                      <a:moveTo>
                        <a:pt x="13036" y="0"/>
                      </a:moveTo>
                      <a:cubicBezTo>
                        <a:pt x="19866" y="0"/>
                        <a:pt x="26014" y="5464"/>
                        <a:pt x="25331" y="12978"/>
                      </a:cubicBezTo>
                      <a:cubicBezTo>
                        <a:pt x="25331" y="19809"/>
                        <a:pt x="19866" y="25956"/>
                        <a:pt x="12353" y="25956"/>
                      </a:cubicBezTo>
                      <a:cubicBezTo>
                        <a:pt x="4839" y="25956"/>
                        <a:pt x="-626" y="20492"/>
                        <a:pt x="58" y="12978"/>
                      </a:cubicBezTo>
                      <a:cubicBezTo>
                        <a:pt x="58" y="5464"/>
                        <a:pt x="5522" y="0"/>
                        <a:pt x="13036" y="0"/>
                      </a:cubicBezTo>
                    </a:path>
                  </a:pathLst>
                </a:custGeom>
                <a:grpFill/>
                <a:ln w="6825"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95C85283-B1A9-42F2-9A6D-5F9EA48ED310}"/>
                    </a:ext>
                  </a:extLst>
                </p:cNvPr>
                <p:cNvSpPr/>
                <p:nvPr/>
              </p:nvSpPr>
              <p:spPr>
                <a:xfrm>
                  <a:off x="6808387" y="-185417"/>
                  <a:ext cx="25325" cy="25956"/>
                </a:xfrm>
                <a:custGeom>
                  <a:avLst/>
                  <a:gdLst>
                    <a:gd name="connsiteX0" fmla="*/ 12978 w 25325"/>
                    <a:gd name="connsiteY0" fmla="*/ 0 h 25956"/>
                    <a:gd name="connsiteX1" fmla="*/ 25274 w 25325"/>
                    <a:gd name="connsiteY1" fmla="*/ 12978 h 25956"/>
                    <a:gd name="connsiteX2" fmla="*/ 12295 w 25325"/>
                    <a:gd name="connsiteY2" fmla="*/ 25956 h 25956"/>
                    <a:gd name="connsiteX3" fmla="*/ 0 w 25325"/>
                    <a:gd name="connsiteY3" fmla="*/ 12978 h 25956"/>
                    <a:gd name="connsiteX4" fmla="*/ 12978 w 25325"/>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25" h="25956">
                      <a:moveTo>
                        <a:pt x="12978" y="0"/>
                      </a:moveTo>
                      <a:cubicBezTo>
                        <a:pt x="19809" y="0"/>
                        <a:pt x="25956" y="5464"/>
                        <a:pt x="25274" y="12978"/>
                      </a:cubicBezTo>
                      <a:cubicBezTo>
                        <a:pt x="25274" y="19809"/>
                        <a:pt x="19809" y="25956"/>
                        <a:pt x="12295" y="25956"/>
                      </a:cubicBezTo>
                      <a:cubicBezTo>
                        <a:pt x="5464" y="25956"/>
                        <a:pt x="0" y="20492"/>
                        <a:pt x="0" y="12978"/>
                      </a:cubicBezTo>
                      <a:cubicBezTo>
                        <a:pt x="0" y="5464"/>
                        <a:pt x="5464" y="0"/>
                        <a:pt x="12978" y="0"/>
                      </a:cubicBezTo>
                    </a:path>
                  </a:pathLst>
                </a:custGeom>
                <a:grpFill/>
                <a:ln w="6825"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29A52C02-6A0A-4074-9CCC-224A914D829C}"/>
                    </a:ext>
                  </a:extLst>
                </p:cNvPr>
                <p:cNvSpPr/>
                <p:nvPr/>
              </p:nvSpPr>
              <p:spPr>
                <a:xfrm>
                  <a:off x="6845904" y="-185417"/>
                  <a:ext cx="25377" cy="25956"/>
                </a:xfrm>
                <a:custGeom>
                  <a:avLst/>
                  <a:gdLst>
                    <a:gd name="connsiteX0" fmla="*/ 13030 w 25377"/>
                    <a:gd name="connsiteY0" fmla="*/ 0 h 25956"/>
                    <a:gd name="connsiteX1" fmla="*/ 25326 w 25377"/>
                    <a:gd name="connsiteY1" fmla="*/ 12978 h 25956"/>
                    <a:gd name="connsiteX2" fmla="*/ 12347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8" y="5464"/>
                        <a:pt x="25326" y="12978"/>
                      </a:cubicBezTo>
                      <a:cubicBezTo>
                        <a:pt x="25326" y="19809"/>
                        <a:pt x="19861" y="25956"/>
                        <a:pt x="12347" y="25956"/>
                      </a:cubicBezTo>
                      <a:cubicBezTo>
                        <a:pt x="5516" y="25956"/>
                        <a:pt x="-631" y="20492"/>
                        <a:pt x="52" y="12978"/>
                      </a:cubicBezTo>
                      <a:cubicBezTo>
                        <a:pt x="52" y="6148"/>
                        <a:pt x="5516" y="0"/>
                        <a:pt x="13030" y="0"/>
                      </a:cubicBezTo>
                    </a:path>
                  </a:pathLst>
                </a:custGeom>
                <a:grpFill/>
                <a:ln w="6825"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CC747F11-A375-4957-98E6-FEA7EEEA1D3C}"/>
                    </a:ext>
                  </a:extLst>
                </p:cNvPr>
                <p:cNvSpPr/>
                <p:nvPr/>
              </p:nvSpPr>
              <p:spPr>
                <a:xfrm>
                  <a:off x="6884150" y="-184785"/>
                  <a:ext cx="25383" cy="26008"/>
                </a:xfrm>
                <a:custGeom>
                  <a:avLst/>
                  <a:gdLst>
                    <a:gd name="connsiteX0" fmla="*/ 13036 w 25383"/>
                    <a:gd name="connsiteY0" fmla="*/ 52 h 26008"/>
                    <a:gd name="connsiteX1" fmla="*/ 25331 w 25383"/>
                    <a:gd name="connsiteY1" fmla="*/ 13030 h 26008"/>
                    <a:gd name="connsiteX2" fmla="*/ 12353 w 25383"/>
                    <a:gd name="connsiteY2" fmla="*/ 26008 h 26008"/>
                    <a:gd name="connsiteX3" fmla="*/ 58 w 25383"/>
                    <a:gd name="connsiteY3" fmla="*/ 13030 h 26008"/>
                    <a:gd name="connsiteX4" fmla="*/ 13036 w 25383"/>
                    <a:gd name="connsiteY4" fmla="*/ 52 h 26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83" h="26008">
                      <a:moveTo>
                        <a:pt x="13036" y="52"/>
                      </a:moveTo>
                      <a:cubicBezTo>
                        <a:pt x="19867" y="52"/>
                        <a:pt x="26015" y="5516"/>
                        <a:pt x="25331" y="13030"/>
                      </a:cubicBezTo>
                      <a:cubicBezTo>
                        <a:pt x="25331" y="19861"/>
                        <a:pt x="19867" y="26008"/>
                        <a:pt x="12353" y="26008"/>
                      </a:cubicBezTo>
                      <a:cubicBezTo>
                        <a:pt x="4839" y="26008"/>
                        <a:pt x="-625" y="20544"/>
                        <a:pt x="58" y="13030"/>
                      </a:cubicBezTo>
                      <a:cubicBezTo>
                        <a:pt x="58" y="5516"/>
                        <a:pt x="6205" y="-631"/>
                        <a:pt x="13036" y="52"/>
                      </a:cubicBezTo>
                    </a:path>
                  </a:pathLst>
                </a:custGeom>
                <a:grpFill/>
                <a:ln w="6825"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1D6FCE91-56B6-4427-A537-8106856B5A23}"/>
                    </a:ext>
                  </a:extLst>
                </p:cNvPr>
                <p:cNvSpPr/>
                <p:nvPr/>
              </p:nvSpPr>
              <p:spPr>
                <a:xfrm>
                  <a:off x="6921724" y="-184733"/>
                  <a:ext cx="25377" cy="25956"/>
                </a:xfrm>
                <a:custGeom>
                  <a:avLst/>
                  <a:gdLst>
                    <a:gd name="connsiteX0" fmla="*/ 13030 w 25377"/>
                    <a:gd name="connsiteY0" fmla="*/ 0 h 25956"/>
                    <a:gd name="connsiteX1" fmla="*/ 25326 w 25377"/>
                    <a:gd name="connsiteY1" fmla="*/ 12978 h 25956"/>
                    <a:gd name="connsiteX2" fmla="*/ 12348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4"/>
                        <a:pt x="25326" y="12978"/>
                      </a:cubicBezTo>
                      <a:cubicBezTo>
                        <a:pt x="24643" y="20492"/>
                        <a:pt x="19861" y="25956"/>
                        <a:pt x="12348" y="25956"/>
                      </a:cubicBezTo>
                      <a:cubicBezTo>
                        <a:pt x="5517" y="25956"/>
                        <a:pt x="-631" y="20492"/>
                        <a:pt x="52" y="12978"/>
                      </a:cubicBezTo>
                      <a:cubicBezTo>
                        <a:pt x="52" y="5464"/>
                        <a:pt x="6200" y="0"/>
                        <a:pt x="13030" y="0"/>
                      </a:cubicBezTo>
                    </a:path>
                  </a:pathLst>
                </a:custGeom>
                <a:grpFill/>
                <a:ln w="6825"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E933EFA2-84A3-4933-AF56-6C85278B21DF}"/>
                    </a:ext>
                  </a:extLst>
                </p:cNvPr>
                <p:cNvSpPr/>
                <p:nvPr/>
              </p:nvSpPr>
              <p:spPr>
                <a:xfrm>
                  <a:off x="7036480" y="-300855"/>
                  <a:ext cx="25377" cy="25956"/>
                </a:xfrm>
                <a:custGeom>
                  <a:avLst/>
                  <a:gdLst>
                    <a:gd name="connsiteX0" fmla="*/ 13030 w 25377"/>
                    <a:gd name="connsiteY0" fmla="*/ 0 h 25956"/>
                    <a:gd name="connsiteX1" fmla="*/ 25325 w 25377"/>
                    <a:gd name="connsiteY1" fmla="*/ 12978 h 25956"/>
                    <a:gd name="connsiteX2" fmla="*/ 12347 w 25377"/>
                    <a:gd name="connsiteY2" fmla="*/ 25957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5"/>
                        <a:pt x="25325" y="12978"/>
                      </a:cubicBezTo>
                      <a:cubicBezTo>
                        <a:pt x="25325" y="19809"/>
                        <a:pt x="19861" y="25957"/>
                        <a:pt x="12347" y="25957"/>
                      </a:cubicBezTo>
                      <a:cubicBezTo>
                        <a:pt x="5517" y="25957"/>
                        <a:pt x="-631" y="20492"/>
                        <a:pt x="52" y="12978"/>
                      </a:cubicBezTo>
                      <a:cubicBezTo>
                        <a:pt x="52" y="5465"/>
                        <a:pt x="6199" y="0"/>
                        <a:pt x="13030" y="0"/>
                      </a:cubicBezTo>
                    </a:path>
                  </a:pathLst>
                </a:custGeom>
                <a:grpFill/>
                <a:ln w="6825"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E064CA80-99EA-48C5-9A53-A85B7BA75FCE}"/>
                    </a:ext>
                  </a:extLst>
                </p:cNvPr>
                <p:cNvSpPr/>
                <p:nvPr/>
              </p:nvSpPr>
              <p:spPr>
                <a:xfrm>
                  <a:off x="6964075" y="-415610"/>
                  <a:ext cx="25377" cy="25956"/>
                </a:xfrm>
                <a:custGeom>
                  <a:avLst/>
                  <a:gdLst>
                    <a:gd name="connsiteX0" fmla="*/ 13030 w 25377"/>
                    <a:gd name="connsiteY0" fmla="*/ 0 h 25956"/>
                    <a:gd name="connsiteX1" fmla="*/ 25326 w 25377"/>
                    <a:gd name="connsiteY1" fmla="*/ 12978 h 25956"/>
                    <a:gd name="connsiteX2" fmla="*/ 12347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8" y="5464"/>
                        <a:pt x="25326" y="12978"/>
                      </a:cubicBezTo>
                      <a:cubicBezTo>
                        <a:pt x="25326" y="19809"/>
                        <a:pt x="19861" y="25956"/>
                        <a:pt x="12347" y="25956"/>
                      </a:cubicBezTo>
                      <a:cubicBezTo>
                        <a:pt x="5516" y="25956"/>
                        <a:pt x="-631" y="20492"/>
                        <a:pt x="52" y="12978"/>
                      </a:cubicBezTo>
                      <a:cubicBezTo>
                        <a:pt x="52" y="5464"/>
                        <a:pt x="6200" y="0"/>
                        <a:pt x="13030" y="0"/>
                      </a:cubicBezTo>
                    </a:path>
                  </a:pathLst>
                </a:custGeom>
                <a:grpFill/>
                <a:ln w="6825"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40B34466-7B20-4AA4-9249-920AC5A4BB67}"/>
                    </a:ext>
                  </a:extLst>
                </p:cNvPr>
                <p:cNvSpPr/>
                <p:nvPr/>
              </p:nvSpPr>
              <p:spPr>
                <a:xfrm>
                  <a:off x="7001643" y="-377358"/>
                  <a:ext cx="25377" cy="25956"/>
                </a:xfrm>
                <a:custGeom>
                  <a:avLst/>
                  <a:gdLst>
                    <a:gd name="connsiteX0" fmla="*/ 13030 w 25377"/>
                    <a:gd name="connsiteY0" fmla="*/ 0 h 25956"/>
                    <a:gd name="connsiteX1" fmla="*/ 25326 w 25377"/>
                    <a:gd name="connsiteY1" fmla="*/ 12978 h 25956"/>
                    <a:gd name="connsiteX2" fmla="*/ 12347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8" y="5464"/>
                        <a:pt x="25326" y="12978"/>
                      </a:cubicBezTo>
                      <a:cubicBezTo>
                        <a:pt x="25326" y="19809"/>
                        <a:pt x="19861" y="25956"/>
                        <a:pt x="12347" y="25956"/>
                      </a:cubicBezTo>
                      <a:cubicBezTo>
                        <a:pt x="5516" y="25956"/>
                        <a:pt x="-631" y="20492"/>
                        <a:pt x="52" y="12978"/>
                      </a:cubicBezTo>
                      <a:cubicBezTo>
                        <a:pt x="52" y="6148"/>
                        <a:pt x="5516" y="0"/>
                        <a:pt x="13030" y="0"/>
                      </a:cubicBezTo>
                    </a:path>
                  </a:pathLst>
                </a:custGeom>
                <a:grpFill/>
                <a:ln w="6825"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30FF89D7-788D-4517-A07F-A3020B535D87}"/>
                    </a:ext>
                  </a:extLst>
                </p:cNvPr>
                <p:cNvSpPr/>
                <p:nvPr/>
              </p:nvSpPr>
              <p:spPr>
                <a:xfrm>
                  <a:off x="7001643" y="-415610"/>
                  <a:ext cx="25377" cy="25956"/>
                </a:xfrm>
                <a:custGeom>
                  <a:avLst/>
                  <a:gdLst>
                    <a:gd name="connsiteX0" fmla="*/ 13030 w 25377"/>
                    <a:gd name="connsiteY0" fmla="*/ 0 h 25956"/>
                    <a:gd name="connsiteX1" fmla="*/ 25326 w 25377"/>
                    <a:gd name="connsiteY1" fmla="*/ 12978 h 25956"/>
                    <a:gd name="connsiteX2" fmla="*/ 12347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8" y="5464"/>
                        <a:pt x="25326" y="12978"/>
                      </a:cubicBezTo>
                      <a:cubicBezTo>
                        <a:pt x="25326" y="19809"/>
                        <a:pt x="19861" y="25956"/>
                        <a:pt x="12347" y="25956"/>
                      </a:cubicBezTo>
                      <a:cubicBezTo>
                        <a:pt x="5516" y="25956"/>
                        <a:pt x="-631" y="20492"/>
                        <a:pt x="52" y="12978"/>
                      </a:cubicBezTo>
                      <a:cubicBezTo>
                        <a:pt x="52" y="5464"/>
                        <a:pt x="6200" y="0"/>
                        <a:pt x="13030" y="0"/>
                      </a:cubicBezTo>
                    </a:path>
                  </a:pathLst>
                </a:custGeom>
                <a:grpFill/>
                <a:ln w="6825"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ABF4F022-C446-4CAF-8418-CC9CD5A34784}"/>
                    </a:ext>
                  </a:extLst>
                </p:cNvPr>
                <p:cNvSpPr/>
                <p:nvPr/>
              </p:nvSpPr>
              <p:spPr>
                <a:xfrm>
                  <a:off x="7039890" y="-376676"/>
                  <a:ext cx="25382" cy="25956"/>
                </a:xfrm>
                <a:custGeom>
                  <a:avLst/>
                  <a:gdLst>
                    <a:gd name="connsiteX0" fmla="*/ 13036 w 25382"/>
                    <a:gd name="connsiteY0" fmla="*/ 0 h 25956"/>
                    <a:gd name="connsiteX1" fmla="*/ 25331 w 25382"/>
                    <a:gd name="connsiteY1" fmla="*/ 12978 h 25956"/>
                    <a:gd name="connsiteX2" fmla="*/ 12353 w 25382"/>
                    <a:gd name="connsiteY2" fmla="*/ 25957 h 25956"/>
                    <a:gd name="connsiteX3" fmla="*/ 58 w 25382"/>
                    <a:gd name="connsiteY3" fmla="*/ 12978 h 25956"/>
                    <a:gd name="connsiteX4" fmla="*/ 13036 w 25382"/>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82" h="25956">
                      <a:moveTo>
                        <a:pt x="13036" y="0"/>
                      </a:moveTo>
                      <a:cubicBezTo>
                        <a:pt x="19866" y="0"/>
                        <a:pt x="26014" y="5465"/>
                        <a:pt x="25331" y="12978"/>
                      </a:cubicBezTo>
                      <a:cubicBezTo>
                        <a:pt x="25331" y="19809"/>
                        <a:pt x="19866" y="25957"/>
                        <a:pt x="12353" y="25957"/>
                      </a:cubicBezTo>
                      <a:cubicBezTo>
                        <a:pt x="4839" y="25957"/>
                        <a:pt x="-626" y="20492"/>
                        <a:pt x="58" y="12978"/>
                      </a:cubicBezTo>
                      <a:cubicBezTo>
                        <a:pt x="58" y="5465"/>
                        <a:pt x="6205" y="0"/>
                        <a:pt x="13036" y="0"/>
                      </a:cubicBezTo>
                    </a:path>
                  </a:pathLst>
                </a:custGeom>
                <a:grpFill/>
                <a:ln w="6825"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13D4D52E-9D3A-4835-8D23-EFD9FCB12BBB}"/>
                    </a:ext>
                  </a:extLst>
                </p:cNvPr>
                <p:cNvSpPr/>
                <p:nvPr/>
              </p:nvSpPr>
              <p:spPr>
                <a:xfrm>
                  <a:off x="7039895" y="-339107"/>
                  <a:ext cx="25377" cy="25956"/>
                </a:xfrm>
                <a:custGeom>
                  <a:avLst/>
                  <a:gdLst>
                    <a:gd name="connsiteX0" fmla="*/ 13030 w 25377"/>
                    <a:gd name="connsiteY0" fmla="*/ 0 h 25956"/>
                    <a:gd name="connsiteX1" fmla="*/ 25325 w 25377"/>
                    <a:gd name="connsiteY1" fmla="*/ 12978 h 25956"/>
                    <a:gd name="connsiteX2" fmla="*/ 12347 w 25377"/>
                    <a:gd name="connsiteY2" fmla="*/ 25957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5"/>
                        <a:pt x="25325" y="12978"/>
                      </a:cubicBezTo>
                      <a:cubicBezTo>
                        <a:pt x="25325" y="19809"/>
                        <a:pt x="19861" y="25957"/>
                        <a:pt x="12347" y="25957"/>
                      </a:cubicBezTo>
                      <a:cubicBezTo>
                        <a:pt x="5517" y="25957"/>
                        <a:pt x="-631" y="20492"/>
                        <a:pt x="52" y="12978"/>
                      </a:cubicBezTo>
                      <a:cubicBezTo>
                        <a:pt x="52" y="5465"/>
                        <a:pt x="5517" y="0"/>
                        <a:pt x="13030" y="0"/>
                      </a:cubicBezTo>
                    </a:path>
                  </a:pathLst>
                </a:custGeom>
                <a:grpFill/>
                <a:ln w="6825"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5317E5F9-4271-4A64-9E59-40FCF747E343}"/>
                    </a:ext>
                  </a:extLst>
                </p:cNvPr>
                <p:cNvSpPr/>
                <p:nvPr/>
              </p:nvSpPr>
              <p:spPr>
                <a:xfrm>
                  <a:off x="7039895" y="-415610"/>
                  <a:ext cx="25377" cy="25956"/>
                </a:xfrm>
                <a:custGeom>
                  <a:avLst/>
                  <a:gdLst>
                    <a:gd name="connsiteX0" fmla="*/ 13030 w 25377"/>
                    <a:gd name="connsiteY0" fmla="*/ 0 h 25956"/>
                    <a:gd name="connsiteX1" fmla="*/ 25325 w 25377"/>
                    <a:gd name="connsiteY1" fmla="*/ 12978 h 25956"/>
                    <a:gd name="connsiteX2" fmla="*/ 12347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4"/>
                        <a:pt x="25325" y="12978"/>
                      </a:cubicBezTo>
                      <a:cubicBezTo>
                        <a:pt x="25325" y="19809"/>
                        <a:pt x="19861" y="25956"/>
                        <a:pt x="12347" y="25956"/>
                      </a:cubicBezTo>
                      <a:cubicBezTo>
                        <a:pt x="5517" y="25956"/>
                        <a:pt x="-631" y="20492"/>
                        <a:pt x="52" y="12978"/>
                      </a:cubicBezTo>
                      <a:cubicBezTo>
                        <a:pt x="52" y="5464"/>
                        <a:pt x="6199" y="0"/>
                        <a:pt x="13030" y="0"/>
                      </a:cubicBezTo>
                    </a:path>
                  </a:pathLst>
                </a:custGeom>
                <a:grpFill/>
                <a:ln w="6825"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2DB488DF-05AB-4A52-9F9A-416F68F0D60A}"/>
                    </a:ext>
                  </a:extLst>
                </p:cNvPr>
                <p:cNvSpPr/>
                <p:nvPr/>
              </p:nvSpPr>
              <p:spPr>
                <a:xfrm>
                  <a:off x="7077464" y="-376676"/>
                  <a:ext cx="25377" cy="25956"/>
                </a:xfrm>
                <a:custGeom>
                  <a:avLst/>
                  <a:gdLst>
                    <a:gd name="connsiteX0" fmla="*/ 13030 w 25377"/>
                    <a:gd name="connsiteY0" fmla="*/ 0 h 25956"/>
                    <a:gd name="connsiteX1" fmla="*/ 25325 w 25377"/>
                    <a:gd name="connsiteY1" fmla="*/ 12978 h 25956"/>
                    <a:gd name="connsiteX2" fmla="*/ 12347 w 25377"/>
                    <a:gd name="connsiteY2" fmla="*/ 25957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5"/>
                        <a:pt x="25325" y="12978"/>
                      </a:cubicBezTo>
                      <a:cubicBezTo>
                        <a:pt x="25325" y="19809"/>
                        <a:pt x="19861" y="25957"/>
                        <a:pt x="12347" y="25957"/>
                      </a:cubicBezTo>
                      <a:cubicBezTo>
                        <a:pt x="5517" y="25957"/>
                        <a:pt x="-631" y="20492"/>
                        <a:pt x="52" y="12978"/>
                      </a:cubicBezTo>
                      <a:cubicBezTo>
                        <a:pt x="52" y="5465"/>
                        <a:pt x="6199" y="0"/>
                        <a:pt x="13030" y="0"/>
                      </a:cubicBezTo>
                    </a:path>
                  </a:pathLst>
                </a:custGeom>
                <a:grpFill/>
                <a:ln w="6825"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AA2264FD-560D-4080-91FB-C58DAC836D32}"/>
                    </a:ext>
                  </a:extLst>
                </p:cNvPr>
                <p:cNvSpPr/>
                <p:nvPr/>
              </p:nvSpPr>
              <p:spPr>
                <a:xfrm>
                  <a:off x="7077464" y="-339107"/>
                  <a:ext cx="25377" cy="25956"/>
                </a:xfrm>
                <a:custGeom>
                  <a:avLst/>
                  <a:gdLst>
                    <a:gd name="connsiteX0" fmla="*/ 13030 w 25377"/>
                    <a:gd name="connsiteY0" fmla="*/ 0 h 25956"/>
                    <a:gd name="connsiteX1" fmla="*/ 25325 w 25377"/>
                    <a:gd name="connsiteY1" fmla="*/ 12978 h 25956"/>
                    <a:gd name="connsiteX2" fmla="*/ 12347 w 25377"/>
                    <a:gd name="connsiteY2" fmla="*/ 25957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5"/>
                        <a:pt x="25325" y="12978"/>
                      </a:cubicBezTo>
                      <a:cubicBezTo>
                        <a:pt x="25325" y="19809"/>
                        <a:pt x="19861" y="25957"/>
                        <a:pt x="12347" y="25957"/>
                      </a:cubicBezTo>
                      <a:cubicBezTo>
                        <a:pt x="5517" y="25957"/>
                        <a:pt x="-631" y="20492"/>
                        <a:pt x="52" y="12978"/>
                      </a:cubicBezTo>
                      <a:cubicBezTo>
                        <a:pt x="52" y="5465"/>
                        <a:pt x="6199" y="0"/>
                        <a:pt x="13030" y="0"/>
                      </a:cubicBezTo>
                    </a:path>
                  </a:pathLst>
                </a:custGeom>
                <a:grpFill/>
                <a:ln w="6825" cap="flat">
                  <a:noFill/>
                  <a:prstDash val="solid"/>
                  <a:miter/>
                </a:ln>
              </p:spPr>
              <p:txBody>
                <a:bodyPr rtlCol="0" anchor="ctr"/>
                <a:lstStyle/>
                <a:p>
                  <a:endParaRPr lang="en-US"/>
                </a:p>
              </p:txBody>
            </p:sp>
            <p:sp>
              <p:nvSpPr>
                <p:cNvPr id="93" name="Freeform: Shape 92">
                  <a:extLst>
                    <a:ext uri="{FF2B5EF4-FFF2-40B4-BE49-F238E27FC236}">
                      <a16:creationId xmlns:a16="http://schemas.microsoft.com/office/drawing/2014/main" id="{7A31C0CF-C5B7-416E-A897-39A59364FDA2}"/>
                    </a:ext>
                  </a:extLst>
                </p:cNvPr>
                <p:cNvSpPr/>
                <p:nvPr/>
              </p:nvSpPr>
              <p:spPr>
                <a:xfrm>
                  <a:off x="7077459" y="-415610"/>
                  <a:ext cx="25382" cy="25956"/>
                </a:xfrm>
                <a:custGeom>
                  <a:avLst/>
                  <a:gdLst>
                    <a:gd name="connsiteX0" fmla="*/ 13036 w 25382"/>
                    <a:gd name="connsiteY0" fmla="*/ 0 h 25956"/>
                    <a:gd name="connsiteX1" fmla="*/ 25331 w 25382"/>
                    <a:gd name="connsiteY1" fmla="*/ 12978 h 25956"/>
                    <a:gd name="connsiteX2" fmla="*/ 12353 w 25382"/>
                    <a:gd name="connsiteY2" fmla="*/ 25956 h 25956"/>
                    <a:gd name="connsiteX3" fmla="*/ 58 w 25382"/>
                    <a:gd name="connsiteY3" fmla="*/ 12978 h 25956"/>
                    <a:gd name="connsiteX4" fmla="*/ 13036 w 25382"/>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82" h="25956">
                      <a:moveTo>
                        <a:pt x="13036" y="0"/>
                      </a:moveTo>
                      <a:cubicBezTo>
                        <a:pt x="19866" y="0"/>
                        <a:pt x="26014" y="5464"/>
                        <a:pt x="25331" y="12978"/>
                      </a:cubicBezTo>
                      <a:cubicBezTo>
                        <a:pt x="25331" y="19809"/>
                        <a:pt x="19866" y="25956"/>
                        <a:pt x="12353" y="25956"/>
                      </a:cubicBezTo>
                      <a:cubicBezTo>
                        <a:pt x="4839" y="25956"/>
                        <a:pt x="-626" y="20492"/>
                        <a:pt x="58" y="12978"/>
                      </a:cubicBezTo>
                      <a:cubicBezTo>
                        <a:pt x="741" y="5464"/>
                        <a:pt x="6205" y="0"/>
                        <a:pt x="13036" y="0"/>
                      </a:cubicBezTo>
                    </a:path>
                  </a:pathLst>
                </a:custGeom>
                <a:grpFill/>
                <a:ln w="6825" cap="flat">
                  <a:noFill/>
                  <a:prstDash val="solid"/>
                  <a:miter/>
                </a:ln>
              </p:spPr>
              <p:txBody>
                <a:bodyPr rtlCol="0" anchor="ctr"/>
                <a:lstStyle/>
                <a:p>
                  <a:endParaRPr lang="en-US"/>
                </a:p>
              </p:txBody>
            </p:sp>
            <p:sp>
              <p:nvSpPr>
                <p:cNvPr id="94" name="Freeform: Shape 93">
                  <a:extLst>
                    <a:ext uri="{FF2B5EF4-FFF2-40B4-BE49-F238E27FC236}">
                      <a16:creationId xmlns:a16="http://schemas.microsoft.com/office/drawing/2014/main" id="{7255F83F-6B98-40B8-9D3D-7F8FBFFC2E85}"/>
                    </a:ext>
                  </a:extLst>
                </p:cNvPr>
                <p:cNvSpPr/>
                <p:nvPr/>
              </p:nvSpPr>
              <p:spPr>
                <a:xfrm>
                  <a:off x="7115033" y="-376676"/>
                  <a:ext cx="25377" cy="25956"/>
                </a:xfrm>
                <a:custGeom>
                  <a:avLst/>
                  <a:gdLst>
                    <a:gd name="connsiteX0" fmla="*/ 13030 w 25377"/>
                    <a:gd name="connsiteY0" fmla="*/ 0 h 25956"/>
                    <a:gd name="connsiteX1" fmla="*/ 25325 w 25377"/>
                    <a:gd name="connsiteY1" fmla="*/ 12978 h 25956"/>
                    <a:gd name="connsiteX2" fmla="*/ 12347 w 25377"/>
                    <a:gd name="connsiteY2" fmla="*/ 25957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5"/>
                        <a:pt x="25325" y="12978"/>
                      </a:cubicBezTo>
                      <a:cubicBezTo>
                        <a:pt x="25325" y="19809"/>
                        <a:pt x="19861" y="25957"/>
                        <a:pt x="12347" y="25957"/>
                      </a:cubicBezTo>
                      <a:cubicBezTo>
                        <a:pt x="5517" y="25957"/>
                        <a:pt x="-631" y="20492"/>
                        <a:pt x="52" y="12978"/>
                      </a:cubicBezTo>
                      <a:cubicBezTo>
                        <a:pt x="52" y="5465"/>
                        <a:pt x="6199" y="0"/>
                        <a:pt x="13030" y="0"/>
                      </a:cubicBezTo>
                    </a:path>
                  </a:pathLst>
                </a:custGeom>
                <a:grpFill/>
                <a:ln w="6825"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7B12F347-AEC8-4BAB-BA66-ED20BE63A996}"/>
                    </a:ext>
                  </a:extLst>
                </p:cNvPr>
                <p:cNvSpPr/>
                <p:nvPr/>
              </p:nvSpPr>
              <p:spPr>
                <a:xfrm>
                  <a:off x="7115033" y="-339107"/>
                  <a:ext cx="25377" cy="25956"/>
                </a:xfrm>
                <a:custGeom>
                  <a:avLst/>
                  <a:gdLst>
                    <a:gd name="connsiteX0" fmla="*/ 13030 w 25377"/>
                    <a:gd name="connsiteY0" fmla="*/ 0 h 25956"/>
                    <a:gd name="connsiteX1" fmla="*/ 25325 w 25377"/>
                    <a:gd name="connsiteY1" fmla="*/ 12978 h 25956"/>
                    <a:gd name="connsiteX2" fmla="*/ 12347 w 25377"/>
                    <a:gd name="connsiteY2" fmla="*/ 25957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5"/>
                        <a:pt x="25325" y="12978"/>
                      </a:cubicBezTo>
                      <a:cubicBezTo>
                        <a:pt x="25325" y="19809"/>
                        <a:pt x="19861" y="25957"/>
                        <a:pt x="12347" y="25957"/>
                      </a:cubicBezTo>
                      <a:cubicBezTo>
                        <a:pt x="5517" y="25957"/>
                        <a:pt x="-631" y="20492"/>
                        <a:pt x="52" y="12978"/>
                      </a:cubicBezTo>
                      <a:cubicBezTo>
                        <a:pt x="52" y="6148"/>
                        <a:pt x="6199" y="0"/>
                        <a:pt x="13030" y="0"/>
                      </a:cubicBezTo>
                    </a:path>
                  </a:pathLst>
                </a:custGeom>
                <a:grpFill/>
                <a:ln w="6825"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D7DC2FAB-1A34-4038-A059-53D74CE8EFE2}"/>
                    </a:ext>
                  </a:extLst>
                </p:cNvPr>
                <p:cNvSpPr/>
                <p:nvPr/>
              </p:nvSpPr>
              <p:spPr>
                <a:xfrm>
                  <a:off x="7077464" y="-300855"/>
                  <a:ext cx="25377" cy="25956"/>
                </a:xfrm>
                <a:custGeom>
                  <a:avLst/>
                  <a:gdLst>
                    <a:gd name="connsiteX0" fmla="*/ 13030 w 25377"/>
                    <a:gd name="connsiteY0" fmla="*/ 0 h 25956"/>
                    <a:gd name="connsiteX1" fmla="*/ 25325 w 25377"/>
                    <a:gd name="connsiteY1" fmla="*/ 12978 h 25956"/>
                    <a:gd name="connsiteX2" fmla="*/ 12347 w 25377"/>
                    <a:gd name="connsiteY2" fmla="*/ 25957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5"/>
                        <a:pt x="25325" y="12978"/>
                      </a:cubicBezTo>
                      <a:cubicBezTo>
                        <a:pt x="25325" y="19809"/>
                        <a:pt x="19861" y="25957"/>
                        <a:pt x="12347" y="25957"/>
                      </a:cubicBezTo>
                      <a:cubicBezTo>
                        <a:pt x="5517" y="25957"/>
                        <a:pt x="-631" y="20492"/>
                        <a:pt x="52" y="12978"/>
                      </a:cubicBezTo>
                      <a:cubicBezTo>
                        <a:pt x="52" y="5465"/>
                        <a:pt x="5517" y="0"/>
                        <a:pt x="13030" y="0"/>
                      </a:cubicBezTo>
                    </a:path>
                  </a:pathLst>
                </a:custGeom>
                <a:grpFill/>
                <a:ln w="6825"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D6E7E968-2EEE-4793-9898-D0F4FBB4E75A}"/>
                    </a:ext>
                  </a:extLst>
                </p:cNvPr>
                <p:cNvSpPr/>
                <p:nvPr/>
              </p:nvSpPr>
              <p:spPr>
                <a:xfrm>
                  <a:off x="7115027" y="-300855"/>
                  <a:ext cx="25382" cy="25956"/>
                </a:xfrm>
                <a:custGeom>
                  <a:avLst/>
                  <a:gdLst>
                    <a:gd name="connsiteX0" fmla="*/ 13036 w 25382"/>
                    <a:gd name="connsiteY0" fmla="*/ 0 h 25956"/>
                    <a:gd name="connsiteX1" fmla="*/ 25331 w 25382"/>
                    <a:gd name="connsiteY1" fmla="*/ 12978 h 25956"/>
                    <a:gd name="connsiteX2" fmla="*/ 12353 w 25382"/>
                    <a:gd name="connsiteY2" fmla="*/ 25957 h 25956"/>
                    <a:gd name="connsiteX3" fmla="*/ 58 w 25382"/>
                    <a:gd name="connsiteY3" fmla="*/ 12978 h 25956"/>
                    <a:gd name="connsiteX4" fmla="*/ 13036 w 25382"/>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82" h="25956">
                      <a:moveTo>
                        <a:pt x="13036" y="0"/>
                      </a:moveTo>
                      <a:cubicBezTo>
                        <a:pt x="19866" y="0"/>
                        <a:pt x="26014" y="5465"/>
                        <a:pt x="25331" y="12978"/>
                      </a:cubicBezTo>
                      <a:cubicBezTo>
                        <a:pt x="25331" y="19809"/>
                        <a:pt x="19866" y="25957"/>
                        <a:pt x="12353" y="25957"/>
                      </a:cubicBezTo>
                      <a:cubicBezTo>
                        <a:pt x="4839" y="25957"/>
                        <a:pt x="-626" y="20492"/>
                        <a:pt x="58" y="12978"/>
                      </a:cubicBezTo>
                      <a:cubicBezTo>
                        <a:pt x="58" y="5465"/>
                        <a:pt x="5522" y="0"/>
                        <a:pt x="13036" y="0"/>
                      </a:cubicBezTo>
                    </a:path>
                  </a:pathLst>
                </a:custGeom>
                <a:grpFill/>
                <a:ln w="6825" cap="flat">
                  <a:no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4836458F-3AF1-44DF-8D2F-572CCAE9DA5A}"/>
                    </a:ext>
                  </a:extLst>
                </p:cNvPr>
                <p:cNvSpPr/>
                <p:nvPr/>
              </p:nvSpPr>
              <p:spPr>
                <a:xfrm>
                  <a:off x="7039212" y="-262603"/>
                  <a:ext cx="25377" cy="25956"/>
                </a:xfrm>
                <a:custGeom>
                  <a:avLst/>
                  <a:gdLst>
                    <a:gd name="connsiteX0" fmla="*/ 13030 w 25377"/>
                    <a:gd name="connsiteY0" fmla="*/ 0 h 25956"/>
                    <a:gd name="connsiteX1" fmla="*/ 25326 w 25377"/>
                    <a:gd name="connsiteY1" fmla="*/ 12978 h 25956"/>
                    <a:gd name="connsiteX2" fmla="*/ 12347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8" y="5464"/>
                        <a:pt x="25326" y="12978"/>
                      </a:cubicBezTo>
                      <a:cubicBezTo>
                        <a:pt x="25326" y="19809"/>
                        <a:pt x="19861" y="25956"/>
                        <a:pt x="12347" y="25956"/>
                      </a:cubicBezTo>
                      <a:cubicBezTo>
                        <a:pt x="5516" y="25956"/>
                        <a:pt x="-631" y="20492"/>
                        <a:pt x="52" y="12978"/>
                      </a:cubicBezTo>
                      <a:cubicBezTo>
                        <a:pt x="735" y="5464"/>
                        <a:pt x="6200" y="0"/>
                        <a:pt x="13030" y="0"/>
                      </a:cubicBezTo>
                    </a:path>
                  </a:pathLst>
                </a:custGeom>
                <a:grpFill/>
                <a:ln w="6825" cap="flat">
                  <a:noFill/>
                  <a:prstDash val="solid"/>
                  <a:miter/>
                </a:ln>
              </p:spPr>
              <p:txBody>
                <a:bodyPr rtlCol="0" anchor="ctr"/>
                <a:lstStyle/>
                <a:p>
                  <a:endParaRPr lang="en-US"/>
                </a:p>
              </p:txBody>
            </p:sp>
            <p:sp>
              <p:nvSpPr>
                <p:cNvPr id="99" name="Freeform: Shape 98">
                  <a:extLst>
                    <a:ext uri="{FF2B5EF4-FFF2-40B4-BE49-F238E27FC236}">
                      <a16:creationId xmlns:a16="http://schemas.microsoft.com/office/drawing/2014/main" id="{6A24E1E5-0ACF-432B-A1B7-EE648C6E2A31}"/>
                    </a:ext>
                  </a:extLst>
                </p:cNvPr>
                <p:cNvSpPr/>
                <p:nvPr/>
              </p:nvSpPr>
              <p:spPr>
                <a:xfrm>
                  <a:off x="7076781" y="-262603"/>
                  <a:ext cx="25377" cy="25956"/>
                </a:xfrm>
                <a:custGeom>
                  <a:avLst/>
                  <a:gdLst>
                    <a:gd name="connsiteX0" fmla="*/ 13030 w 25377"/>
                    <a:gd name="connsiteY0" fmla="*/ 0 h 25956"/>
                    <a:gd name="connsiteX1" fmla="*/ 25326 w 25377"/>
                    <a:gd name="connsiteY1" fmla="*/ 12978 h 25956"/>
                    <a:gd name="connsiteX2" fmla="*/ 12347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8" y="5464"/>
                        <a:pt x="25326" y="12978"/>
                      </a:cubicBezTo>
                      <a:cubicBezTo>
                        <a:pt x="25326" y="19809"/>
                        <a:pt x="19861" y="25956"/>
                        <a:pt x="12347" y="25956"/>
                      </a:cubicBezTo>
                      <a:cubicBezTo>
                        <a:pt x="5516" y="25956"/>
                        <a:pt x="-631" y="20492"/>
                        <a:pt x="52" y="12978"/>
                      </a:cubicBezTo>
                      <a:cubicBezTo>
                        <a:pt x="735" y="6148"/>
                        <a:pt x="6200" y="0"/>
                        <a:pt x="13030" y="0"/>
                      </a:cubicBezTo>
                    </a:path>
                  </a:pathLst>
                </a:custGeom>
                <a:grpFill/>
                <a:ln w="6825"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D126684F-7175-4A71-8252-AED76FF922D7}"/>
                    </a:ext>
                  </a:extLst>
                </p:cNvPr>
                <p:cNvSpPr/>
                <p:nvPr/>
              </p:nvSpPr>
              <p:spPr>
                <a:xfrm>
                  <a:off x="7114350" y="-262603"/>
                  <a:ext cx="25377" cy="25956"/>
                </a:xfrm>
                <a:custGeom>
                  <a:avLst/>
                  <a:gdLst>
                    <a:gd name="connsiteX0" fmla="*/ 13030 w 25377"/>
                    <a:gd name="connsiteY0" fmla="*/ 0 h 25956"/>
                    <a:gd name="connsiteX1" fmla="*/ 25326 w 25377"/>
                    <a:gd name="connsiteY1" fmla="*/ 12978 h 25956"/>
                    <a:gd name="connsiteX2" fmla="*/ 12347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8" y="5464"/>
                        <a:pt x="25326" y="12978"/>
                      </a:cubicBezTo>
                      <a:cubicBezTo>
                        <a:pt x="25326" y="19809"/>
                        <a:pt x="19861" y="25956"/>
                        <a:pt x="12347" y="25956"/>
                      </a:cubicBezTo>
                      <a:cubicBezTo>
                        <a:pt x="5516" y="25956"/>
                        <a:pt x="-631" y="20492"/>
                        <a:pt x="52" y="12978"/>
                      </a:cubicBezTo>
                      <a:cubicBezTo>
                        <a:pt x="735" y="6148"/>
                        <a:pt x="6200" y="0"/>
                        <a:pt x="13030" y="0"/>
                      </a:cubicBezTo>
                    </a:path>
                  </a:pathLst>
                </a:custGeom>
                <a:grpFill/>
                <a:ln w="6825"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8EE62DBF-DA36-489A-8113-E464ECE7A37E}"/>
                    </a:ext>
                  </a:extLst>
                </p:cNvPr>
                <p:cNvSpPr/>
                <p:nvPr/>
              </p:nvSpPr>
              <p:spPr>
                <a:xfrm>
                  <a:off x="7000955" y="-224403"/>
                  <a:ext cx="25383" cy="26008"/>
                </a:xfrm>
                <a:custGeom>
                  <a:avLst/>
                  <a:gdLst>
                    <a:gd name="connsiteX0" fmla="*/ 13036 w 25383"/>
                    <a:gd name="connsiteY0" fmla="*/ 52 h 26008"/>
                    <a:gd name="connsiteX1" fmla="*/ 25331 w 25383"/>
                    <a:gd name="connsiteY1" fmla="*/ 13030 h 26008"/>
                    <a:gd name="connsiteX2" fmla="*/ 12353 w 25383"/>
                    <a:gd name="connsiteY2" fmla="*/ 26009 h 26008"/>
                    <a:gd name="connsiteX3" fmla="*/ 58 w 25383"/>
                    <a:gd name="connsiteY3" fmla="*/ 13030 h 26008"/>
                    <a:gd name="connsiteX4" fmla="*/ 13036 w 25383"/>
                    <a:gd name="connsiteY4" fmla="*/ 52 h 26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83" h="26008">
                      <a:moveTo>
                        <a:pt x="13036" y="52"/>
                      </a:moveTo>
                      <a:cubicBezTo>
                        <a:pt x="19866" y="52"/>
                        <a:pt x="26014" y="5516"/>
                        <a:pt x="25331" y="13030"/>
                      </a:cubicBezTo>
                      <a:cubicBezTo>
                        <a:pt x="25331" y="19861"/>
                        <a:pt x="19866" y="26009"/>
                        <a:pt x="12353" y="26009"/>
                      </a:cubicBezTo>
                      <a:cubicBezTo>
                        <a:pt x="4839" y="26009"/>
                        <a:pt x="-626" y="20544"/>
                        <a:pt x="58" y="13030"/>
                      </a:cubicBezTo>
                      <a:cubicBezTo>
                        <a:pt x="58" y="5516"/>
                        <a:pt x="6205" y="-631"/>
                        <a:pt x="13036" y="52"/>
                      </a:cubicBezTo>
                    </a:path>
                  </a:pathLst>
                </a:custGeom>
                <a:grpFill/>
                <a:ln w="6825"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00B43B2D-D13E-47CE-AF95-253C84110346}"/>
                    </a:ext>
                  </a:extLst>
                </p:cNvPr>
                <p:cNvSpPr/>
                <p:nvPr/>
              </p:nvSpPr>
              <p:spPr>
                <a:xfrm>
                  <a:off x="7039207" y="-224351"/>
                  <a:ext cx="25383" cy="25956"/>
                </a:xfrm>
                <a:custGeom>
                  <a:avLst/>
                  <a:gdLst>
                    <a:gd name="connsiteX0" fmla="*/ 13036 w 25383"/>
                    <a:gd name="connsiteY0" fmla="*/ 0 h 25956"/>
                    <a:gd name="connsiteX1" fmla="*/ 25331 w 25383"/>
                    <a:gd name="connsiteY1" fmla="*/ 12978 h 25956"/>
                    <a:gd name="connsiteX2" fmla="*/ 12353 w 25383"/>
                    <a:gd name="connsiteY2" fmla="*/ 25957 h 25956"/>
                    <a:gd name="connsiteX3" fmla="*/ 58 w 25383"/>
                    <a:gd name="connsiteY3" fmla="*/ 12978 h 25956"/>
                    <a:gd name="connsiteX4" fmla="*/ 13036 w 25383"/>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83" h="25956">
                      <a:moveTo>
                        <a:pt x="13036" y="0"/>
                      </a:moveTo>
                      <a:cubicBezTo>
                        <a:pt x="19867" y="0"/>
                        <a:pt x="26014" y="5464"/>
                        <a:pt x="25331" y="12978"/>
                      </a:cubicBezTo>
                      <a:cubicBezTo>
                        <a:pt x="25331" y="19809"/>
                        <a:pt x="19867" y="25957"/>
                        <a:pt x="12353" y="25957"/>
                      </a:cubicBezTo>
                      <a:cubicBezTo>
                        <a:pt x="4839" y="25957"/>
                        <a:pt x="-625" y="20492"/>
                        <a:pt x="58" y="12978"/>
                      </a:cubicBezTo>
                      <a:cubicBezTo>
                        <a:pt x="741" y="5464"/>
                        <a:pt x="6205" y="0"/>
                        <a:pt x="13036" y="0"/>
                      </a:cubicBezTo>
                    </a:path>
                  </a:pathLst>
                </a:custGeom>
                <a:grpFill/>
                <a:ln w="6825" cap="flat">
                  <a:noFill/>
                  <a:prstDash val="solid"/>
                  <a:miter/>
                </a:ln>
              </p:spPr>
              <p:txBody>
                <a:bodyPr rtlCol="0" anchor="ctr"/>
                <a:lstStyle/>
                <a:p>
                  <a:endParaRPr lang="en-US"/>
                </a:p>
              </p:txBody>
            </p:sp>
            <p:sp>
              <p:nvSpPr>
                <p:cNvPr id="103" name="Freeform: Shape 102">
                  <a:extLst>
                    <a:ext uri="{FF2B5EF4-FFF2-40B4-BE49-F238E27FC236}">
                      <a16:creationId xmlns:a16="http://schemas.microsoft.com/office/drawing/2014/main" id="{816F4419-CC8A-4E24-B5CA-CB40ECFEC1D5}"/>
                    </a:ext>
                  </a:extLst>
                </p:cNvPr>
                <p:cNvSpPr/>
                <p:nvPr/>
              </p:nvSpPr>
              <p:spPr>
                <a:xfrm>
                  <a:off x="7076833" y="-224351"/>
                  <a:ext cx="25325" cy="25956"/>
                </a:xfrm>
                <a:custGeom>
                  <a:avLst/>
                  <a:gdLst>
                    <a:gd name="connsiteX0" fmla="*/ 12978 w 25325"/>
                    <a:gd name="connsiteY0" fmla="*/ 0 h 25956"/>
                    <a:gd name="connsiteX1" fmla="*/ 25274 w 25325"/>
                    <a:gd name="connsiteY1" fmla="*/ 12978 h 25956"/>
                    <a:gd name="connsiteX2" fmla="*/ 12295 w 25325"/>
                    <a:gd name="connsiteY2" fmla="*/ 25957 h 25956"/>
                    <a:gd name="connsiteX3" fmla="*/ 0 w 25325"/>
                    <a:gd name="connsiteY3" fmla="*/ 12978 h 25956"/>
                    <a:gd name="connsiteX4" fmla="*/ 12978 w 25325"/>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25" h="25956">
                      <a:moveTo>
                        <a:pt x="12978" y="0"/>
                      </a:moveTo>
                      <a:cubicBezTo>
                        <a:pt x="19809" y="0"/>
                        <a:pt x="25956" y="5464"/>
                        <a:pt x="25274" y="12978"/>
                      </a:cubicBezTo>
                      <a:cubicBezTo>
                        <a:pt x="25274" y="19809"/>
                        <a:pt x="19809" y="25957"/>
                        <a:pt x="12295" y="25957"/>
                      </a:cubicBezTo>
                      <a:cubicBezTo>
                        <a:pt x="5464" y="25957"/>
                        <a:pt x="0" y="20492"/>
                        <a:pt x="0" y="12978"/>
                      </a:cubicBezTo>
                      <a:cubicBezTo>
                        <a:pt x="683" y="5464"/>
                        <a:pt x="6148" y="0"/>
                        <a:pt x="12978" y="0"/>
                      </a:cubicBezTo>
                    </a:path>
                  </a:pathLst>
                </a:custGeom>
                <a:grpFill/>
                <a:ln w="6825" cap="flat">
                  <a:noFill/>
                  <a:prstDash val="solid"/>
                  <a:miter/>
                </a:ln>
              </p:spPr>
              <p:txBody>
                <a:bodyPr rtlCol="0" anchor="ctr"/>
                <a:lstStyle/>
                <a:p>
                  <a:endParaRPr lang="en-US"/>
                </a:p>
              </p:txBody>
            </p:sp>
            <p:sp>
              <p:nvSpPr>
                <p:cNvPr id="104" name="Freeform: Shape 103">
                  <a:extLst>
                    <a:ext uri="{FF2B5EF4-FFF2-40B4-BE49-F238E27FC236}">
                      <a16:creationId xmlns:a16="http://schemas.microsoft.com/office/drawing/2014/main" id="{C35B2CB6-CCAB-449A-97AD-3E84143A7E51}"/>
                    </a:ext>
                  </a:extLst>
                </p:cNvPr>
                <p:cNvSpPr/>
                <p:nvPr/>
              </p:nvSpPr>
              <p:spPr>
                <a:xfrm>
                  <a:off x="7114350" y="-224351"/>
                  <a:ext cx="25377" cy="25956"/>
                </a:xfrm>
                <a:custGeom>
                  <a:avLst/>
                  <a:gdLst>
                    <a:gd name="connsiteX0" fmla="*/ 13030 w 25377"/>
                    <a:gd name="connsiteY0" fmla="*/ 0 h 25956"/>
                    <a:gd name="connsiteX1" fmla="*/ 25326 w 25377"/>
                    <a:gd name="connsiteY1" fmla="*/ 12978 h 25956"/>
                    <a:gd name="connsiteX2" fmla="*/ 12347 w 25377"/>
                    <a:gd name="connsiteY2" fmla="*/ 25957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8" y="5464"/>
                        <a:pt x="25326" y="12978"/>
                      </a:cubicBezTo>
                      <a:cubicBezTo>
                        <a:pt x="25326" y="19809"/>
                        <a:pt x="19861" y="25957"/>
                        <a:pt x="12347" y="25957"/>
                      </a:cubicBezTo>
                      <a:cubicBezTo>
                        <a:pt x="5516" y="25957"/>
                        <a:pt x="-631" y="20492"/>
                        <a:pt x="52" y="12978"/>
                      </a:cubicBezTo>
                      <a:cubicBezTo>
                        <a:pt x="735" y="5464"/>
                        <a:pt x="6200" y="0"/>
                        <a:pt x="13030" y="0"/>
                      </a:cubicBezTo>
                    </a:path>
                  </a:pathLst>
                </a:custGeom>
                <a:grpFill/>
                <a:ln w="6825" cap="flat">
                  <a:noFill/>
                  <a:prstDash val="solid"/>
                  <a:miter/>
                </a:ln>
              </p:spPr>
              <p:txBody>
                <a:bodyPr rtlCol="0" anchor="ctr"/>
                <a:lstStyle/>
                <a:p>
                  <a:endParaRPr lang="en-US"/>
                </a:p>
              </p:txBody>
            </p:sp>
            <p:sp>
              <p:nvSpPr>
                <p:cNvPr id="105" name="Freeform: Shape 104">
                  <a:extLst>
                    <a:ext uri="{FF2B5EF4-FFF2-40B4-BE49-F238E27FC236}">
                      <a16:creationId xmlns:a16="http://schemas.microsoft.com/office/drawing/2014/main" id="{8E2292B3-C24C-4779-95C9-E1E6EF4660BA}"/>
                    </a:ext>
                  </a:extLst>
                </p:cNvPr>
                <p:cNvSpPr/>
                <p:nvPr/>
              </p:nvSpPr>
              <p:spPr>
                <a:xfrm>
                  <a:off x="7153968" y="-338476"/>
                  <a:ext cx="25377" cy="26008"/>
                </a:xfrm>
                <a:custGeom>
                  <a:avLst/>
                  <a:gdLst>
                    <a:gd name="connsiteX0" fmla="*/ 13030 w 25377"/>
                    <a:gd name="connsiteY0" fmla="*/ 52 h 26008"/>
                    <a:gd name="connsiteX1" fmla="*/ 25326 w 25377"/>
                    <a:gd name="connsiteY1" fmla="*/ 13030 h 26008"/>
                    <a:gd name="connsiteX2" fmla="*/ 12348 w 25377"/>
                    <a:gd name="connsiteY2" fmla="*/ 26009 h 26008"/>
                    <a:gd name="connsiteX3" fmla="*/ 52 w 25377"/>
                    <a:gd name="connsiteY3" fmla="*/ 13030 h 26008"/>
                    <a:gd name="connsiteX4" fmla="*/ 13030 w 25377"/>
                    <a:gd name="connsiteY4" fmla="*/ 52 h 26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6008">
                      <a:moveTo>
                        <a:pt x="13030" y="52"/>
                      </a:moveTo>
                      <a:cubicBezTo>
                        <a:pt x="19861" y="52"/>
                        <a:pt x="26009" y="5517"/>
                        <a:pt x="25326" y="13030"/>
                      </a:cubicBezTo>
                      <a:cubicBezTo>
                        <a:pt x="25326" y="19861"/>
                        <a:pt x="19861" y="26009"/>
                        <a:pt x="12348" y="26009"/>
                      </a:cubicBezTo>
                      <a:cubicBezTo>
                        <a:pt x="5517" y="26009"/>
                        <a:pt x="-631" y="20544"/>
                        <a:pt x="52" y="13030"/>
                      </a:cubicBezTo>
                      <a:cubicBezTo>
                        <a:pt x="735" y="5517"/>
                        <a:pt x="6200" y="-631"/>
                        <a:pt x="13030" y="52"/>
                      </a:cubicBezTo>
                    </a:path>
                  </a:pathLst>
                </a:custGeom>
                <a:grpFill/>
                <a:ln w="6825" cap="flat">
                  <a:noFill/>
                  <a:prstDash val="solid"/>
                  <a:miter/>
                </a:ln>
              </p:spPr>
              <p:txBody>
                <a:bodyPr rtlCol="0" anchor="ctr"/>
                <a:lstStyle/>
                <a:p>
                  <a:endParaRPr lang="en-US"/>
                </a:p>
              </p:txBody>
            </p:sp>
            <p:sp>
              <p:nvSpPr>
                <p:cNvPr id="106" name="Freeform: Shape 105">
                  <a:extLst>
                    <a:ext uri="{FF2B5EF4-FFF2-40B4-BE49-F238E27FC236}">
                      <a16:creationId xmlns:a16="http://schemas.microsoft.com/office/drawing/2014/main" id="{C80238BC-F7F9-4033-B1B3-1A44187F976E}"/>
                    </a:ext>
                  </a:extLst>
                </p:cNvPr>
                <p:cNvSpPr/>
                <p:nvPr/>
              </p:nvSpPr>
              <p:spPr>
                <a:xfrm>
                  <a:off x="7153968" y="-300855"/>
                  <a:ext cx="25377" cy="25956"/>
                </a:xfrm>
                <a:custGeom>
                  <a:avLst/>
                  <a:gdLst>
                    <a:gd name="connsiteX0" fmla="*/ 13030 w 25377"/>
                    <a:gd name="connsiteY0" fmla="*/ 0 h 25956"/>
                    <a:gd name="connsiteX1" fmla="*/ 25326 w 25377"/>
                    <a:gd name="connsiteY1" fmla="*/ 12978 h 25956"/>
                    <a:gd name="connsiteX2" fmla="*/ 12348 w 25377"/>
                    <a:gd name="connsiteY2" fmla="*/ 25957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5"/>
                        <a:pt x="25326" y="12978"/>
                      </a:cubicBezTo>
                      <a:cubicBezTo>
                        <a:pt x="25326" y="19809"/>
                        <a:pt x="19861" y="25957"/>
                        <a:pt x="12348" y="25957"/>
                      </a:cubicBezTo>
                      <a:cubicBezTo>
                        <a:pt x="5517" y="25957"/>
                        <a:pt x="-631" y="20492"/>
                        <a:pt x="52" y="12978"/>
                      </a:cubicBezTo>
                      <a:cubicBezTo>
                        <a:pt x="52" y="5465"/>
                        <a:pt x="6200" y="0"/>
                        <a:pt x="13030" y="0"/>
                      </a:cubicBezTo>
                    </a:path>
                  </a:pathLst>
                </a:custGeom>
                <a:grpFill/>
                <a:ln w="6825" cap="flat">
                  <a:noFill/>
                  <a:prstDash val="solid"/>
                  <a:miter/>
                </a:ln>
              </p:spPr>
              <p:txBody>
                <a:bodyPr rtlCol="0" anchor="ctr"/>
                <a:lstStyle/>
                <a:p>
                  <a:endParaRPr lang="en-US"/>
                </a:p>
              </p:txBody>
            </p:sp>
            <p:sp>
              <p:nvSpPr>
                <p:cNvPr id="107" name="Freeform: Shape 106">
                  <a:extLst>
                    <a:ext uri="{FF2B5EF4-FFF2-40B4-BE49-F238E27FC236}">
                      <a16:creationId xmlns:a16="http://schemas.microsoft.com/office/drawing/2014/main" id="{8BBB89D3-3665-433E-AA5C-10A5F22EACCE}"/>
                    </a:ext>
                  </a:extLst>
                </p:cNvPr>
                <p:cNvSpPr/>
                <p:nvPr/>
              </p:nvSpPr>
              <p:spPr>
                <a:xfrm>
                  <a:off x="7153962" y="-261920"/>
                  <a:ext cx="25383" cy="25956"/>
                </a:xfrm>
                <a:custGeom>
                  <a:avLst/>
                  <a:gdLst>
                    <a:gd name="connsiteX0" fmla="*/ 13036 w 25383"/>
                    <a:gd name="connsiteY0" fmla="*/ 0 h 25956"/>
                    <a:gd name="connsiteX1" fmla="*/ 25331 w 25383"/>
                    <a:gd name="connsiteY1" fmla="*/ 12978 h 25956"/>
                    <a:gd name="connsiteX2" fmla="*/ 12353 w 25383"/>
                    <a:gd name="connsiteY2" fmla="*/ 25956 h 25956"/>
                    <a:gd name="connsiteX3" fmla="*/ 58 w 25383"/>
                    <a:gd name="connsiteY3" fmla="*/ 12978 h 25956"/>
                    <a:gd name="connsiteX4" fmla="*/ 13036 w 25383"/>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83" h="25956">
                      <a:moveTo>
                        <a:pt x="13036" y="0"/>
                      </a:moveTo>
                      <a:cubicBezTo>
                        <a:pt x="19867" y="0"/>
                        <a:pt x="26015" y="5464"/>
                        <a:pt x="25331" y="12978"/>
                      </a:cubicBezTo>
                      <a:cubicBezTo>
                        <a:pt x="25331" y="19809"/>
                        <a:pt x="19867" y="25956"/>
                        <a:pt x="12353" y="25956"/>
                      </a:cubicBezTo>
                      <a:cubicBezTo>
                        <a:pt x="4839" y="25956"/>
                        <a:pt x="-625" y="20492"/>
                        <a:pt x="58" y="12978"/>
                      </a:cubicBezTo>
                      <a:cubicBezTo>
                        <a:pt x="58" y="5464"/>
                        <a:pt x="6205" y="0"/>
                        <a:pt x="13036" y="0"/>
                      </a:cubicBezTo>
                    </a:path>
                  </a:pathLst>
                </a:custGeom>
                <a:grpFill/>
                <a:ln w="6825" cap="flat">
                  <a:noFill/>
                  <a:prstDash val="solid"/>
                  <a:miter/>
                </a:ln>
              </p:spPr>
              <p:txBody>
                <a:bodyPr rtlCol="0" anchor="ctr"/>
                <a:lstStyle/>
                <a:p>
                  <a:endParaRPr lang="en-US"/>
                </a:p>
              </p:txBody>
            </p:sp>
            <p:sp>
              <p:nvSpPr>
                <p:cNvPr id="108" name="Freeform: Shape 107">
                  <a:extLst>
                    <a:ext uri="{FF2B5EF4-FFF2-40B4-BE49-F238E27FC236}">
                      <a16:creationId xmlns:a16="http://schemas.microsoft.com/office/drawing/2014/main" id="{8F57C847-F5A5-49B4-A38B-98EE1D7C7301}"/>
                    </a:ext>
                  </a:extLst>
                </p:cNvPr>
                <p:cNvSpPr/>
                <p:nvPr/>
              </p:nvSpPr>
              <p:spPr>
                <a:xfrm>
                  <a:off x="6963392" y="-185417"/>
                  <a:ext cx="25377" cy="25956"/>
                </a:xfrm>
                <a:custGeom>
                  <a:avLst/>
                  <a:gdLst>
                    <a:gd name="connsiteX0" fmla="*/ 13030 w 25377"/>
                    <a:gd name="connsiteY0" fmla="*/ 0 h 25956"/>
                    <a:gd name="connsiteX1" fmla="*/ 25326 w 25377"/>
                    <a:gd name="connsiteY1" fmla="*/ 12978 h 25956"/>
                    <a:gd name="connsiteX2" fmla="*/ 12347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4"/>
                        <a:pt x="25326" y="12978"/>
                      </a:cubicBezTo>
                      <a:cubicBezTo>
                        <a:pt x="24642" y="20492"/>
                        <a:pt x="19861" y="25956"/>
                        <a:pt x="12347" y="25956"/>
                      </a:cubicBezTo>
                      <a:cubicBezTo>
                        <a:pt x="5517" y="25956"/>
                        <a:pt x="-631" y="20492"/>
                        <a:pt x="52" y="12978"/>
                      </a:cubicBezTo>
                      <a:cubicBezTo>
                        <a:pt x="52" y="5464"/>
                        <a:pt x="6199" y="0"/>
                        <a:pt x="13030" y="0"/>
                      </a:cubicBezTo>
                    </a:path>
                  </a:pathLst>
                </a:custGeom>
                <a:grpFill/>
                <a:ln w="6825" cap="flat">
                  <a:noFill/>
                  <a:prstDash val="solid"/>
                  <a:miter/>
                </a:ln>
              </p:spPr>
              <p:txBody>
                <a:bodyPr rtlCol="0" anchor="ctr"/>
                <a:lstStyle/>
                <a:p>
                  <a:endParaRPr lang="en-US"/>
                </a:p>
              </p:txBody>
            </p:sp>
            <p:sp>
              <p:nvSpPr>
                <p:cNvPr id="109" name="Freeform: Shape 108">
                  <a:extLst>
                    <a:ext uri="{FF2B5EF4-FFF2-40B4-BE49-F238E27FC236}">
                      <a16:creationId xmlns:a16="http://schemas.microsoft.com/office/drawing/2014/main" id="{31F9B0AD-CE91-4BC7-9231-3812CCFC48D4}"/>
                    </a:ext>
                  </a:extLst>
                </p:cNvPr>
                <p:cNvSpPr/>
                <p:nvPr/>
              </p:nvSpPr>
              <p:spPr>
                <a:xfrm>
                  <a:off x="7000961" y="-185417"/>
                  <a:ext cx="25377" cy="25956"/>
                </a:xfrm>
                <a:custGeom>
                  <a:avLst/>
                  <a:gdLst>
                    <a:gd name="connsiteX0" fmla="*/ 13030 w 25377"/>
                    <a:gd name="connsiteY0" fmla="*/ 0 h 25956"/>
                    <a:gd name="connsiteX1" fmla="*/ 25326 w 25377"/>
                    <a:gd name="connsiteY1" fmla="*/ 12978 h 25956"/>
                    <a:gd name="connsiteX2" fmla="*/ 12347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4"/>
                        <a:pt x="25326" y="12978"/>
                      </a:cubicBezTo>
                      <a:cubicBezTo>
                        <a:pt x="25326" y="19809"/>
                        <a:pt x="19861" y="25956"/>
                        <a:pt x="12347" y="25956"/>
                      </a:cubicBezTo>
                      <a:cubicBezTo>
                        <a:pt x="5517" y="25956"/>
                        <a:pt x="-631" y="20492"/>
                        <a:pt x="52" y="12978"/>
                      </a:cubicBezTo>
                      <a:cubicBezTo>
                        <a:pt x="52" y="6148"/>
                        <a:pt x="6199" y="0"/>
                        <a:pt x="13030" y="0"/>
                      </a:cubicBezTo>
                    </a:path>
                  </a:pathLst>
                </a:custGeom>
                <a:grpFill/>
                <a:ln w="6825" cap="flat">
                  <a:noFill/>
                  <a:prstDash val="solid"/>
                  <a:miter/>
                </a:ln>
              </p:spPr>
              <p:txBody>
                <a:bodyPr rtlCol="0" anchor="ctr"/>
                <a:lstStyle/>
                <a:p>
                  <a:endParaRPr lang="en-US"/>
                </a:p>
              </p:txBody>
            </p:sp>
            <p:sp>
              <p:nvSpPr>
                <p:cNvPr id="110" name="Freeform: Shape 109">
                  <a:extLst>
                    <a:ext uri="{FF2B5EF4-FFF2-40B4-BE49-F238E27FC236}">
                      <a16:creationId xmlns:a16="http://schemas.microsoft.com/office/drawing/2014/main" id="{B28E1670-BB4C-4202-AA55-D9DC3B9DF5A1}"/>
                    </a:ext>
                  </a:extLst>
                </p:cNvPr>
                <p:cNvSpPr/>
                <p:nvPr/>
              </p:nvSpPr>
              <p:spPr>
                <a:xfrm>
                  <a:off x="7039264" y="-184785"/>
                  <a:ext cx="25325" cy="26008"/>
                </a:xfrm>
                <a:custGeom>
                  <a:avLst/>
                  <a:gdLst>
                    <a:gd name="connsiteX0" fmla="*/ 12978 w 25325"/>
                    <a:gd name="connsiteY0" fmla="*/ 52 h 26008"/>
                    <a:gd name="connsiteX1" fmla="*/ 25274 w 25325"/>
                    <a:gd name="connsiteY1" fmla="*/ 13030 h 26008"/>
                    <a:gd name="connsiteX2" fmla="*/ 12295 w 25325"/>
                    <a:gd name="connsiteY2" fmla="*/ 26008 h 26008"/>
                    <a:gd name="connsiteX3" fmla="*/ 0 w 25325"/>
                    <a:gd name="connsiteY3" fmla="*/ 13030 h 26008"/>
                    <a:gd name="connsiteX4" fmla="*/ 12978 w 25325"/>
                    <a:gd name="connsiteY4" fmla="*/ 52 h 26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25" h="26008">
                      <a:moveTo>
                        <a:pt x="12978" y="52"/>
                      </a:moveTo>
                      <a:cubicBezTo>
                        <a:pt x="19809" y="52"/>
                        <a:pt x="25956" y="5516"/>
                        <a:pt x="25274" y="13030"/>
                      </a:cubicBezTo>
                      <a:cubicBezTo>
                        <a:pt x="25274" y="19861"/>
                        <a:pt x="19809" y="26008"/>
                        <a:pt x="12295" y="26008"/>
                      </a:cubicBezTo>
                      <a:cubicBezTo>
                        <a:pt x="5464" y="26008"/>
                        <a:pt x="0" y="20544"/>
                        <a:pt x="0" y="13030"/>
                      </a:cubicBezTo>
                      <a:cubicBezTo>
                        <a:pt x="0" y="5516"/>
                        <a:pt x="6148" y="-631"/>
                        <a:pt x="12978" y="52"/>
                      </a:cubicBezTo>
                    </a:path>
                  </a:pathLst>
                </a:custGeom>
                <a:grpFill/>
                <a:ln w="6825" cap="flat">
                  <a:noFill/>
                  <a:prstDash val="solid"/>
                  <a:miter/>
                </a:ln>
              </p:spPr>
              <p:txBody>
                <a:bodyPr rtlCol="0" anchor="ctr"/>
                <a:lstStyle/>
                <a:p>
                  <a:endParaRPr lang="en-US"/>
                </a:p>
              </p:txBody>
            </p:sp>
            <p:sp>
              <p:nvSpPr>
                <p:cNvPr id="111" name="Freeform: Shape 110">
                  <a:extLst>
                    <a:ext uri="{FF2B5EF4-FFF2-40B4-BE49-F238E27FC236}">
                      <a16:creationId xmlns:a16="http://schemas.microsoft.com/office/drawing/2014/main" id="{4D899E99-F243-4905-8E1D-EB45404E1E04}"/>
                    </a:ext>
                  </a:extLst>
                </p:cNvPr>
                <p:cNvSpPr/>
                <p:nvPr/>
              </p:nvSpPr>
              <p:spPr>
                <a:xfrm>
                  <a:off x="7076781" y="-184733"/>
                  <a:ext cx="25377" cy="25956"/>
                </a:xfrm>
                <a:custGeom>
                  <a:avLst/>
                  <a:gdLst>
                    <a:gd name="connsiteX0" fmla="*/ 13030 w 25377"/>
                    <a:gd name="connsiteY0" fmla="*/ 0 h 25956"/>
                    <a:gd name="connsiteX1" fmla="*/ 25326 w 25377"/>
                    <a:gd name="connsiteY1" fmla="*/ 12978 h 25956"/>
                    <a:gd name="connsiteX2" fmla="*/ 12347 w 25377"/>
                    <a:gd name="connsiteY2" fmla="*/ 25956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8" y="5464"/>
                        <a:pt x="25326" y="12978"/>
                      </a:cubicBezTo>
                      <a:cubicBezTo>
                        <a:pt x="24643" y="20492"/>
                        <a:pt x="19861" y="25956"/>
                        <a:pt x="12347" y="25956"/>
                      </a:cubicBezTo>
                      <a:cubicBezTo>
                        <a:pt x="5516" y="25956"/>
                        <a:pt x="-631" y="20492"/>
                        <a:pt x="52" y="12978"/>
                      </a:cubicBezTo>
                      <a:cubicBezTo>
                        <a:pt x="735" y="5464"/>
                        <a:pt x="6200" y="0"/>
                        <a:pt x="13030" y="0"/>
                      </a:cubicBezTo>
                    </a:path>
                  </a:pathLst>
                </a:custGeom>
                <a:grpFill/>
                <a:ln w="6825" cap="flat">
                  <a:noFill/>
                  <a:prstDash val="solid"/>
                  <a:miter/>
                </a:ln>
              </p:spPr>
              <p:txBody>
                <a:bodyPr rtlCol="0" anchor="ctr"/>
                <a:lstStyle/>
                <a:p>
                  <a:endParaRPr lang="en-US"/>
                </a:p>
              </p:txBody>
            </p:sp>
            <p:sp>
              <p:nvSpPr>
                <p:cNvPr id="112" name="Freeform: Shape 111">
                  <a:extLst>
                    <a:ext uri="{FF2B5EF4-FFF2-40B4-BE49-F238E27FC236}">
                      <a16:creationId xmlns:a16="http://schemas.microsoft.com/office/drawing/2014/main" id="{9CC69B97-4751-4DC2-9134-0CAC6F98030B}"/>
                    </a:ext>
                  </a:extLst>
                </p:cNvPr>
                <p:cNvSpPr/>
                <p:nvPr/>
              </p:nvSpPr>
              <p:spPr>
                <a:xfrm>
                  <a:off x="7191536" y="-300855"/>
                  <a:ext cx="25377" cy="25956"/>
                </a:xfrm>
                <a:custGeom>
                  <a:avLst/>
                  <a:gdLst>
                    <a:gd name="connsiteX0" fmla="*/ 13030 w 25377"/>
                    <a:gd name="connsiteY0" fmla="*/ 0 h 25956"/>
                    <a:gd name="connsiteX1" fmla="*/ 25326 w 25377"/>
                    <a:gd name="connsiteY1" fmla="*/ 12978 h 25956"/>
                    <a:gd name="connsiteX2" fmla="*/ 12348 w 25377"/>
                    <a:gd name="connsiteY2" fmla="*/ 25957 h 25956"/>
                    <a:gd name="connsiteX3" fmla="*/ 52 w 25377"/>
                    <a:gd name="connsiteY3" fmla="*/ 12978 h 25956"/>
                    <a:gd name="connsiteX4" fmla="*/ 13030 w 25377"/>
                    <a:gd name="connsiteY4" fmla="*/ 0 h 25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 h="25956">
                      <a:moveTo>
                        <a:pt x="13030" y="0"/>
                      </a:moveTo>
                      <a:cubicBezTo>
                        <a:pt x="19861" y="0"/>
                        <a:pt x="26009" y="5465"/>
                        <a:pt x="25326" y="12978"/>
                      </a:cubicBezTo>
                      <a:cubicBezTo>
                        <a:pt x="25326" y="19809"/>
                        <a:pt x="19861" y="25957"/>
                        <a:pt x="12348" y="25957"/>
                      </a:cubicBezTo>
                      <a:cubicBezTo>
                        <a:pt x="5517" y="25957"/>
                        <a:pt x="-631" y="20492"/>
                        <a:pt x="52" y="12978"/>
                      </a:cubicBezTo>
                      <a:cubicBezTo>
                        <a:pt x="735" y="5465"/>
                        <a:pt x="6200" y="0"/>
                        <a:pt x="13030" y="0"/>
                      </a:cubicBezTo>
                    </a:path>
                  </a:pathLst>
                </a:custGeom>
                <a:grpFill/>
                <a:ln w="6825" cap="flat">
                  <a:noFill/>
                  <a:prstDash val="solid"/>
                  <a:miter/>
                </a:ln>
              </p:spPr>
              <p:txBody>
                <a:bodyPr rtlCol="0" anchor="ctr"/>
                <a:lstStyle/>
                <a:p>
                  <a:endParaRPr lang="en-US"/>
                </a:p>
              </p:txBody>
            </p:sp>
          </p:grpSp>
        </p:grpSp>
        <p:grpSp>
          <p:nvGrpSpPr>
            <p:cNvPr id="20" name="Group 19">
              <a:extLst>
                <a:ext uri="{FF2B5EF4-FFF2-40B4-BE49-F238E27FC236}">
                  <a16:creationId xmlns:a16="http://schemas.microsoft.com/office/drawing/2014/main" id="{8E6CF977-480C-4CAD-90F8-80960EFCE2BA}"/>
                </a:ext>
              </a:extLst>
            </p:cNvPr>
            <p:cNvGrpSpPr/>
            <p:nvPr userDrawn="1"/>
          </p:nvGrpSpPr>
          <p:grpSpPr>
            <a:xfrm>
              <a:off x="10514001" y="1949346"/>
              <a:ext cx="1373199" cy="627246"/>
              <a:chOff x="10427989" y="4826453"/>
              <a:chExt cx="1611611" cy="736147"/>
            </a:xfrm>
          </p:grpSpPr>
          <p:sp>
            <p:nvSpPr>
              <p:cNvPr id="23" name="Freeform: Shape 22">
                <a:extLst>
                  <a:ext uri="{FF2B5EF4-FFF2-40B4-BE49-F238E27FC236}">
                    <a16:creationId xmlns:a16="http://schemas.microsoft.com/office/drawing/2014/main" id="{73FAD0A1-65E6-4DA6-B340-7809D0D7E302}"/>
                  </a:ext>
                </a:extLst>
              </p:cNvPr>
              <p:cNvSpPr/>
              <p:nvPr/>
            </p:nvSpPr>
            <p:spPr>
              <a:xfrm>
                <a:off x="10427989" y="4826453"/>
                <a:ext cx="726668" cy="736147"/>
              </a:xfrm>
              <a:custGeom>
                <a:avLst/>
                <a:gdLst>
                  <a:gd name="connsiteX0" fmla="*/ 335354 w 956848"/>
                  <a:gd name="connsiteY0" fmla="*/ 871365 h 969327"/>
                  <a:gd name="connsiteX1" fmla="*/ 381761 w 956848"/>
                  <a:gd name="connsiteY1" fmla="*/ 920346 h 969327"/>
                  <a:gd name="connsiteX2" fmla="*/ 332780 w 956848"/>
                  <a:gd name="connsiteY2" fmla="*/ 969327 h 969327"/>
                  <a:gd name="connsiteX3" fmla="*/ 286373 w 956848"/>
                  <a:gd name="connsiteY3" fmla="*/ 920346 h 969327"/>
                  <a:gd name="connsiteX4" fmla="*/ 335354 w 956848"/>
                  <a:gd name="connsiteY4" fmla="*/ 871365 h 969327"/>
                  <a:gd name="connsiteX5" fmla="*/ 477141 w 956848"/>
                  <a:gd name="connsiteY5" fmla="*/ 871365 h 969327"/>
                  <a:gd name="connsiteX6" fmla="*/ 523549 w 956848"/>
                  <a:gd name="connsiteY6" fmla="*/ 920346 h 969327"/>
                  <a:gd name="connsiteX7" fmla="*/ 474567 w 956848"/>
                  <a:gd name="connsiteY7" fmla="*/ 969327 h 969327"/>
                  <a:gd name="connsiteX8" fmla="*/ 428160 w 956848"/>
                  <a:gd name="connsiteY8" fmla="*/ 920346 h 969327"/>
                  <a:gd name="connsiteX9" fmla="*/ 477141 w 956848"/>
                  <a:gd name="connsiteY9" fmla="*/ 871365 h 969327"/>
                  <a:gd name="connsiteX10" fmla="*/ 190985 w 956848"/>
                  <a:gd name="connsiteY10" fmla="*/ 868784 h 969327"/>
                  <a:gd name="connsiteX11" fmla="*/ 237388 w 956848"/>
                  <a:gd name="connsiteY11" fmla="*/ 917765 h 969327"/>
                  <a:gd name="connsiteX12" fmla="*/ 188407 w 956848"/>
                  <a:gd name="connsiteY12" fmla="*/ 966746 h 969327"/>
                  <a:gd name="connsiteX13" fmla="*/ 142004 w 956848"/>
                  <a:gd name="connsiteY13" fmla="*/ 917765 h 969327"/>
                  <a:gd name="connsiteX14" fmla="*/ 190985 w 956848"/>
                  <a:gd name="connsiteY14" fmla="*/ 868784 h 969327"/>
                  <a:gd name="connsiteX15" fmla="*/ 49198 w 956848"/>
                  <a:gd name="connsiteY15" fmla="*/ 868784 h 969327"/>
                  <a:gd name="connsiteX16" fmla="*/ 95601 w 956848"/>
                  <a:gd name="connsiteY16" fmla="*/ 917765 h 969327"/>
                  <a:gd name="connsiteX17" fmla="*/ 46620 w 956848"/>
                  <a:gd name="connsiteY17" fmla="*/ 966746 h 969327"/>
                  <a:gd name="connsiteX18" fmla="*/ 217 w 956848"/>
                  <a:gd name="connsiteY18" fmla="*/ 917765 h 969327"/>
                  <a:gd name="connsiteX19" fmla="*/ 49198 w 956848"/>
                  <a:gd name="connsiteY19" fmla="*/ 868784 h 969327"/>
                  <a:gd name="connsiteX20" fmla="*/ 618932 w 956848"/>
                  <a:gd name="connsiteY20" fmla="*/ 721841 h 969327"/>
                  <a:gd name="connsiteX21" fmla="*/ 665340 w 956848"/>
                  <a:gd name="connsiteY21" fmla="*/ 770822 h 969327"/>
                  <a:gd name="connsiteX22" fmla="*/ 616358 w 956848"/>
                  <a:gd name="connsiteY22" fmla="*/ 819807 h 969327"/>
                  <a:gd name="connsiteX23" fmla="*/ 569951 w 956848"/>
                  <a:gd name="connsiteY23" fmla="*/ 770822 h 969327"/>
                  <a:gd name="connsiteX24" fmla="*/ 618932 w 956848"/>
                  <a:gd name="connsiteY24" fmla="*/ 721841 h 969327"/>
                  <a:gd name="connsiteX25" fmla="*/ 477141 w 956848"/>
                  <a:gd name="connsiteY25" fmla="*/ 721841 h 969327"/>
                  <a:gd name="connsiteX26" fmla="*/ 523548 w 956848"/>
                  <a:gd name="connsiteY26" fmla="*/ 770822 h 969327"/>
                  <a:gd name="connsiteX27" fmla="*/ 474567 w 956848"/>
                  <a:gd name="connsiteY27" fmla="*/ 819807 h 969327"/>
                  <a:gd name="connsiteX28" fmla="*/ 428160 w 956848"/>
                  <a:gd name="connsiteY28" fmla="*/ 770822 h 969327"/>
                  <a:gd name="connsiteX29" fmla="*/ 477141 w 956848"/>
                  <a:gd name="connsiteY29" fmla="*/ 721841 h 969327"/>
                  <a:gd name="connsiteX30" fmla="*/ 335354 w 956848"/>
                  <a:gd name="connsiteY30" fmla="*/ 721841 h 969327"/>
                  <a:gd name="connsiteX31" fmla="*/ 381757 w 956848"/>
                  <a:gd name="connsiteY31" fmla="*/ 770822 h 969327"/>
                  <a:gd name="connsiteX32" fmla="*/ 332776 w 956848"/>
                  <a:gd name="connsiteY32" fmla="*/ 819807 h 969327"/>
                  <a:gd name="connsiteX33" fmla="*/ 286373 w 956848"/>
                  <a:gd name="connsiteY33" fmla="*/ 770822 h 969327"/>
                  <a:gd name="connsiteX34" fmla="*/ 335354 w 956848"/>
                  <a:gd name="connsiteY34" fmla="*/ 721841 h 969327"/>
                  <a:gd name="connsiteX35" fmla="*/ 190985 w 956848"/>
                  <a:gd name="connsiteY35" fmla="*/ 721840 h 969327"/>
                  <a:gd name="connsiteX36" fmla="*/ 237388 w 956848"/>
                  <a:gd name="connsiteY36" fmla="*/ 770821 h 969327"/>
                  <a:gd name="connsiteX37" fmla="*/ 188407 w 956848"/>
                  <a:gd name="connsiteY37" fmla="*/ 819806 h 969327"/>
                  <a:gd name="connsiteX38" fmla="*/ 142004 w 956848"/>
                  <a:gd name="connsiteY38" fmla="*/ 770821 h 969327"/>
                  <a:gd name="connsiteX39" fmla="*/ 190985 w 956848"/>
                  <a:gd name="connsiteY39" fmla="*/ 721840 h 969327"/>
                  <a:gd name="connsiteX40" fmla="*/ 768457 w 956848"/>
                  <a:gd name="connsiteY40" fmla="*/ 580050 h 969327"/>
                  <a:gd name="connsiteX41" fmla="*/ 814861 w 956848"/>
                  <a:gd name="connsiteY41" fmla="*/ 629031 h 969327"/>
                  <a:gd name="connsiteX42" fmla="*/ 765880 w 956848"/>
                  <a:gd name="connsiteY42" fmla="*/ 678012 h 969327"/>
                  <a:gd name="connsiteX43" fmla="*/ 719476 w 956848"/>
                  <a:gd name="connsiteY43" fmla="*/ 629031 h 969327"/>
                  <a:gd name="connsiteX44" fmla="*/ 768457 w 956848"/>
                  <a:gd name="connsiteY44" fmla="*/ 580050 h 969327"/>
                  <a:gd name="connsiteX45" fmla="*/ 621510 w 956848"/>
                  <a:gd name="connsiteY45" fmla="*/ 577472 h 969327"/>
                  <a:gd name="connsiteX46" fmla="*/ 667918 w 956848"/>
                  <a:gd name="connsiteY46" fmla="*/ 626453 h 969327"/>
                  <a:gd name="connsiteX47" fmla="*/ 618933 w 956848"/>
                  <a:gd name="connsiteY47" fmla="*/ 675434 h 969327"/>
                  <a:gd name="connsiteX48" fmla="*/ 572529 w 956848"/>
                  <a:gd name="connsiteY48" fmla="*/ 626453 h 969327"/>
                  <a:gd name="connsiteX49" fmla="*/ 621510 w 956848"/>
                  <a:gd name="connsiteY49" fmla="*/ 577472 h 969327"/>
                  <a:gd name="connsiteX50" fmla="*/ 479723 w 956848"/>
                  <a:gd name="connsiteY50" fmla="*/ 577472 h 969327"/>
                  <a:gd name="connsiteX51" fmla="*/ 526131 w 956848"/>
                  <a:gd name="connsiteY51" fmla="*/ 626453 h 969327"/>
                  <a:gd name="connsiteX52" fmla="*/ 477146 w 956848"/>
                  <a:gd name="connsiteY52" fmla="*/ 675434 h 969327"/>
                  <a:gd name="connsiteX53" fmla="*/ 430742 w 956848"/>
                  <a:gd name="connsiteY53" fmla="*/ 626453 h 969327"/>
                  <a:gd name="connsiteX54" fmla="*/ 479723 w 956848"/>
                  <a:gd name="connsiteY54" fmla="*/ 577472 h 969327"/>
                  <a:gd name="connsiteX55" fmla="*/ 335354 w 956848"/>
                  <a:gd name="connsiteY55" fmla="*/ 577472 h 969327"/>
                  <a:gd name="connsiteX56" fmla="*/ 381762 w 956848"/>
                  <a:gd name="connsiteY56" fmla="*/ 626453 h 969327"/>
                  <a:gd name="connsiteX57" fmla="*/ 332780 w 956848"/>
                  <a:gd name="connsiteY57" fmla="*/ 675434 h 969327"/>
                  <a:gd name="connsiteX58" fmla="*/ 286373 w 956848"/>
                  <a:gd name="connsiteY58" fmla="*/ 626453 h 969327"/>
                  <a:gd name="connsiteX59" fmla="*/ 335354 w 956848"/>
                  <a:gd name="connsiteY59" fmla="*/ 577472 h 969327"/>
                  <a:gd name="connsiteX60" fmla="*/ 910248 w 956848"/>
                  <a:gd name="connsiteY60" fmla="*/ 433103 h 969327"/>
                  <a:gd name="connsiteX61" fmla="*/ 956652 w 956848"/>
                  <a:gd name="connsiteY61" fmla="*/ 482084 h 969327"/>
                  <a:gd name="connsiteX62" fmla="*/ 907670 w 956848"/>
                  <a:gd name="connsiteY62" fmla="*/ 531069 h 969327"/>
                  <a:gd name="connsiteX63" fmla="*/ 861267 w 956848"/>
                  <a:gd name="connsiteY63" fmla="*/ 482084 h 969327"/>
                  <a:gd name="connsiteX64" fmla="*/ 910248 w 956848"/>
                  <a:gd name="connsiteY64" fmla="*/ 433103 h 969327"/>
                  <a:gd name="connsiteX65" fmla="*/ 768457 w 956848"/>
                  <a:gd name="connsiteY65" fmla="*/ 433103 h 969327"/>
                  <a:gd name="connsiteX66" fmla="*/ 814861 w 956848"/>
                  <a:gd name="connsiteY66" fmla="*/ 482084 h 969327"/>
                  <a:gd name="connsiteX67" fmla="*/ 765880 w 956848"/>
                  <a:gd name="connsiteY67" fmla="*/ 531069 h 969327"/>
                  <a:gd name="connsiteX68" fmla="*/ 719476 w 956848"/>
                  <a:gd name="connsiteY68" fmla="*/ 482084 h 969327"/>
                  <a:gd name="connsiteX69" fmla="*/ 768457 w 956848"/>
                  <a:gd name="connsiteY69" fmla="*/ 433103 h 969327"/>
                  <a:gd name="connsiteX70" fmla="*/ 621510 w 956848"/>
                  <a:gd name="connsiteY70" fmla="*/ 433103 h 969327"/>
                  <a:gd name="connsiteX71" fmla="*/ 667918 w 956848"/>
                  <a:gd name="connsiteY71" fmla="*/ 482084 h 969327"/>
                  <a:gd name="connsiteX72" fmla="*/ 618933 w 956848"/>
                  <a:gd name="connsiteY72" fmla="*/ 531069 h 969327"/>
                  <a:gd name="connsiteX73" fmla="*/ 572529 w 956848"/>
                  <a:gd name="connsiteY73" fmla="*/ 482084 h 969327"/>
                  <a:gd name="connsiteX74" fmla="*/ 621510 w 956848"/>
                  <a:gd name="connsiteY74" fmla="*/ 433103 h 969327"/>
                  <a:gd name="connsiteX75" fmla="*/ 479723 w 956848"/>
                  <a:gd name="connsiteY75" fmla="*/ 433103 h 969327"/>
                  <a:gd name="connsiteX76" fmla="*/ 526131 w 956848"/>
                  <a:gd name="connsiteY76" fmla="*/ 482084 h 969327"/>
                  <a:gd name="connsiteX77" fmla="*/ 477146 w 956848"/>
                  <a:gd name="connsiteY77" fmla="*/ 531069 h 969327"/>
                  <a:gd name="connsiteX78" fmla="*/ 430742 w 956848"/>
                  <a:gd name="connsiteY78" fmla="*/ 482084 h 969327"/>
                  <a:gd name="connsiteX79" fmla="*/ 479723 w 956848"/>
                  <a:gd name="connsiteY79" fmla="*/ 433103 h 969327"/>
                  <a:gd name="connsiteX80" fmla="*/ 768457 w 956848"/>
                  <a:gd name="connsiteY80" fmla="*/ 291312 h 969327"/>
                  <a:gd name="connsiteX81" fmla="*/ 814861 w 956848"/>
                  <a:gd name="connsiteY81" fmla="*/ 340293 h 969327"/>
                  <a:gd name="connsiteX82" fmla="*/ 765880 w 956848"/>
                  <a:gd name="connsiteY82" fmla="*/ 389278 h 969327"/>
                  <a:gd name="connsiteX83" fmla="*/ 719476 w 956848"/>
                  <a:gd name="connsiteY83" fmla="*/ 340293 h 969327"/>
                  <a:gd name="connsiteX84" fmla="*/ 768457 w 956848"/>
                  <a:gd name="connsiteY84" fmla="*/ 291312 h 969327"/>
                  <a:gd name="connsiteX85" fmla="*/ 621514 w 956848"/>
                  <a:gd name="connsiteY85" fmla="*/ 288734 h 969327"/>
                  <a:gd name="connsiteX86" fmla="*/ 667917 w 956848"/>
                  <a:gd name="connsiteY86" fmla="*/ 337715 h 969327"/>
                  <a:gd name="connsiteX87" fmla="*/ 618936 w 956848"/>
                  <a:gd name="connsiteY87" fmla="*/ 386700 h 969327"/>
                  <a:gd name="connsiteX88" fmla="*/ 572533 w 956848"/>
                  <a:gd name="connsiteY88" fmla="*/ 337715 h 969327"/>
                  <a:gd name="connsiteX89" fmla="*/ 621514 w 956848"/>
                  <a:gd name="connsiteY89" fmla="*/ 288734 h 969327"/>
                  <a:gd name="connsiteX90" fmla="*/ 479723 w 956848"/>
                  <a:gd name="connsiteY90" fmla="*/ 288734 h 969327"/>
                  <a:gd name="connsiteX91" fmla="*/ 526126 w 956848"/>
                  <a:gd name="connsiteY91" fmla="*/ 337715 h 969327"/>
                  <a:gd name="connsiteX92" fmla="*/ 477145 w 956848"/>
                  <a:gd name="connsiteY92" fmla="*/ 386700 h 969327"/>
                  <a:gd name="connsiteX93" fmla="*/ 430742 w 956848"/>
                  <a:gd name="connsiteY93" fmla="*/ 337715 h 969327"/>
                  <a:gd name="connsiteX94" fmla="*/ 479723 w 956848"/>
                  <a:gd name="connsiteY94" fmla="*/ 288734 h 969327"/>
                  <a:gd name="connsiteX95" fmla="*/ 337931 w 956848"/>
                  <a:gd name="connsiteY95" fmla="*/ 288734 h 969327"/>
                  <a:gd name="connsiteX96" fmla="*/ 384339 w 956848"/>
                  <a:gd name="connsiteY96" fmla="*/ 337715 h 969327"/>
                  <a:gd name="connsiteX97" fmla="*/ 335354 w 956848"/>
                  <a:gd name="connsiteY97" fmla="*/ 386700 h 969327"/>
                  <a:gd name="connsiteX98" fmla="*/ 288950 w 956848"/>
                  <a:gd name="connsiteY98" fmla="*/ 337715 h 969327"/>
                  <a:gd name="connsiteX99" fmla="*/ 337931 w 956848"/>
                  <a:gd name="connsiteY99" fmla="*/ 288734 h 969327"/>
                  <a:gd name="connsiteX100" fmla="*/ 621510 w 956848"/>
                  <a:gd name="connsiteY100" fmla="*/ 146943 h 969327"/>
                  <a:gd name="connsiteX101" fmla="*/ 667918 w 956848"/>
                  <a:gd name="connsiteY101" fmla="*/ 195924 h 969327"/>
                  <a:gd name="connsiteX102" fmla="*/ 618933 w 956848"/>
                  <a:gd name="connsiteY102" fmla="*/ 244909 h 969327"/>
                  <a:gd name="connsiteX103" fmla="*/ 572529 w 956848"/>
                  <a:gd name="connsiteY103" fmla="*/ 195924 h 969327"/>
                  <a:gd name="connsiteX104" fmla="*/ 621510 w 956848"/>
                  <a:gd name="connsiteY104" fmla="*/ 146943 h 969327"/>
                  <a:gd name="connsiteX105" fmla="*/ 479723 w 956848"/>
                  <a:gd name="connsiteY105" fmla="*/ 146943 h 969327"/>
                  <a:gd name="connsiteX106" fmla="*/ 526131 w 956848"/>
                  <a:gd name="connsiteY106" fmla="*/ 195924 h 969327"/>
                  <a:gd name="connsiteX107" fmla="*/ 477146 w 956848"/>
                  <a:gd name="connsiteY107" fmla="*/ 244909 h 969327"/>
                  <a:gd name="connsiteX108" fmla="*/ 430742 w 956848"/>
                  <a:gd name="connsiteY108" fmla="*/ 195924 h 969327"/>
                  <a:gd name="connsiteX109" fmla="*/ 479723 w 956848"/>
                  <a:gd name="connsiteY109" fmla="*/ 146943 h 969327"/>
                  <a:gd name="connsiteX110" fmla="*/ 337931 w 956848"/>
                  <a:gd name="connsiteY110" fmla="*/ 146943 h 969327"/>
                  <a:gd name="connsiteX111" fmla="*/ 384339 w 956848"/>
                  <a:gd name="connsiteY111" fmla="*/ 195924 h 969327"/>
                  <a:gd name="connsiteX112" fmla="*/ 335354 w 956848"/>
                  <a:gd name="connsiteY112" fmla="*/ 244909 h 969327"/>
                  <a:gd name="connsiteX113" fmla="*/ 288950 w 956848"/>
                  <a:gd name="connsiteY113" fmla="*/ 195924 h 969327"/>
                  <a:gd name="connsiteX114" fmla="*/ 337931 w 956848"/>
                  <a:gd name="connsiteY114" fmla="*/ 146943 h 969327"/>
                  <a:gd name="connsiteX115" fmla="*/ 193562 w 956848"/>
                  <a:gd name="connsiteY115" fmla="*/ 144369 h 969327"/>
                  <a:gd name="connsiteX116" fmla="*/ 239970 w 956848"/>
                  <a:gd name="connsiteY116" fmla="*/ 193350 h 969327"/>
                  <a:gd name="connsiteX117" fmla="*/ 190988 w 956848"/>
                  <a:gd name="connsiteY117" fmla="*/ 242331 h 969327"/>
                  <a:gd name="connsiteX118" fmla="*/ 144581 w 956848"/>
                  <a:gd name="connsiteY118" fmla="*/ 193350 h 969327"/>
                  <a:gd name="connsiteX119" fmla="*/ 193562 w 956848"/>
                  <a:gd name="connsiteY119" fmla="*/ 144369 h 969327"/>
                  <a:gd name="connsiteX120" fmla="*/ 479723 w 956848"/>
                  <a:gd name="connsiteY120" fmla="*/ 0 h 969327"/>
                  <a:gd name="connsiteX121" fmla="*/ 526131 w 956848"/>
                  <a:gd name="connsiteY121" fmla="*/ 48981 h 969327"/>
                  <a:gd name="connsiteX122" fmla="*/ 477146 w 956848"/>
                  <a:gd name="connsiteY122" fmla="*/ 97962 h 969327"/>
                  <a:gd name="connsiteX123" fmla="*/ 430742 w 956848"/>
                  <a:gd name="connsiteY123" fmla="*/ 48981 h 969327"/>
                  <a:gd name="connsiteX124" fmla="*/ 479723 w 956848"/>
                  <a:gd name="connsiteY124" fmla="*/ 0 h 969327"/>
                  <a:gd name="connsiteX125" fmla="*/ 337932 w 956848"/>
                  <a:gd name="connsiteY125" fmla="*/ 0 h 969327"/>
                  <a:gd name="connsiteX126" fmla="*/ 384335 w 956848"/>
                  <a:gd name="connsiteY126" fmla="*/ 48981 h 969327"/>
                  <a:gd name="connsiteX127" fmla="*/ 335354 w 956848"/>
                  <a:gd name="connsiteY127" fmla="*/ 97962 h 969327"/>
                  <a:gd name="connsiteX128" fmla="*/ 288951 w 956848"/>
                  <a:gd name="connsiteY128" fmla="*/ 48981 h 969327"/>
                  <a:gd name="connsiteX129" fmla="*/ 337932 w 956848"/>
                  <a:gd name="connsiteY129" fmla="*/ 0 h 969327"/>
                  <a:gd name="connsiteX130" fmla="*/ 193562 w 956848"/>
                  <a:gd name="connsiteY130" fmla="*/ 0 h 969327"/>
                  <a:gd name="connsiteX131" fmla="*/ 239970 w 956848"/>
                  <a:gd name="connsiteY131" fmla="*/ 48981 h 969327"/>
                  <a:gd name="connsiteX132" fmla="*/ 190988 w 956848"/>
                  <a:gd name="connsiteY132" fmla="*/ 97962 h 969327"/>
                  <a:gd name="connsiteX133" fmla="*/ 144581 w 956848"/>
                  <a:gd name="connsiteY133" fmla="*/ 48981 h 969327"/>
                  <a:gd name="connsiteX134" fmla="*/ 193562 w 956848"/>
                  <a:gd name="connsiteY134" fmla="*/ 0 h 969327"/>
                  <a:gd name="connsiteX135" fmla="*/ 51771 w 956848"/>
                  <a:gd name="connsiteY135" fmla="*/ 0 h 969327"/>
                  <a:gd name="connsiteX136" fmla="*/ 98179 w 956848"/>
                  <a:gd name="connsiteY136" fmla="*/ 48981 h 969327"/>
                  <a:gd name="connsiteX137" fmla="*/ 49197 w 956848"/>
                  <a:gd name="connsiteY137" fmla="*/ 97962 h 969327"/>
                  <a:gd name="connsiteX138" fmla="*/ 2790 w 956848"/>
                  <a:gd name="connsiteY138" fmla="*/ 48981 h 969327"/>
                  <a:gd name="connsiteX139" fmla="*/ 51771 w 956848"/>
                  <a:gd name="connsiteY139" fmla="*/ 0 h 969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956848" h="969327">
                    <a:moveTo>
                      <a:pt x="335354" y="871365"/>
                    </a:moveTo>
                    <a:cubicBezTo>
                      <a:pt x="361135" y="871365"/>
                      <a:pt x="384338" y="891987"/>
                      <a:pt x="381761" y="920346"/>
                    </a:cubicBezTo>
                    <a:cubicBezTo>
                      <a:pt x="381761" y="946127"/>
                      <a:pt x="361135" y="969327"/>
                      <a:pt x="332780" y="969327"/>
                    </a:cubicBezTo>
                    <a:cubicBezTo>
                      <a:pt x="306999" y="969327"/>
                      <a:pt x="286373" y="948705"/>
                      <a:pt x="286373" y="920346"/>
                    </a:cubicBezTo>
                    <a:cubicBezTo>
                      <a:pt x="288951" y="891987"/>
                      <a:pt x="309576" y="868788"/>
                      <a:pt x="335354" y="871365"/>
                    </a:cubicBezTo>
                    <a:close/>
                    <a:moveTo>
                      <a:pt x="477141" y="871365"/>
                    </a:moveTo>
                    <a:cubicBezTo>
                      <a:pt x="502923" y="871365"/>
                      <a:pt x="526126" y="891987"/>
                      <a:pt x="523549" y="920346"/>
                    </a:cubicBezTo>
                    <a:cubicBezTo>
                      <a:pt x="523549" y="946127"/>
                      <a:pt x="502923" y="969327"/>
                      <a:pt x="474567" y="969327"/>
                    </a:cubicBezTo>
                    <a:cubicBezTo>
                      <a:pt x="448786" y="969327"/>
                      <a:pt x="425583" y="948705"/>
                      <a:pt x="428160" y="920346"/>
                    </a:cubicBezTo>
                    <a:cubicBezTo>
                      <a:pt x="430738" y="891987"/>
                      <a:pt x="451364" y="871365"/>
                      <a:pt x="477141" y="871365"/>
                    </a:cubicBezTo>
                    <a:close/>
                    <a:moveTo>
                      <a:pt x="190985" y="868784"/>
                    </a:moveTo>
                    <a:cubicBezTo>
                      <a:pt x="216766" y="868784"/>
                      <a:pt x="239965" y="889406"/>
                      <a:pt x="237388" y="917765"/>
                    </a:cubicBezTo>
                    <a:cubicBezTo>
                      <a:pt x="237388" y="943546"/>
                      <a:pt x="216766" y="966746"/>
                      <a:pt x="188407" y="966746"/>
                    </a:cubicBezTo>
                    <a:cubicBezTo>
                      <a:pt x="160048" y="966746"/>
                      <a:pt x="139426" y="946124"/>
                      <a:pt x="142004" y="917765"/>
                    </a:cubicBezTo>
                    <a:cubicBezTo>
                      <a:pt x="144582" y="889406"/>
                      <a:pt x="165204" y="868784"/>
                      <a:pt x="190985" y="868784"/>
                    </a:cubicBezTo>
                    <a:close/>
                    <a:moveTo>
                      <a:pt x="49198" y="868784"/>
                    </a:moveTo>
                    <a:cubicBezTo>
                      <a:pt x="74979" y="868784"/>
                      <a:pt x="98178" y="889406"/>
                      <a:pt x="95601" y="917765"/>
                    </a:cubicBezTo>
                    <a:cubicBezTo>
                      <a:pt x="93023" y="946124"/>
                      <a:pt x="74979" y="966746"/>
                      <a:pt x="46620" y="966746"/>
                    </a:cubicBezTo>
                    <a:cubicBezTo>
                      <a:pt x="18261" y="966746"/>
                      <a:pt x="-2361" y="946124"/>
                      <a:pt x="217" y="917765"/>
                    </a:cubicBezTo>
                    <a:cubicBezTo>
                      <a:pt x="217" y="889406"/>
                      <a:pt x="23417" y="868784"/>
                      <a:pt x="49198" y="868784"/>
                    </a:cubicBezTo>
                    <a:close/>
                    <a:moveTo>
                      <a:pt x="618932" y="721841"/>
                    </a:moveTo>
                    <a:cubicBezTo>
                      <a:pt x="644714" y="721841"/>
                      <a:pt x="667917" y="742463"/>
                      <a:pt x="665340" y="770822"/>
                    </a:cubicBezTo>
                    <a:cubicBezTo>
                      <a:pt x="665340" y="796603"/>
                      <a:pt x="644714" y="819807"/>
                      <a:pt x="616358" y="819807"/>
                    </a:cubicBezTo>
                    <a:cubicBezTo>
                      <a:pt x="590577" y="819807"/>
                      <a:pt x="567374" y="799181"/>
                      <a:pt x="569951" y="770822"/>
                    </a:cubicBezTo>
                    <a:cubicBezTo>
                      <a:pt x="572529" y="742463"/>
                      <a:pt x="593155" y="721841"/>
                      <a:pt x="618932" y="721841"/>
                    </a:cubicBezTo>
                    <a:close/>
                    <a:moveTo>
                      <a:pt x="477141" y="721841"/>
                    </a:moveTo>
                    <a:cubicBezTo>
                      <a:pt x="502922" y="721841"/>
                      <a:pt x="526125" y="742463"/>
                      <a:pt x="523548" y="770822"/>
                    </a:cubicBezTo>
                    <a:cubicBezTo>
                      <a:pt x="523548" y="796603"/>
                      <a:pt x="502922" y="819807"/>
                      <a:pt x="474567" y="819807"/>
                    </a:cubicBezTo>
                    <a:cubicBezTo>
                      <a:pt x="448786" y="819807"/>
                      <a:pt x="428160" y="799181"/>
                      <a:pt x="428160" y="770822"/>
                    </a:cubicBezTo>
                    <a:cubicBezTo>
                      <a:pt x="430738" y="742463"/>
                      <a:pt x="451363" y="721841"/>
                      <a:pt x="477141" y="721841"/>
                    </a:cubicBezTo>
                    <a:close/>
                    <a:moveTo>
                      <a:pt x="335354" y="721841"/>
                    </a:moveTo>
                    <a:cubicBezTo>
                      <a:pt x="361135" y="721841"/>
                      <a:pt x="384338" y="742463"/>
                      <a:pt x="381757" y="770822"/>
                    </a:cubicBezTo>
                    <a:cubicBezTo>
                      <a:pt x="381757" y="796603"/>
                      <a:pt x="361135" y="819807"/>
                      <a:pt x="332776" y="819807"/>
                    </a:cubicBezTo>
                    <a:cubicBezTo>
                      <a:pt x="304417" y="819807"/>
                      <a:pt x="283795" y="799181"/>
                      <a:pt x="286373" y="770822"/>
                    </a:cubicBezTo>
                    <a:cubicBezTo>
                      <a:pt x="288951" y="742463"/>
                      <a:pt x="309573" y="721841"/>
                      <a:pt x="335354" y="721841"/>
                    </a:cubicBezTo>
                    <a:close/>
                    <a:moveTo>
                      <a:pt x="190985" y="721840"/>
                    </a:moveTo>
                    <a:cubicBezTo>
                      <a:pt x="216766" y="721840"/>
                      <a:pt x="239965" y="742462"/>
                      <a:pt x="237388" y="770821"/>
                    </a:cubicBezTo>
                    <a:cubicBezTo>
                      <a:pt x="237388" y="796602"/>
                      <a:pt x="216766" y="819806"/>
                      <a:pt x="188407" y="819806"/>
                    </a:cubicBezTo>
                    <a:cubicBezTo>
                      <a:pt x="160048" y="819806"/>
                      <a:pt x="139426" y="799180"/>
                      <a:pt x="142004" y="770821"/>
                    </a:cubicBezTo>
                    <a:cubicBezTo>
                      <a:pt x="144582" y="742462"/>
                      <a:pt x="165204" y="719263"/>
                      <a:pt x="190985" y="721840"/>
                    </a:cubicBezTo>
                    <a:close/>
                    <a:moveTo>
                      <a:pt x="768457" y="580050"/>
                    </a:moveTo>
                    <a:cubicBezTo>
                      <a:pt x="794239" y="580050"/>
                      <a:pt x="817442" y="600672"/>
                      <a:pt x="814861" y="629031"/>
                    </a:cubicBezTo>
                    <a:cubicBezTo>
                      <a:pt x="814861" y="654812"/>
                      <a:pt x="794239" y="678012"/>
                      <a:pt x="765880" y="678012"/>
                    </a:cubicBezTo>
                    <a:cubicBezTo>
                      <a:pt x="740102" y="678012"/>
                      <a:pt x="716899" y="657390"/>
                      <a:pt x="719476" y="629031"/>
                    </a:cubicBezTo>
                    <a:cubicBezTo>
                      <a:pt x="719476" y="600672"/>
                      <a:pt x="742676" y="580050"/>
                      <a:pt x="768457" y="580050"/>
                    </a:cubicBezTo>
                    <a:close/>
                    <a:moveTo>
                      <a:pt x="621510" y="577472"/>
                    </a:moveTo>
                    <a:cubicBezTo>
                      <a:pt x="647292" y="577472"/>
                      <a:pt x="670495" y="598094"/>
                      <a:pt x="667918" y="626453"/>
                    </a:cubicBezTo>
                    <a:cubicBezTo>
                      <a:pt x="667918" y="652234"/>
                      <a:pt x="647292" y="675434"/>
                      <a:pt x="618933" y="675434"/>
                    </a:cubicBezTo>
                    <a:cubicBezTo>
                      <a:pt x="593155" y="675434"/>
                      <a:pt x="569952" y="654812"/>
                      <a:pt x="572529" y="626453"/>
                    </a:cubicBezTo>
                    <a:cubicBezTo>
                      <a:pt x="572529" y="600676"/>
                      <a:pt x="593155" y="577472"/>
                      <a:pt x="621510" y="577472"/>
                    </a:cubicBezTo>
                    <a:close/>
                    <a:moveTo>
                      <a:pt x="479723" y="577472"/>
                    </a:moveTo>
                    <a:cubicBezTo>
                      <a:pt x="505505" y="577472"/>
                      <a:pt x="528708" y="598094"/>
                      <a:pt x="526131" y="626453"/>
                    </a:cubicBezTo>
                    <a:cubicBezTo>
                      <a:pt x="526131" y="652234"/>
                      <a:pt x="505505" y="675434"/>
                      <a:pt x="477146" y="675434"/>
                    </a:cubicBezTo>
                    <a:cubicBezTo>
                      <a:pt x="451368" y="675434"/>
                      <a:pt x="428165" y="654812"/>
                      <a:pt x="430742" y="626453"/>
                    </a:cubicBezTo>
                    <a:cubicBezTo>
                      <a:pt x="430742" y="600676"/>
                      <a:pt x="451368" y="577472"/>
                      <a:pt x="479723" y="577472"/>
                    </a:cubicBezTo>
                    <a:close/>
                    <a:moveTo>
                      <a:pt x="335354" y="577472"/>
                    </a:moveTo>
                    <a:cubicBezTo>
                      <a:pt x="361136" y="577472"/>
                      <a:pt x="384339" y="598094"/>
                      <a:pt x="381762" y="626453"/>
                    </a:cubicBezTo>
                    <a:cubicBezTo>
                      <a:pt x="381762" y="652234"/>
                      <a:pt x="361136" y="675434"/>
                      <a:pt x="332780" y="675434"/>
                    </a:cubicBezTo>
                    <a:cubicBezTo>
                      <a:pt x="306999" y="675434"/>
                      <a:pt x="283796" y="654812"/>
                      <a:pt x="286373" y="626453"/>
                    </a:cubicBezTo>
                    <a:cubicBezTo>
                      <a:pt x="288951" y="598094"/>
                      <a:pt x="309577" y="577472"/>
                      <a:pt x="335354" y="577472"/>
                    </a:cubicBezTo>
                    <a:close/>
                    <a:moveTo>
                      <a:pt x="910248" y="433103"/>
                    </a:moveTo>
                    <a:cubicBezTo>
                      <a:pt x="936026" y="433103"/>
                      <a:pt x="959229" y="453729"/>
                      <a:pt x="956652" y="482084"/>
                    </a:cubicBezTo>
                    <a:cubicBezTo>
                      <a:pt x="956652" y="507865"/>
                      <a:pt x="936026" y="531069"/>
                      <a:pt x="907670" y="531069"/>
                    </a:cubicBezTo>
                    <a:cubicBezTo>
                      <a:pt x="879311" y="531069"/>
                      <a:pt x="858685" y="510443"/>
                      <a:pt x="861267" y="482084"/>
                    </a:cubicBezTo>
                    <a:cubicBezTo>
                      <a:pt x="863845" y="453729"/>
                      <a:pt x="884467" y="433103"/>
                      <a:pt x="910248" y="433103"/>
                    </a:cubicBezTo>
                    <a:close/>
                    <a:moveTo>
                      <a:pt x="768457" y="433103"/>
                    </a:moveTo>
                    <a:cubicBezTo>
                      <a:pt x="794239" y="433103"/>
                      <a:pt x="817442" y="453729"/>
                      <a:pt x="814861" y="482084"/>
                    </a:cubicBezTo>
                    <a:cubicBezTo>
                      <a:pt x="812283" y="510443"/>
                      <a:pt x="794239" y="531069"/>
                      <a:pt x="765880" y="531069"/>
                    </a:cubicBezTo>
                    <a:cubicBezTo>
                      <a:pt x="740102" y="531069"/>
                      <a:pt x="716899" y="510443"/>
                      <a:pt x="719476" y="482084"/>
                    </a:cubicBezTo>
                    <a:cubicBezTo>
                      <a:pt x="722054" y="453729"/>
                      <a:pt x="742676" y="433103"/>
                      <a:pt x="768457" y="433103"/>
                    </a:cubicBezTo>
                    <a:close/>
                    <a:moveTo>
                      <a:pt x="621510" y="433103"/>
                    </a:moveTo>
                    <a:cubicBezTo>
                      <a:pt x="647292" y="433103"/>
                      <a:pt x="670495" y="453729"/>
                      <a:pt x="667918" y="482084"/>
                    </a:cubicBezTo>
                    <a:cubicBezTo>
                      <a:pt x="667918" y="507865"/>
                      <a:pt x="647292" y="531069"/>
                      <a:pt x="618933" y="531069"/>
                    </a:cubicBezTo>
                    <a:cubicBezTo>
                      <a:pt x="593155" y="531069"/>
                      <a:pt x="569952" y="510443"/>
                      <a:pt x="572529" y="482084"/>
                    </a:cubicBezTo>
                    <a:cubicBezTo>
                      <a:pt x="572529" y="453729"/>
                      <a:pt x="593155" y="433103"/>
                      <a:pt x="621510" y="433103"/>
                    </a:cubicBezTo>
                    <a:close/>
                    <a:moveTo>
                      <a:pt x="479723" y="433103"/>
                    </a:moveTo>
                    <a:cubicBezTo>
                      <a:pt x="505505" y="433103"/>
                      <a:pt x="528708" y="453729"/>
                      <a:pt x="526131" y="482084"/>
                    </a:cubicBezTo>
                    <a:cubicBezTo>
                      <a:pt x="526131" y="507865"/>
                      <a:pt x="505505" y="531069"/>
                      <a:pt x="477146" y="531069"/>
                    </a:cubicBezTo>
                    <a:cubicBezTo>
                      <a:pt x="451368" y="531069"/>
                      <a:pt x="428165" y="510443"/>
                      <a:pt x="430742" y="482084"/>
                    </a:cubicBezTo>
                    <a:cubicBezTo>
                      <a:pt x="430742" y="453729"/>
                      <a:pt x="451368" y="433103"/>
                      <a:pt x="479723" y="433103"/>
                    </a:cubicBezTo>
                    <a:close/>
                    <a:moveTo>
                      <a:pt x="768457" y="291312"/>
                    </a:moveTo>
                    <a:cubicBezTo>
                      <a:pt x="794239" y="291312"/>
                      <a:pt x="817442" y="311938"/>
                      <a:pt x="814861" y="340293"/>
                    </a:cubicBezTo>
                    <a:cubicBezTo>
                      <a:pt x="814861" y="366074"/>
                      <a:pt x="794239" y="389278"/>
                      <a:pt x="765880" y="389278"/>
                    </a:cubicBezTo>
                    <a:cubicBezTo>
                      <a:pt x="740102" y="389278"/>
                      <a:pt x="716899" y="368652"/>
                      <a:pt x="719476" y="340293"/>
                    </a:cubicBezTo>
                    <a:cubicBezTo>
                      <a:pt x="722054" y="311938"/>
                      <a:pt x="742676" y="288734"/>
                      <a:pt x="768457" y="291312"/>
                    </a:cubicBezTo>
                    <a:close/>
                    <a:moveTo>
                      <a:pt x="621514" y="288734"/>
                    </a:moveTo>
                    <a:cubicBezTo>
                      <a:pt x="647291" y="288734"/>
                      <a:pt x="670494" y="309360"/>
                      <a:pt x="667917" y="337715"/>
                    </a:cubicBezTo>
                    <a:cubicBezTo>
                      <a:pt x="667917" y="363496"/>
                      <a:pt x="647291" y="386700"/>
                      <a:pt x="618936" y="386700"/>
                    </a:cubicBezTo>
                    <a:cubicBezTo>
                      <a:pt x="590577" y="386700"/>
                      <a:pt x="569951" y="366074"/>
                      <a:pt x="572533" y="337715"/>
                    </a:cubicBezTo>
                    <a:cubicBezTo>
                      <a:pt x="572533" y="311937"/>
                      <a:pt x="595733" y="288734"/>
                      <a:pt x="621514" y="288734"/>
                    </a:cubicBezTo>
                    <a:close/>
                    <a:moveTo>
                      <a:pt x="479723" y="288734"/>
                    </a:moveTo>
                    <a:cubicBezTo>
                      <a:pt x="505500" y="288734"/>
                      <a:pt x="528703" y="309360"/>
                      <a:pt x="526126" y="337715"/>
                    </a:cubicBezTo>
                    <a:cubicBezTo>
                      <a:pt x="526126" y="363496"/>
                      <a:pt x="505500" y="386700"/>
                      <a:pt x="477145" y="386700"/>
                    </a:cubicBezTo>
                    <a:cubicBezTo>
                      <a:pt x="448786" y="386700"/>
                      <a:pt x="428160" y="366074"/>
                      <a:pt x="430742" y="337715"/>
                    </a:cubicBezTo>
                    <a:cubicBezTo>
                      <a:pt x="430742" y="309360"/>
                      <a:pt x="453942" y="288734"/>
                      <a:pt x="479723" y="288734"/>
                    </a:cubicBezTo>
                    <a:close/>
                    <a:moveTo>
                      <a:pt x="337931" y="288734"/>
                    </a:moveTo>
                    <a:cubicBezTo>
                      <a:pt x="363713" y="288734"/>
                      <a:pt x="386916" y="309360"/>
                      <a:pt x="384339" y="337715"/>
                    </a:cubicBezTo>
                    <a:cubicBezTo>
                      <a:pt x="384339" y="363496"/>
                      <a:pt x="363713" y="386700"/>
                      <a:pt x="335354" y="386700"/>
                    </a:cubicBezTo>
                    <a:cubicBezTo>
                      <a:pt x="309576" y="386700"/>
                      <a:pt x="286373" y="366074"/>
                      <a:pt x="288950" y="337715"/>
                    </a:cubicBezTo>
                    <a:cubicBezTo>
                      <a:pt x="288950" y="309360"/>
                      <a:pt x="312150" y="288734"/>
                      <a:pt x="337931" y="288734"/>
                    </a:cubicBezTo>
                    <a:close/>
                    <a:moveTo>
                      <a:pt x="621510" y="146943"/>
                    </a:moveTo>
                    <a:cubicBezTo>
                      <a:pt x="647292" y="146943"/>
                      <a:pt x="670495" y="167569"/>
                      <a:pt x="667918" y="195924"/>
                    </a:cubicBezTo>
                    <a:cubicBezTo>
                      <a:pt x="667918" y="221705"/>
                      <a:pt x="647292" y="244909"/>
                      <a:pt x="618933" y="244909"/>
                    </a:cubicBezTo>
                    <a:cubicBezTo>
                      <a:pt x="593155" y="244909"/>
                      <a:pt x="569952" y="224283"/>
                      <a:pt x="572529" y="195924"/>
                    </a:cubicBezTo>
                    <a:cubicBezTo>
                      <a:pt x="575107" y="167569"/>
                      <a:pt x="595729" y="146943"/>
                      <a:pt x="621510" y="146943"/>
                    </a:cubicBezTo>
                    <a:close/>
                    <a:moveTo>
                      <a:pt x="479723" y="146943"/>
                    </a:moveTo>
                    <a:cubicBezTo>
                      <a:pt x="505505" y="146943"/>
                      <a:pt x="528708" y="167569"/>
                      <a:pt x="526131" y="195924"/>
                    </a:cubicBezTo>
                    <a:cubicBezTo>
                      <a:pt x="526131" y="221705"/>
                      <a:pt x="505505" y="244909"/>
                      <a:pt x="477146" y="244909"/>
                    </a:cubicBezTo>
                    <a:cubicBezTo>
                      <a:pt x="451368" y="244909"/>
                      <a:pt x="428165" y="224283"/>
                      <a:pt x="430742" y="195924"/>
                    </a:cubicBezTo>
                    <a:cubicBezTo>
                      <a:pt x="430742" y="167569"/>
                      <a:pt x="453942" y="146943"/>
                      <a:pt x="479723" y="146943"/>
                    </a:cubicBezTo>
                    <a:close/>
                    <a:moveTo>
                      <a:pt x="337931" y="146943"/>
                    </a:moveTo>
                    <a:cubicBezTo>
                      <a:pt x="363713" y="146943"/>
                      <a:pt x="386916" y="167569"/>
                      <a:pt x="384339" y="195924"/>
                    </a:cubicBezTo>
                    <a:cubicBezTo>
                      <a:pt x="384339" y="221705"/>
                      <a:pt x="363713" y="244909"/>
                      <a:pt x="335354" y="244909"/>
                    </a:cubicBezTo>
                    <a:cubicBezTo>
                      <a:pt x="309576" y="244909"/>
                      <a:pt x="286373" y="224283"/>
                      <a:pt x="288950" y="195924"/>
                    </a:cubicBezTo>
                    <a:cubicBezTo>
                      <a:pt x="288950" y="167569"/>
                      <a:pt x="312150" y="146943"/>
                      <a:pt x="337931" y="146943"/>
                    </a:cubicBezTo>
                    <a:close/>
                    <a:moveTo>
                      <a:pt x="193562" y="144369"/>
                    </a:moveTo>
                    <a:cubicBezTo>
                      <a:pt x="219344" y="144369"/>
                      <a:pt x="242547" y="164991"/>
                      <a:pt x="239970" y="193350"/>
                    </a:cubicBezTo>
                    <a:cubicBezTo>
                      <a:pt x="239970" y="219131"/>
                      <a:pt x="219344" y="242331"/>
                      <a:pt x="190988" y="242331"/>
                    </a:cubicBezTo>
                    <a:cubicBezTo>
                      <a:pt x="165207" y="242331"/>
                      <a:pt x="142004" y="221709"/>
                      <a:pt x="144581" y="193350"/>
                    </a:cubicBezTo>
                    <a:cubicBezTo>
                      <a:pt x="144581" y="167572"/>
                      <a:pt x="167785" y="144369"/>
                      <a:pt x="193562" y="144369"/>
                    </a:cubicBezTo>
                    <a:close/>
                    <a:moveTo>
                      <a:pt x="479723" y="0"/>
                    </a:moveTo>
                    <a:cubicBezTo>
                      <a:pt x="505505" y="0"/>
                      <a:pt x="528708" y="20622"/>
                      <a:pt x="526131" y="48981"/>
                    </a:cubicBezTo>
                    <a:cubicBezTo>
                      <a:pt x="523549" y="77340"/>
                      <a:pt x="505505" y="97962"/>
                      <a:pt x="477146" y="97962"/>
                    </a:cubicBezTo>
                    <a:cubicBezTo>
                      <a:pt x="451368" y="97962"/>
                      <a:pt x="428165" y="77340"/>
                      <a:pt x="430742" y="48981"/>
                    </a:cubicBezTo>
                    <a:cubicBezTo>
                      <a:pt x="433320" y="20622"/>
                      <a:pt x="453942" y="0"/>
                      <a:pt x="479723" y="0"/>
                    </a:cubicBezTo>
                    <a:close/>
                    <a:moveTo>
                      <a:pt x="337932" y="0"/>
                    </a:moveTo>
                    <a:cubicBezTo>
                      <a:pt x="363709" y="0"/>
                      <a:pt x="386912" y="20622"/>
                      <a:pt x="384335" y="48981"/>
                    </a:cubicBezTo>
                    <a:cubicBezTo>
                      <a:pt x="384335" y="74762"/>
                      <a:pt x="363709" y="97962"/>
                      <a:pt x="335354" y="97962"/>
                    </a:cubicBezTo>
                    <a:cubicBezTo>
                      <a:pt x="306995" y="97962"/>
                      <a:pt x="286369" y="77340"/>
                      <a:pt x="288951" y="48981"/>
                    </a:cubicBezTo>
                    <a:cubicBezTo>
                      <a:pt x="291529" y="20622"/>
                      <a:pt x="312151" y="0"/>
                      <a:pt x="337932" y="0"/>
                    </a:cubicBezTo>
                    <a:close/>
                    <a:moveTo>
                      <a:pt x="193562" y="0"/>
                    </a:moveTo>
                    <a:cubicBezTo>
                      <a:pt x="219344" y="0"/>
                      <a:pt x="242547" y="20622"/>
                      <a:pt x="239970" y="48981"/>
                    </a:cubicBezTo>
                    <a:cubicBezTo>
                      <a:pt x="239970" y="74762"/>
                      <a:pt x="219344" y="97962"/>
                      <a:pt x="190988" y="97962"/>
                    </a:cubicBezTo>
                    <a:cubicBezTo>
                      <a:pt x="165207" y="97962"/>
                      <a:pt x="142004" y="77340"/>
                      <a:pt x="144581" y="48981"/>
                    </a:cubicBezTo>
                    <a:cubicBezTo>
                      <a:pt x="147159" y="20622"/>
                      <a:pt x="167785" y="0"/>
                      <a:pt x="193562" y="0"/>
                    </a:cubicBezTo>
                    <a:close/>
                    <a:moveTo>
                      <a:pt x="51771" y="0"/>
                    </a:moveTo>
                    <a:cubicBezTo>
                      <a:pt x="77553" y="0"/>
                      <a:pt x="100756" y="20622"/>
                      <a:pt x="98179" y="48981"/>
                    </a:cubicBezTo>
                    <a:cubicBezTo>
                      <a:pt x="98179" y="74762"/>
                      <a:pt x="77553" y="97962"/>
                      <a:pt x="49197" y="97962"/>
                    </a:cubicBezTo>
                    <a:cubicBezTo>
                      <a:pt x="23416" y="97962"/>
                      <a:pt x="213" y="77340"/>
                      <a:pt x="2790" y="48981"/>
                    </a:cubicBezTo>
                    <a:cubicBezTo>
                      <a:pt x="2790" y="20622"/>
                      <a:pt x="25994" y="0"/>
                      <a:pt x="51771" y="0"/>
                    </a:cubicBezTo>
                    <a:close/>
                  </a:path>
                </a:pathLst>
              </a:custGeom>
              <a:solidFill>
                <a:schemeClr val="bg2">
                  <a:alpha val="40000"/>
                </a:schemeClr>
              </a:solidFill>
              <a:ln w="6825"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2207F87D-B338-4BF8-881E-51E0904695C1}"/>
                  </a:ext>
                </a:extLst>
              </p:cNvPr>
              <p:cNvSpPr/>
              <p:nvPr/>
            </p:nvSpPr>
            <p:spPr>
              <a:xfrm>
                <a:off x="10868663" y="4826453"/>
                <a:ext cx="726507" cy="736147"/>
              </a:xfrm>
              <a:custGeom>
                <a:avLst/>
                <a:gdLst>
                  <a:gd name="connsiteX0" fmla="*/ 335142 w 956635"/>
                  <a:gd name="connsiteY0" fmla="*/ 871365 h 969327"/>
                  <a:gd name="connsiteX1" fmla="*/ 381545 w 956635"/>
                  <a:gd name="connsiteY1" fmla="*/ 920346 h 969327"/>
                  <a:gd name="connsiteX2" fmla="*/ 332564 w 956635"/>
                  <a:gd name="connsiteY2" fmla="*/ 969327 h 969327"/>
                  <a:gd name="connsiteX3" fmla="*/ 286161 w 956635"/>
                  <a:gd name="connsiteY3" fmla="*/ 920346 h 969327"/>
                  <a:gd name="connsiteX4" fmla="*/ 335142 w 956635"/>
                  <a:gd name="connsiteY4" fmla="*/ 871365 h 969327"/>
                  <a:gd name="connsiteX5" fmla="*/ 476929 w 956635"/>
                  <a:gd name="connsiteY5" fmla="*/ 871365 h 969327"/>
                  <a:gd name="connsiteX6" fmla="*/ 523337 w 956635"/>
                  <a:gd name="connsiteY6" fmla="*/ 920346 h 969327"/>
                  <a:gd name="connsiteX7" fmla="*/ 474355 w 956635"/>
                  <a:gd name="connsiteY7" fmla="*/ 969327 h 969327"/>
                  <a:gd name="connsiteX8" fmla="*/ 427948 w 956635"/>
                  <a:gd name="connsiteY8" fmla="*/ 920346 h 969327"/>
                  <a:gd name="connsiteX9" fmla="*/ 476929 w 956635"/>
                  <a:gd name="connsiteY9" fmla="*/ 871365 h 969327"/>
                  <a:gd name="connsiteX10" fmla="*/ 190772 w 956635"/>
                  <a:gd name="connsiteY10" fmla="*/ 868784 h 969327"/>
                  <a:gd name="connsiteX11" fmla="*/ 237180 w 956635"/>
                  <a:gd name="connsiteY11" fmla="*/ 917765 h 969327"/>
                  <a:gd name="connsiteX12" fmla="*/ 188195 w 956635"/>
                  <a:gd name="connsiteY12" fmla="*/ 966746 h 969327"/>
                  <a:gd name="connsiteX13" fmla="*/ 141791 w 956635"/>
                  <a:gd name="connsiteY13" fmla="*/ 917765 h 969327"/>
                  <a:gd name="connsiteX14" fmla="*/ 190772 w 956635"/>
                  <a:gd name="connsiteY14" fmla="*/ 868784 h 969327"/>
                  <a:gd name="connsiteX15" fmla="*/ 48981 w 956635"/>
                  <a:gd name="connsiteY15" fmla="*/ 868784 h 969327"/>
                  <a:gd name="connsiteX16" fmla="*/ 95388 w 956635"/>
                  <a:gd name="connsiteY16" fmla="*/ 917765 h 969327"/>
                  <a:gd name="connsiteX17" fmla="*/ 46403 w 956635"/>
                  <a:gd name="connsiteY17" fmla="*/ 966746 h 969327"/>
                  <a:gd name="connsiteX18" fmla="*/ 0 w 956635"/>
                  <a:gd name="connsiteY18" fmla="*/ 917765 h 969327"/>
                  <a:gd name="connsiteX19" fmla="*/ 48981 w 956635"/>
                  <a:gd name="connsiteY19" fmla="*/ 868784 h 969327"/>
                  <a:gd name="connsiteX20" fmla="*/ 618720 w 956635"/>
                  <a:gd name="connsiteY20" fmla="*/ 721841 h 969327"/>
                  <a:gd name="connsiteX21" fmla="*/ 665128 w 956635"/>
                  <a:gd name="connsiteY21" fmla="*/ 770822 h 969327"/>
                  <a:gd name="connsiteX22" fmla="*/ 616146 w 956635"/>
                  <a:gd name="connsiteY22" fmla="*/ 819807 h 969327"/>
                  <a:gd name="connsiteX23" fmla="*/ 569739 w 956635"/>
                  <a:gd name="connsiteY23" fmla="*/ 770822 h 969327"/>
                  <a:gd name="connsiteX24" fmla="*/ 618720 w 956635"/>
                  <a:gd name="connsiteY24" fmla="*/ 721841 h 969327"/>
                  <a:gd name="connsiteX25" fmla="*/ 476929 w 956635"/>
                  <a:gd name="connsiteY25" fmla="*/ 721841 h 969327"/>
                  <a:gd name="connsiteX26" fmla="*/ 523337 w 956635"/>
                  <a:gd name="connsiteY26" fmla="*/ 770822 h 969327"/>
                  <a:gd name="connsiteX27" fmla="*/ 474355 w 956635"/>
                  <a:gd name="connsiteY27" fmla="*/ 819807 h 969327"/>
                  <a:gd name="connsiteX28" fmla="*/ 427948 w 956635"/>
                  <a:gd name="connsiteY28" fmla="*/ 770822 h 969327"/>
                  <a:gd name="connsiteX29" fmla="*/ 476929 w 956635"/>
                  <a:gd name="connsiteY29" fmla="*/ 721841 h 969327"/>
                  <a:gd name="connsiteX30" fmla="*/ 335142 w 956635"/>
                  <a:gd name="connsiteY30" fmla="*/ 721841 h 969327"/>
                  <a:gd name="connsiteX31" fmla="*/ 381545 w 956635"/>
                  <a:gd name="connsiteY31" fmla="*/ 770822 h 969327"/>
                  <a:gd name="connsiteX32" fmla="*/ 332564 w 956635"/>
                  <a:gd name="connsiteY32" fmla="*/ 819807 h 969327"/>
                  <a:gd name="connsiteX33" fmla="*/ 286161 w 956635"/>
                  <a:gd name="connsiteY33" fmla="*/ 770822 h 969327"/>
                  <a:gd name="connsiteX34" fmla="*/ 335142 w 956635"/>
                  <a:gd name="connsiteY34" fmla="*/ 721841 h 969327"/>
                  <a:gd name="connsiteX35" fmla="*/ 190773 w 956635"/>
                  <a:gd name="connsiteY35" fmla="*/ 721840 h 969327"/>
                  <a:gd name="connsiteX36" fmla="*/ 237180 w 956635"/>
                  <a:gd name="connsiteY36" fmla="*/ 770821 h 969327"/>
                  <a:gd name="connsiteX37" fmla="*/ 188195 w 956635"/>
                  <a:gd name="connsiteY37" fmla="*/ 819806 h 969327"/>
                  <a:gd name="connsiteX38" fmla="*/ 141792 w 956635"/>
                  <a:gd name="connsiteY38" fmla="*/ 770821 h 969327"/>
                  <a:gd name="connsiteX39" fmla="*/ 190773 w 956635"/>
                  <a:gd name="connsiteY39" fmla="*/ 721840 h 969327"/>
                  <a:gd name="connsiteX40" fmla="*/ 768248 w 956635"/>
                  <a:gd name="connsiteY40" fmla="*/ 580050 h 969327"/>
                  <a:gd name="connsiteX41" fmla="*/ 814652 w 956635"/>
                  <a:gd name="connsiteY41" fmla="*/ 629031 h 969327"/>
                  <a:gd name="connsiteX42" fmla="*/ 765670 w 956635"/>
                  <a:gd name="connsiteY42" fmla="*/ 678012 h 969327"/>
                  <a:gd name="connsiteX43" fmla="*/ 719267 w 956635"/>
                  <a:gd name="connsiteY43" fmla="*/ 629031 h 969327"/>
                  <a:gd name="connsiteX44" fmla="*/ 768248 w 956635"/>
                  <a:gd name="connsiteY44" fmla="*/ 580050 h 969327"/>
                  <a:gd name="connsiteX45" fmla="*/ 618720 w 956635"/>
                  <a:gd name="connsiteY45" fmla="*/ 577472 h 969327"/>
                  <a:gd name="connsiteX46" fmla="*/ 665128 w 956635"/>
                  <a:gd name="connsiteY46" fmla="*/ 626453 h 969327"/>
                  <a:gd name="connsiteX47" fmla="*/ 616146 w 956635"/>
                  <a:gd name="connsiteY47" fmla="*/ 675434 h 969327"/>
                  <a:gd name="connsiteX48" fmla="*/ 569739 w 956635"/>
                  <a:gd name="connsiteY48" fmla="*/ 626453 h 969327"/>
                  <a:gd name="connsiteX49" fmla="*/ 618720 w 956635"/>
                  <a:gd name="connsiteY49" fmla="*/ 577472 h 969327"/>
                  <a:gd name="connsiteX50" fmla="*/ 476929 w 956635"/>
                  <a:gd name="connsiteY50" fmla="*/ 577472 h 969327"/>
                  <a:gd name="connsiteX51" fmla="*/ 523337 w 956635"/>
                  <a:gd name="connsiteY51" fmla="*/ 626453 h 969327"/>
                  <a:gd name="connsiteX52" fmla="*/ 474355 w 956635"/>
                  <a:gd name="connsiteY52" fmla="*/ 675434 h 969327"/>
                  <a:gd name="connsiteX53" fmla="*/ 427948 w 956635"/>
                  <a:gd name="connsiteY53" fmla="*/ 626453 h 969327"/>
                  <a:gd name="connsiteX54" fmla="*/ 476929 w 956635"/>
                  <a:gd name="connsiteY54" fmla="*/ 577472 h 969327"/>
                  <a:gd name="connsiteX55" fmla="*/ 335141 w 956635"/>
                  <a:gd name="connsiteY55" fmla="*/ 577472 h 969327"/>
                  <a:gd name="connsiteX56" fmla="*/ 381549 w 956635"/>
                  <a:gd name="connsiteY56" fmla="*/ 626453 h 969327"/>
                  <a:gd name="connsiteX57" fmla="*/ 332567 w 956635"/>
                  <a:gd name="connsiteY57" fmla="*/ 675434 h 969327"/>
                  <a:gd name="connsiteX58" fmla="*/ 286160 w 956635"/>
                  <a:gd name="connsiteY58" fmla="*/ 626453 h 969327"/>
                  <a:gd name="connsiteX59" fmla="*/ 335141 w 956635"/>
                  <a:gd name="connsiteY59" fmla="*/ 577472 h 969327"/>
                  <a:gd name="connsiteX60" fmla="*/ 910035 w 956635"/>
                  <a:gd name="connsiteY60" fmla="*/ 433103 h 969327"/>
                  <a:gd name="connsiteX61" fmla="*/ 956439 w 956635"/>
                  <a:gd name="connsiteY61" fmla="*/ 482084 h 969327"/>
                  <a:gd name="connsiteX62" fmla="*/ 907458 w 956635"/>
                  <a:gd name="connsiteY62" fmla="*/ 531069 h 969327"/>
                  <a:gd name="connsiteX63" fmla="*/ 861054 w 956635"/>
                  <a:gd name="connsiteY63" fmla="*/ 482084 h 969327"/>
                  <a:gd name="connsiteX64" fmla="*/ 910035 w 956635"/>
                  <a:gd name="connsiteY64" fmla="*/ 433103 h 969327"/>
                  <a:gd name="connsiteX65" fmla="*/ 768244 w 956635"/>
                  <a:gd name="connsiteY65" fmla="*/ 433103 h 969327"/>
                  <a:gd name="connsiteX66" fmla="*/ 814648 w 956635"/>
                  <a:gd name="connsiteY66" fmla="*/ 482084 h 969327"/>
                  <a:gd name="connsiteX67" fmla="*/ 765667 w 956635"/>
                  <a:gd name="connsiteY67" fmla="*/ 531069 h 969327"/>
                  <a:gd name="connsiteX68" fmla="*/ 719263 w 956635"/>
                  <a:gd name="connsiteY68" fmla="*/ 482084 h 969327"/>
                  <a:gd name="connsiteX69" fmla="*/ 768244 w 956635"/>
                  <a:gd name="connsiteY69" fmla="*/ 433103 h 969327"/>
                  <a:gd name="connsiteX70" fmla="*/ 618724 w 956635"/>
                  <a:gd name="connsiteY70" fmla="*/ 433103 h 969327"/>
                  <a:gd name="connsiteX71" fmla="*/ 665127 w 956635"/>
                  <a:gd name="connsiteY71" fmla="*/ 482084 h 969327"/>
                  <a:gd name="connsiteX72" fmla="*/ 616146 w 956635"/>
                  <a:gd name="connsiteY72" fmla="*/ 531069 h 969327"/>
                  <a:gd name="connsiteX73" fmla="*/ 569743 w 956635"/>
                  <a:gd name="connsiteY73" fmla="*/ 482084 h 969327"/>
                  <a:gd name="connsiteX74" fmla="*/ 618724 w 956635"/>
                  <a:gd name="connsiteY74" fmla="*/ 433103 h 969327"/>
                  <a:gd name="connsiteX75" fmla="*/ 476929 w 956635"/>
                  <a:gd name="connsiteY75" fmla="*/ 433103 h 969327"/>
                  <a:gd name="connsiteX76" fmla="*/ 523337 w 956635"/>
                  <a:gd name="connsiteY76" fmla="*/ 482084 h 969327"/>
                  <a:gd name="connsiteX77" fmla="*/ 474355 w 956635"/>
                  <a:gd name="connsiteY77" fmla="*/ 531069 h 969327"/>
                  <a:gd name="connsiteX78" fmla="*/ 427948 w 956635"/>
                  <a:gd name="connsiteY78" fmla="*/ 482084 h 969327"/>
                  <a:gd name="connsiteX79" fmla="*/ 476929 w 956635"/>
                  <a:gd name="connsiteY79" fmla="*/ 433103 h 969327"/>
                  <a:gd name="connsiteX80" fmla="*/ 768244 w 956635"/>
                  <a:gd name="connsiteY80" fmla="*/ 291312 h 969327"/>
                  <a:gd name="connsiteX81" fmla="*/ 814648 w 956635"/>
                  <a:gd name="connsiteY81" fmla="*/ 340293 h 969327"/>
                  <a:gd name="connsiteX82" fmla="*/ 765667 w 956635"/>
                  <a:gd name="connsiteY82" fmla="*/ 389278 h 969327"/>
                  <a:gd name="connsiteX83" fmla="*/ 719263 w 956635"/>
                  <a:gd name="connsiteY83" fmla="*/ 340293 h 969327"/>
                  <a:gd name="connsiteX84" fmla="*/ 768244 w 956635"/>
                  <a:gd name="connsiteY84" fmla="*/ 291312 h 969327"/>
                  <a:gd name="connsiteX85" fmla="*/ 621297 w 956635"/>
                  <a:gd name="connsiteY85" fmla="*/ 288734 h 969327"/>
                  <a:gd name="connsiteX86" fmla="*/ 667705 w 956635"/>
                  <a:gd name="connsiteY86" fmla="*/ 337715 h 969327"/>
                  <a:gd name="connsiteX87" fmla="*/ 618720 w 956635"/>
                  <a:gd name="connsiteY87" fmla="*/ 386700 h 969327"/>
                  <a:gd name="connsiteX88" fmla="*/ 572316 w 956635"/>
                  <a:gd name="connsiteY88" fmla="*/ 337715 h 969327"/>
                  <a:gd name="connsiteX89" fmla="*/ 621297 w 956635"/>
                  <a:gd name="connsiteY89" fmla="*/ 288734 h 969327"/>
                  <a:gd name="connsiteX90" fmla="*/ 479510 w 956635"/>
                  <a:gd name="connsiteY90" fmla="*/ 288734 h 969327"/>
                  <a:gd name="connsiteX91" fmla="*/ 525918 w 956635"/>
                  <a:gd name="connsiteY91" fmla="*/ 337715 h 969327"/>
                  <a:gd name="connsiteX92" fmla="*/ 476933 w 956635"/>
                  <a:gd name="connsiteY92" fmla="*/ 386700 h 969327"/>
                  <a:gd name="connsiteX93" fmla="*/ 430529 w 956635"/>
                  <a:gd name="connsiteY93" fmla="*/ 337715 h 969327"/>
                  <a:gd name="connsiteX94" fmla="*/ 479510 w 956635"/>
                  <a:gd name="connsiteY94" fmla="*/ 288734 h 969327"/>
                  <a:gd name="connsiteX95" fmla="*/ 337719 w 956635"/>
                  <a:gd name="connsiteY95" fmla="*/ 288734 h 969327"/>
                  <a:gd name="connsiteX96" fmla="*/ 384122 w 956635"/>
                  <a:gd name="connsiteY96" fmla="*/ 337715 h 969327"/>
                  <a:gd name="connsiteX97" fmla="*/ 335141 w 956635"/>
                  <a:gd name="connsiteY97" fmla="*/ 386700 h 969327"/>
                  <a:gd name="connsiteX98" fmla="*/ 288738 w 956635"/>
                  <a:gd name="connsiteY98" fmla="*/ 337715 h 969327"/>
                  <a:gd name="connsiteX99" fmla="*/ 337719 w 956635"/>
                  <a:gd name="connsiteY99" fmla="*/ 288734 h 969327"/>
                  <a:gd name="connsiteX100" fmla="*/ 621302 w 956635"/>
                  <a:gd name="connsiteY100" fmla="*/ 146943 h 969327"/>
                  <a:gd name="connsiteX101" fmla="*/ 667705 w 956635"/>
                  <a:gd name="connsiteY101" fmla="*/ 195924 h 969327"/>
                  <a:gd name="connsiteX102" fmla="*/ 618724 w 956635"/>
                  <a:gd name="connsiteY102" fmla="*/ 244909 h 969327"/>
                  <a:gd name="connsiteX103" fmla="*/ 572321 w 956635"/>
                  <a:gd name="connsiteY103" fmla="*/ 195924 h 969327"/>
                  <a:gd name="connsiteX104" fmla="*/ 621302 w 956635"/>
                  <a:gd name="connsiteY104" fmla="*/ 146943 h 969327"/>
                  <a:gd name="connsiteX105" fmla="*/ 479510 w 956635"/>
                  <a:gd name="connsiteY105" fmla="*/ 146943 h 969327"/>
                  <a:gd name="connsiteX106" fmla="*/ 525917 w 956635"/>
                  <a:gd name="connsiteY106" fmla="*/ 195924 h 969327"/>
                  <a:gd name="connsiteX107" fmla="*/ 476932 w 956635"/>
                  <a:gd name="connsiteY107" fmla="*/ 244909 h 969327"/>
                  <a:gd name="connsiteX108" fmla="*/ 430529 w 956635"/>
                  <a:gd name="connsiteY108" fmla="*/ 195924 h 969327"/>
                  <a:gd name="connsiteX109" fmla="*/ 479510 w 956635"/>
                  <a:gd name="connsiteY109" fmla="*/ 146943 h 969327"/>
                  <a:gd name="connsiteX110" fmla="*/ 337719 w 956635"/>
                  <a:gd name="connsiteY110" fmla="*/ 146943 h 969327"/>
                  <a:gd name="connsiteX111" fmla="*/ 384122 w 956635"/>
                  <a:gd name="connsiteY111" fmla="*/ 195924 h 969327"/>
                  <a:gd name="connsiteX112" fmla="*/ 335141 w 956635"/>
                  <a:gd name="connsiteY112" fmla="*/ 244909 h 969327"/>
                  <a:gd name="connsiteX113" fmla="*/ 288738 w 956635"/>
                  <a:gd name="connsiteY113" fmla="*/ 195924 h 969327"/>
                  <a:gd name="connsiteX114" fmla="*/ 337719 w 956635"/>
                  <a:gd name="connsiteY114" fmla="*/ 146943 h 969327"/>
                  <a:gd name="connsiteX115" fmla="*/ 193350 w 956635"/>
                  <a:gd name="connsiteY115" fmla="*/ 144369 h 969327"/>
                  <a:gd name="connsiteX116" fmla="*/ 239757 w 956635"/>
                  <a:gd name="connsiteY116" fmla="*/ 193350 h 969327"/>
                  <a:gd name="connsiteX117" fmla="*/ 190776 w 956635"/>
                  <a:gd name="connsiteY117" fmla="*/ 242331 h 969327"/>
                  <a:gd name="connsiteX118" fmla="*/ 144369 w 956635"/>
                  <a:gd name="connsiteY118" fmla="*/ 193350 h 969327"/>
                  <a:gd name="connsiteX119" fmla="*/ 193350 w 956635"/>
                  <a:gd name="connsiteY119" fmla="*/ 144369 h 969327"/>
                  <a:gd name="connsiteX120" fmla="*/ 479510 w 956635"/>
                  <a:gd name="connsiteY120" fmla="*/ 0 h 969327"/>
                  <a:gd name="connsiteX121" fmla="*/ 525917 w 956635"/>
                  <a:gd name="connsiteY121" fmla="*/ 48981 h 969327"/>
                  <a:gd name="connsiteX122" fmla="*/ 476932 w 956635"/>
                  <a:gd name="connsiteY122" fmla="*/ 97962 h 969327"/>
                  <a:gd name="connsiteX123" fmla="*/ 430529 w 956635"/>
                  <a:gd name="connsiteY123" fmla="*/ 48981 h 969327"/>
                  <a:gd name="connsiteX124" fmla="*/ 479510 w 956635"/>
                  <a:gd name="connsiteY124" fmla="*/ 0 h 969327"/>
                  <a:gd name="connsiteX125" fmla="*/ 337719 w 956635"/>
                  <a:gd name="connsiteY125" fmla="*/ 0 h 969327"/>
                  <a:gd name="connsiteX126" fmla="*/ 384127 w 956635"/>
                  <a:gd name="connsiteY126" fmla="*/ 48981 h 969327"/>
                  <a:gd name="connsiteX127" fmla="*/ 335142 w 956635"/>
                  <a:gd name="connsiteY127" fmla="*/ 97962 h 969327"/>
                  <a:gd name="connsiteX128" fmla="*/ 288738 w 956635"/>
                  <a:gd name="connsiteY128" fmla="*/ 48981 h 969327"/>
                  <a:gd name="connsiteX129" fmla="*/ 337719 w 956635"/>
                  <a:gd name="connsiteY129" fmla="*/ 0 h 969327"/>
                  <a:gd name="connsiteX130" fmla="*/ 193350 w 956635"/>
                  <a:gd name="connsiteY130" fmla="*/ 0 h 969327"/>
                  <a:gd name="connsiteX131" fmla="*/ 239758 w 956635"/>
                  <a:gd name="connsiteY131" fmla="*/ 48981 h 969327"/>
                  <a:gd name="connsiteX132" fmla="*/ 190776 w 956635"/>
                  <a:gd name="connsiteY132" fmla="*/ 97962 h 969327"/>
                  <a:gd name="connsiteX133" fmla="*/ 144369 w 956635"/>
                  <a:gd name="connsiteY133" fmla="*/ 48981 h 969327"/>
                  <a:gd name="connsiteX134" fmla="*/ 193350 w 956635"/>
                  <a:gd name="connsiteY134" fmla="*/ 0 h 969327"/>
                  <a:gd name="connsiteX135" fmla="*/ 51559 w 956635"/>
                  <a:gd name="connsiteY135" fmla="*/ 0 h 969327"/>
                  <a:gd name="connsiteX136" fmla="*/ 97967 w 956635"/>
                  <a:gd name="connsiteY136" fmla="*/ 48981 h 969327"/>
                  <a:gd name="connsiteX137" fmla="*/ 48985 w 956635"/>
                  <a:gd name="connsiteY137" fmla="*/ 97962 h 969327"/>
                  <a:gd name="connsiteX138" fmla="*/ 2578 w 956635"/>
                  <a:gd name="connsiteY138" fmla="*/ 48981 h 969327"/>
                  <a:gd name="connsiteX139" fmla="*/ 51559 w 956635"/>
                  <a:gd name="connsiteY139" fmla="*/ 0 h 969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956635" h="969327">
                    <a:moveTo>
                      <a:pt x="335142" y="871365"/>
                    </a:moveTo>
                    <a:cubicBezTo>
                      <a:pt x="360923" y="871365"/>
                      <a:pt x="384126" y="891987"/>
                      <a:pt x="381545" y="920346"/>
                    </a:cubicBezTo>
                    <a:cubicBezTo>
                      <a:pt x="381545" y="946127"/>
                      <a:pt x="360923" y="969327"/>
                      <a:pt x="332564" y="969327"/>
                    </a:cubicBezTo>
                    <a:cubicBezTo>
                      <a:pt x="304205" y="969327"/>
                      <a:pt x="283583" y="948705"/>
                      <a:pt x="286161" y="920346"/>
                    </a:cubicBezTo>
                    <a:cubicBezTo>
                      <a:pt x="286161" y="891987"/>
                      <a:pt x="309361" y="868788"/>
                      <a:pt x="335142" y="871365"/>
                    </a:cubicBezTo>
                    <a:close/>
                    <a:moveTo>
                      <a:pt x="476929" y="871365"/>
                    </a:moveTo>
                    <a:cubicBezTo>
                      <a:pt x="502711" y="871365"/>
                      <a:pt x="525914" y="891987"/>
                      <a:pt x="523337" y="920346"/>
                    </a:cubicBezTo>
                    <a:cubicBezTo>
                      <a:pt x="520759" y="948705"/>
                      <a:pt x="502711" y="969327"/>
                      <a:pt x="474355" y="969327"/>
                    </a:cubicBezTo>
                    <a:cubicBezTo>
                      <a:pt x="448574" y="969327"/>
                      <a:pt x="425371" y="948705"/>
                      <a:pt x="427948" y="920346"/>
                    </a:cubicBezTo>
                    <a:cubicBezTo>
                      <a:pt x="427948" y="891987"/>
                      <a:pt x="451152" y="871365"/>
                      <a:pt x="476929" y="871365"/>
                    </a:cubicBezTo>
                    <a:close/>
                    <a:moveTo>
                      <a:pt x="190772" y="868784"/>
                    </a:moveTo>
                    <a:cubicBezTo>
                      <a:pt x="216554" y="868784"/>
                      <a:pt x="239753" y="889406"/>
                      <a:pt x="237180" y="917765"/>
                    </a:cubicBezTo>
                    <a:cubicBezTo>
                      <a:pt x="237180" y="943546"/>
                      <a:pt x="216554" y="966746"/>
                      <a:pt x="188195" y="966746"/>
                    </a:cubicBezTo>
                    <a:cubicBezTo>
                      <a:pt x="162413" y="966746"/>
                      <a:pt x="139214" y="946124"/>
                      <a:pt x="141791" y="917765"/>
                    </a:cubicBezTo>
                    <a:cubicBezTo>
                      <a:pt x="141791" y="891988"/>
                      <a:pt x="162413" y="868784"/>
                      <a:pt x="190772" y="868784"/>
                    </a:cubicBezTo>
                    <a:close/>
                    <a:moveTo>
                      <a:pt x="48981" y="868784"/>
                    </a:moveTo>
                    <a:cubicBezTo>
                      <a:pt x="74762" y="868784"/>
                      <a:pt x="97961" y="889406"/>
                      <a:pt x="95388" y="917765"/>
                    </a:cubicBezTo>
                    <a:cubicBezTo>
                      <a:pt x="95388" y="943546"/>
                      <a:pt x="74762" y="966746"/>
                      <a:pt x="46403" y="966746"/>
                    </a:cubicBezTo>
                    <a:cubicBezTo>
                      <a:pt x="20622" y="966746"/>
                      <a:pt x="0" y="946124"/>
                      <a:pt x="0" y="917765"/>
                    </a:cubicBezTo>
                    <a:cubicBezTo>
                      <a:pt x="0" y="889406"/>
                      <a:pt x="20622" y="868784"/>
                      <a:pt x="48981" y="868784"/>
                    </a:cubicBezTo>
                    <a:close/>
                    <a:moveTo>
                      <a:pt x="618720" y="721841"/>
                    </a:moveTo>
                    <a:cubicBezTo>
                      <a:pt x="644502" y="721841"/>
                      <a:pt x="667705" y="742463"/>
                      <a:pt x="665128" y="770822"/>
                    </a:cubicBezTo>
                    <a:cubicBezTo>
                      <a:pt x="665128" y="796603"/>
                      <a:pt x="644502" y="819807"/>
                      <a:pt x="616146" y="819807"/>
                    </a:cubicBezTo>
                    <a:cubicBezTo>
                      <a:pt x="590365" y="819807"/>
                      <a:pt x="567162" y="799181"/>
                      <a:pt x="569739" y="770822"/>
                    </a:cubicBezTo>
                    <a:cubicBezTo>
                      <a:pt x="572317" y="742463"/>
                      <a:pt x="592943" y="721841"/>
                      <a:pt x="618720" y="721841"/>
                    </a:cubicBezTo>
                    <a:close/>
                    <a:moveTo>
                      <a:pt x="476929" y="721841"/>
                    </a:moveTo>
                    <a:cubicBezTo>
                      <a:pt x="502711" y="721841"/>
                      <a:pt x="525914" y="742463"/>
                      <a:pt x="523337" y="770822"/>
                    </a:cubicBezTo>
                    <a:cubicBezTo>
                      <a:pt x="523337" y="796603"/>
                      <a:pt x="502711" y="819807"/>
                      <a:pt x="474355" y="819807"/>
                    </a:cubicBezTo>
                    <a:cubicBezTo>
                      <a:pt x="448574" y="819807"/>
                      <a:pt x="425371" y="799181"/>
                      <a:pt x="427948" y="770822"/>
                    </a:cubicBezTo>
                    <a:cubicBezTo>
                      <a:pt x="430526" y="742463"/>
                      <a:pt x="451152" y="721841"/>
                      <a:pt x="476929" y="721841"/>
                    </a:cubicBezTo>
                    <a:close/>
                    <a:moveTo>
                      <a:pt x="335142" y="721841"/>
                    </a:moveTo>
                    <a:cubicBezTo>
                      <a:pt x="360923" y="721841"/>
                      <a:pt x="384126" y="742463"/>
                      <a:pt x="381545" y="770822"/>
                    </a:cubicBezTo>
                    <a:cubicBezTo>
                      <a:pt x="381545" y="796603"/>
                      <a:pt x="360923" y="819807"/>
                      <a:pt x="332564" y="819807"/>
                    </a:cubicBezTo>
                    <a:cubicBezTo>
                      <a:pt x="304205" y="819807"/>
                      <a:pt x="283583" y="799181"/>
                      <a:pt x="286161" y="770822"/>
                    </a:cubicBezTo>
                    <a:cubicBezTo>
                      <a:pt x="286161" y="742463"/>
                      <a:pt x="309361" y="721841"/>
                      <a:pt x="335142" y="721841"/>
                    </a:cubicBezTo>
                    <a:close/>
                    <a:moveTo>
                      <a:pt x="190773" y="721840"/>
                    </a:moveTo>
                    <a:cubicBezTo>
                      <a:pt x="216554" y="721840"/>
                      <a:pt x="239753" y="742462"/>
                      <a:pt x="237180" y="770821"/>
                    </a:cubicBezTo>
                    <a:cubicBezTo>
                      <a:pt x="237180" y="796602"/>
                      <a:pt x="216554" y="819806"/>
                      <a:pt x="188195" y="819806"/>
                    </a:cubicBezTo>
                    <a:cubicBezTo>
                      <a:pt x="162414" y="819806"/>
                      <a:pt x="141792" y="799180"/>
                      <a:pt x="141792" y="770821"/>
                    </a:cubicBezTo>
                    <a:cubicBezTo>
                      <a:pt x="141792" y="742462"/>
                      <a:pt x="164995" y="719263"/>
                      <a:pt x="190773" y="721840"/>
                    </a:cubicBezTo>
                    <a:close/>
                    <a:moveTo>
                      <a:pt x="768248" y="580050"/>
                    </a:moveTo>
                    <a:cubicBezTo>
                      <a:pt x="794026" y="580050"/>
                      <a:pt x="817229" y="600672"/>
                      <a:pt x="814652" y="629031"/>
                    </a:cubicBezTo>
                    <a:cubicBezTo>
                      <a:pt x="814652" y="654812"/>
                      <a:pt x="794026" y="678012"/>
                      <a:pt x="765670" y="678012"/>
                    </a:cubicBezTo>
                    <a:cubicBezTo>
                      <a:pt x="737311" y="678012"/>
                      <a:pt x="716685" y="657390"/>
                      <a:pt x="719267" y="629031"/>
                    </a:cubicBezTo>
                    <a:cubicBezTo>
                      <a:pt x="719267" y="600672"/>
                      <a:pt x="739889" y="580050"/>
                      <a:pt x="768248" y="580050"/>
                    </a:cubicBezTo>
                    <a:close/>
                    <a:moveTo>
                      <a:pt x="618720" y="577472"/>
                    </a:moveTo>
                    <a:cubicBezTo>
                      <a:pt x="644502" y="577472"/>
                      <a:pt x="667705" y="598094"/>
                      <a:pt x="665128" y="626453"/>
                    </a:cubicBezTo>
                    <a:cubicBezTo>
                      <a:pt x="665128" y="652234"/>
                      <a:pt x="644502" y="675434"/>
                      <a:pt x="616146" y="675434"/>
                    </a:cubicBezTo>
                    <a:cubicBezTo>
                      <a:pt x="590365" y="675434"/>
                      <a:pt x="567162" y="654812"/>
                      <a:pt x="569739" y="626453"/>
                    </a:cubicBezTo>
                    <a:cubicBezTo>
                      <a:pt x="572317" y="600676"/>
                      <a:pt x="592943" y="577472"/>
                      <a:pt x="618720" y="577472"/>
                    </a:cubicBezTo>
                    <a:close/>
                    <a:moveTo>
                      <a:pt x="476929" y="577472"/>
                    </a:moveTo>
                    <a:cubicBezTo>
                      <a:pt x="502711" y="577472"/>
                      <a:pt x="525914" y="598094"/>
                      <a:pt x="523337" y="626453"/>
                    </a:cubicBezTo>
                    <a:cubicBezTo>
                      <a:pt x="523337" y="652234"/>
                      <a:pt x="502711" y="675434"/>
                      <a:pt x="474355" y="675434"/>
                    </a:cubicBezTo>
                    <a:cubicBezTo>
                      <a:pt x="448574" y="675434"/>
                      <a:pt x="425371" y="654812"/>
                      <a:pt x="427948" y="626453"/>
                    </a:cubicBezTo>
                    <a:cubicBezTo>
                      <a:pt x="430526" y="600676"/>
                      <a:pt x="451152" y="577472"/>
                      <a:pt x="476929" y="577472"/>
                    </a:cubicBezTo>
                    <a:close/>
                    <a:moveTo>
                      <a:pt x="335141" y="577472"/>
                    </a:moveTo>
                    <a:cubicBezTo>
                      <a:pt x="360923" y="577472"/>
                      <a:pt x="384126" y="598094"/>
                      <a:pt x="381549" y="626453"/>
                    </a:cubicBezTo>
                    <a:cubicBezTo>
                      <a:pt x="381549" y="652234"/>
                      <a:pt x="360923" y="675434"/>
                      <a:pt x="332567" y="675434"/>
                    </a:cubicBezTo>
                    <a:cubicBezTo>
                      <a:pt x="306786" y="675434"/>
                      <a:pt x="283583" y="654812"/>
                      <a:pt x="286160" y="626453"/>
                    </a:cubicBezTo>
                    <a:cubicBezTo>
                      <a:pt x="288738" y="598094"/>
                      <a:pt x="309364" y="577472"/>
                      <a:pt x="335141" y="577472"/>
                    </a:cubicBezTo>
                    <a:close/>
                    <a:moveTo>
                      <a:pt x="910035" y="433103"/>
                    </a:moveTo>
                    <a:cubicBezTo>
                      <a:pt x="935817" y="433103"/>
                      <a:pt x="959020" y="453729"/>
                      <a:pt x="956439" y="482084"/>
                    </a:cubicBezTo>
                    <a:cubicBezTo>
                      <a:pt x="956439" y="507865"/>
                      <a:pt x="935817" y="531069"/>
                      <a:pt x="907458" y="531069"/>
                    </a:cubicBezTo>
                    <a:cubicBezTo>
                      <a:pt x="881680" y="531069"/>
                      <a:pt x="858477" y="510443"/>
                      <a:pt x="861054" y="482084"/>
                    </a:cubicBezTo>
                    <a:cubicBezTo>
                      <a:pt x="861054" y="453729"/>
                      <a:pt x="884254" y="433103"/>
                      <a:pt x="910035" y="433103"/>
                    </a:cubicBezTo>
                    <a:close/>
                    <a:moveTo>
                      <a:pt x="768244" y="433103"/>
                    </a:moveTo>
                    <a:cubicBezTo>
                      <a:pt x="794026" y="433103"/>
                      <a:pt x="817229" y="453729"/>
                      <a:pt x="814648" y="482084"/>
                    </a:cubicBezTo>
                    <a:cubicBezTo>
                      <a:pt x="814648" y="507865"/>
                      <a:pt x="794026" y="531069"/>
                      <a:pt x="765667" y="531069"/>
                    </a:cubicBezTo>
                    <a:cubicBezTo>
                      <a:pt x="739889" y="531069"/>
                      <a:pt x="716686" y="510443"/>
                      <a:pt x="719263" y="482084"/>
                    </a:cubicBezTo>
                    <a:cubicBezTo>
                      <a:pt x="719263" y="453729"/>
                      <a:pt x="742463" y="433103"/>
                      <a:pt x="768244" y="433103"/>
                    </a:cubicBezTo>
                    <a:close/>
                    <a:moveTo>
                      <a:pt x="618724" y="433103"/>
                    </a:moveTo>
                    <a:cubicBezTo>
                      <a:pt x="644505" y="433103"/>
                      <a:pt x="667708" y="453729"/>
                      <a:pt x="665127" y="482084"/>
                    </a:cubicBezTo>
                    <a:cubicBezTo>
                      <a:pt x="665127" y="507865"/>
                      <a:pt x="644505" y="531069"/>
                      <a:pt x="616146" y="531069"/>
                    </a:cubicBezTo>
                    <a:cubicBezTo>
                      <a:pt x="587787" y="531069"/>
                      <a:pt x="567165" y="510443"/>
                      <a:pt x="569743" y="482084"/>
                    </a:cubicBezTo>
                    <a:cubicBezTo>
                      <a:pt x="572321" y="453729"/>
                      <a:pt x="592943" y="433103"/>
                      <a:pt x="618724" y="433103"/>
                    </a:cubicBezTo>
                    <a:close/>
                    <a:moveTo>
                      <a:pt x="476929" y="433103"/>
                    </a:moveTo>
                    <a:cubicBezTo>
                      <a:pt x="502711" y="433103"/>
                      <a:pt x="525914" y="453729"/>
                      <a:pt x="523337" y="482084"/>
                    </a:cubicBezTo>
                    <a:cubicBezTo>
                      <a:pt x="523337" y="507865"/>
                      <a:pt x="502711" y="531069"/>
                      <a:pt x="474355" y="531069"/>
                    </a:cubicBezTo>
                    <a:cubicBezTo>
                      <a:pt x="448574" y="531069"/>
                      <a:pt x="425371" y="510443"/>
                      <a:pt x="427948" y="482084"/>
                    </a:cubicBezTo>
                    <a:cubicBezTo>
                      <a:pt x="430526" y="453729"/>
                      <a:pt x="451152" y="433103"/>
                      <a:pt x="476929" y="433103"/>
                    </a:cubicBezTo>
                    <a:close/>
                    <a:moveTo>
                      <a:pt x="768244" y="291312"/>
                    </a:moveTo>
                    <a:cubicBezTo>
                      <a:pt x="794026" y="291312"/>
                      <a:pt x="817229" y="311938"/>
                      <a:pt x="814648" y="340293"/>
                    </a:cubicBezTo>
                    <a:cubicBezTo>
                      <a:pt x="814648" y="366074"/>
                      <a:pt x="794026" y="389278"/>
                      <a:pt x="765667" y="389278"/>
                    </a:cubicBezTo>
                    <a:cubicBezTo>
                      <a:pt x="739889" y="389278"/>
                      <a:pt x="716686" y="368652"/>
                      <a:pt x="719263" y="340293"/>
                    </a:cubicBezTo>
                    <a:cubicBezTo>
                      <a:pt x="719263" y="311938"/>
                      <a:pt x="742463" y="288735"/>
                      <a:pt x="768244" y="291312"/>
                    </a:cubicBezTo>
                    <a:close/>
                    <a:moveTo>
                      <a:pt x="621297" y="288734"/>
                    </a:moveTo>
                    <a:cubicBezTo>
                      <a:pt x="647079" y="288734"/>
                      <a:pt x="670282" y="309360"/>
                      <a:pt x="667705" y="337715"/>
                    </a:cubicBezTo>
                    <a:cubicBezTo>
                      <a:pt x="667705" y="363496"/>
                      <a:pt x="647079" y="386700"/>
                      <a:pt x="618720" y="386700"/>
                    </a:cubicBezTo>
                    <a:cubicBezTo>
                      <a:pt x="592942" y="386700"/>
                      <a:pt x="569739" y="366074"/>
                      <a:pt x="572316" y="337715"/>
                    </a:cubicBezTo>
                    <a:cubicBezTo>
                      <a:pt x="572316" y="311938"/>
                      <a:pt x="592942" y="288734"/>
                      <a:pt x="621297" y="288734"/>
                    </a:cubicBezTo>
                    <a:close/>
                    <a:moveTo>
                      <a:pt x="479510" y="288734"/>
                    </a:moveTo>
                    <a:cubicBezTo>
                      <a:pt x="505292" y="288734"/>
                      <a:pt x="528495" y="309360"/>
                      <a:pt x="525918" y="337715"/>
                    </a:cubicBezTo>
                    <a:cubicBezTo>
                      <a:pt x="525918" y="363496"/>
                      <a:pt x="505292" y="386700"/>
                      <a:pt x="476933" y="386700"/>
                    </a:cubicBezTo>
                    <a:cubicBezTo>
                      <a:pt x="451155" y="386700"/>
                      <a:pt x="427952" y="366074"/>
                      <a:pt x="430529" y="337715"/>
                    </a:cubicBezTo>
                    <a:cubicBezTo>
                      <a:pt x="430529" y="309360"/>
                      <a:pt x="451155" y="288734"/>
                      <a:pt x="479510" y="288734"/>
                    </a:cubicBezTo>
                    <a:close/>
                    <a:moveTo>
                      <a:pt x="337719" y="288734"/>
                    </a:moveTo>
                    <a:cubicBezTo>
                      <a:pt x="363496" y="288734"/>
                      <a:pt x="386699" y="309360"/>
                      <a:pt x="384122" y="337715"/>
                    </a:cubicBezTo>
                    <a:cubicBezTo>
                      <a:pt x="384122" y="363496"/>
                      <a:pt x="363496" y="386700"/>
                      <a:pt x="335141" y="386700"/>
                    </a:cubicBezTo>
                    <a:cubicBezTo>
                      <a:pt x="306782" y="386700"/>
                      <a:pt x="286156" y="366074"/>
                      <a:pt x="288738" y="337715"/>
                    </a:cubicBezTo>
                    <a:cubicBezTo>
                      <a:pt x="288738" y="309360"/>
                      <a:pt x="309360" y="288734"/>
                      <a:pt x="337719" y="288734"/>
                    </a:cubicBezTo>
                    <a:close/>
                    <a:moveTo>
                      <a:pt x="621302" y="146943"/>
                    </a:moveTo>
                    <a:cubicBezTo>
                      <a:pt x="647079" y="146943"/>
                      <a:pt x="670282" y="167569"/>
                      <a:pt x="667705" y="195924"/>
                    </a:cubicBezTo>
                    <a:cubicBezTo>
                      <a:pt x="667705" y="221705"/>
                      <a:pt x="647079" y="244909"/>
                      <a:pt x="618724" y="244909"/>
                    </a:cubicBezTo>
                    <a:cubicBezTo>
                      <a:pt x="590365" y="244909"/>
                      <a:pt x="569739" y="224283"/>
                      <a:pt x="572321" y="195924"/>
                    </a:cubicBezTo>
                    <a:cubicBezTo>
                      <a:pt x="572321" y="167569"/>
                      <a:pt x="595521" y="146943"/>
                      <a:pt x="621302" y="146943"/>
                    </a:cubicBezTo>
                    <a:close/>
                    <a:moveTo>
                      <a:pt x="479510" y="146943"/>
                    </a:moveTo>
                    <a:cubicBezTo>
                      <a:pt x="505291" y="146943"/>
                      <a:pt x="528490" y="167569"/>
                      <a:pt x="525917" y="195924"/>
                    </a:cubicBezTo>
                    <a:cubicBezTo>
                      <a:pt x="525917" y="221705"/>
                      <a:pt x="505291" y="244909"/>
                      <a:pt x="476932" y="244909"/>
                    </a:cubicBezTo>
                    <a:cubicBezTo>
                      <a:pt x="451151" y="244909"/>
                      <a:pt x="430529" y="224283"/>
                      <a:pt x="430529" y="195924"/>
                    </a:cubicBezTo>
                    <a:cubicBezTo>
                      <a:pt x="430529" y="167569"/>
                      <a:pt x="451151" y="146943"/>
                      <a:pt x="479510" y="146943"/>
                    </a:cubicBezTo>
                    <a:close/>
                    <a:moveTo>
                      <a:pt x="337719" y="146943"/>
                    </a:moveTo>
                    <a:cubicBezTo>
                      <a:pt x="363496" y="146943"/>
                      <a:pt x="386699" y="167569"/>
                      <a:pt x="384122" y="195924"/>
                    </a:cubicBezTo>
                    <a:cubicBezTo>
                      <a:pt x="384122" y="221705"/>
                      <a:pt x="363496" y="244909"/>
                      <a:pt x="335141" y="244909"/>
                    </a:cubicBezTo>
                    <a:cubicBezTo>
                      <a:pt x="306782" y="244909"/>
                      <a:pt x="286156" y="224283"/>
                      <a:pt x="288738" y="195924"/>
                    </a:cubicBezTo>
                    <a:cubicBezTo>
                      <a:pt x="288738" y="167569"/>
                      <a:pt x="309360" y="146943"/>
                      <a:pt x="337719" y="146943"/>
                    </a:cubicBezTo>
                    <a:close/>
                    <a:moveTo>
                      <a:pt x="193350" y="144369"/>
                    </a:moveTo>
                    <a:cubicBezTo>
                      <a:pt x="219131" y="144369"/>
                      <a:pt x="242334" y="164991"/>
                      <a:pt x="239757" y="193350"/>
                    </a:cubicBezTo>
                    <a:cubicBezTo>
                      <a:pt x="239757" y="219131"/>
                      <a:pt x="219131" y="242331"/>
                      <a:pt x="190776" y="242331"/>
                    </a:cubicBezTo>
                    <a:cubicBezTo>
                      <a:pt x="164995" y="242331"/>
                      <a:pt x="144369" y="221709"/>
                      <a:pt x="144369" y="193350"/>
                    </a:cubicBezTo>
                    <a:cubicBezTo>
                      <a:pt x="144369" y="167573"/>
                      <a:pt x="164995" y="144369"/>
                      <a:pt x="193350" y="144369"/>
                    </a:cubicBezTo>
                    <a:close/>
                    <a:moveTo>
                      <a:pt x="479510" y="0"/>
                    </a:moveTo>
                    <a:cubicBezTo>
                      <a:pt x="505291" y="0"/>
                      <a:pt x="528490" y="20622"/>
                      <a:pt x="525917" y="48981"/>
                    </a:cubicBezTo>
                    <a:cubicBezTo>
                      <a:pt x="525917" y="74762"/>
                      <a:pt x="505291" y="97962"/>
                      <a:pt x="476932" y="97962"/>
                    </a:cubicBezTo>
                    <a:cubicBezTo>
                      <a:pt x="451151" y="97962"/>
                      <a:pt x="430529" y="77340"/>
                      <a:pt x="430529" y="48981"/>
                    </a:cubicBezTo>
                    <a:cubicBezTo>
                      <a:pt x="430529" y="20622"/>
                      <a:pt x="453729" y="0"/>
                      <a:pt x="479510" y="0"/>
                    </a:cubicBezTo>
                    <a:close/>
                    <a:moveTo>
                      <a:pt x="337719" y="0"/>
                    </a:moveTo>
                    <a:cubicBezTo>
                      <a:pt x="363501" y="0"/>
                      <a:pt x="386704" y="20622"/>
                      <a:pt x="384127" y="48981"/>
                    </a:cubicBezTo>
                    <a:cubicBezTo>
                      <a:pt x="384127" y="74762"/>
                      <a:pt x="363501" y="97962"/>
                      <a:pt x="335142" y="97962"/>
                    </a:cubicBezTo>
                    <a:cubicBezTo>
                      <a:pt x="309364" y="97962"/>
                      <a:pt x="286161" y="77340"/>
                      <a:pt x="288738" y="48981"/>
                    </a:cubicBezTo>
                    <a:cubicBezTo>
                      <a:pt x="288738" y="20622"/>
                      <a:pt x="311938" y="0"/>
                      <a:pt x="337719" y="0"/>
                    </a:cubicBezTo>
                    <a:close/>
                    <a:moveTo>
                      <a:pt x="193350" y="0"/>
                    </a:moveTo>
                    <a:cubicBezTo>
                      <a:pt x="219132" y="0"/>
                      <a:pt x="242335" y="20622"/>
                      <a:pt x="239758" y="48981"/>
                    </a:cubicBezTo>
                    <a:cubicBezTo>
                      <a:pt x="239758" y="74762"/>
                      <a:pt x="219132" y="97962"/>
                      <a:pt x="190776" y="97962"/>
                    </a:cubicBezTo>
                    <a:cubicBezTo>
                      <a:pt x="164995" y="97962"/>
                      <a:pt x="141792" y="77340"/>
                      <a:pt x="144369" y="48981"/>
                    </a:cubicBezTo>
                    <a:cubicBezTo>
                      <a:pt x="144369" y="20622"/>
                      <a:pt x="164995" y="0"/>
                      <a:pt x="193350" y="0"/>
                    </a:cubicBezTo>
                    <a:close/>
                    <a:moveTo>
                      <a:pt x="51559" y="0"/>
                    </a:moveTo>
                    <a:cubicBezTo>
                      <a:pt x="77341" y="0"/>
                      <a:pt x="100544" y="20622"/>
                      <a:pt x="97967" y="48981"/>
                    </a:cubicBezTo>
                    <a:cubicBezTo>
                      <a:pt x="97967" y="74762"/>
                      <a:pt x="77341" y="97962"/>
                      <a:pt x="48985" y="97962"/>
                    </a:cubicBezTo>
                    <a:cubicBezTo>
                      <a:pt x="23204" y="97962"/>
                      <a:pt x="1" y="77340"/>
                      <a:pt x="2578" y="48981"/>
                    </a:cubicBezTo>
                    <a:cubicBezTo>
                      <a:pt x="2578" y="20622"/>
                      <a:pt x="23204" y="0"/>
                      <a:pt x="51559" y="0"/>
                    </a:cubicBezTo>
                    <a:close/>
                  </a:path>
                </a:pathLst>
              </a:custGeom>
              <a:solidFill>
                <a:schemeClr val="bg1">
                  <a:alpha val="60000"/>
                </a:schemeClr>
              </a:solidFill>
              <a:ln w="6825"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46A7F00-44CA-4674-B014-A76C3C1D8A0B}"/>
                  </a:ext>
                </a:extLst>
              </p:cNvPr>
              <p:cNvSpPr/>
              <p:nvPr/>
            </p:nvSpPr>
            <p:spPr>
              <a:xfrm>
                <a:off x="11312945" y="4826453"/>
                <a:ext cx="726655" cy="736147"/>
              </a:xfrm>
              <a:custGeom>
                <a:avLst/>
                <a:gdLst>
                  <a:gd name="connsiteX0" fmla="*/ 335334 w 956831"/>
                  <a:gd name="connsiteY0" fmla="*/ 871365 h 969327"/>
                  <a:gd name="connsiteX1" fmla="*/ 381741 w 956831"/>
                  <a:gd name="connsiteY1" fmla="*/ 920346 h 969327"/>
                  <a:gd name="connsiteX2" fmla="*/ 332756 w 956831"/>
                  <a:gd name="connsiteY2" fmla="*/ 969327 h 969327"/>
                  <a:gd name="connsiteX3" fmla="*/ 286353 w 956831"/>
                  <a:gd name="connsiteY3" fmla="*/ 920346 h 969327"/>
                  <a:gd name="connsiteX4" fmla="*/ 335334 w 956831"/>
                  <a:gd name="connsiteY4" fmla="*/ 871365 h 969327"/>
                  <a:gd name="connsiteX5" fmla="*/ 477124 w 956831"/>
                  <a:gd name="connsiteY5" fmla="*/ 871365 h 969327"/>
                  <a:gd name="connsiteX6" fmla="*/ 523532 w 956831"/>
                  <a:gd name="connsiteY6" fmla="*/ 920346 h 969327"/>
                  <a:gd name="connsiteX7" fmla="*/ 474547 w 956831"/>
                  <a:gd name="connsiteY7" fmla="*/ 969327 h 969327"/>
                  <a:gd name="connsiteX8" fmla="*/ 428143 w 956831"/>
                  <a:gd name="connsiteY8" fmla="*/ 920346 h 969327"/>
                  <a:gd name="connsiteX9" fmla="*/ 477124 w 956831"/>
                  <a:gd name="connsiteY9" fmla="*/ 871365 h 969327"/>
                  <a:gd name="connsiteX10" fmla="*/ 190968 w 956831"/>
                  <a:gd name="connsiteY10" fmla="*/ 868784 h 969327"/>
                  <a:gd name="connsiteX11" fmla="*/ 237376 w 956831"/>
                  <a:gd name="connsiteY11" fmla="*/ 917765 h 969327"/>
                  <a:gd name="connsiteX12" fmla="*/ 188391 w 956831"/>
                  <a:gd name="connsiteY12" fmla="*/ 966746 h 969327"/>
                  <a:gd name="connsiteX13" fmla="*/ 141987 w 956831"/>
                  <a:gd name="connsiteY13" fmla="*/ 917765 h 969327"/>
                  <a:gd name="connsiteX14" fmla="*/ 190968 w 956831"/>
                  <a:gd name="connsiteY14" fmla="*/ 868784 h 969327"/>
                  <a:gd name="connsiteX15" fmla="*/ 49177 w 956831"/>
                  <a:gd name="connsiteY15" fmla="*/ 868784 h 969327"/>
                  <a:gd name="connsiteX16" fmla="*/ 95585 w 956831"/>
                  <a:gd name="connsiteY16" fmla="*/ 917765 h 969327"/>
                  <a:gd name="connsiteX17" fmla="*/ 46600 w 956831"/>
                  <a:gd name="connsiteY17" fmla="*/ 966746 h 969327"/>
                  <a:gd name="connsiteX18" fmla="*/ 196 w 956831"/>
                  <a:gd name="connsiteY18" fmla="*/ 917765 h 969327"/>
                  <a:gd name="connsiteX19" fmla="*/ 49177 w 956831"/>
                  <a:gd name="connsiteY19" fmla="*/ 868784 h 969327"/>
                  <a:gd name="connsiteX20" fmla="*/ 618916 w 956831"/>
                  <a:gd name="connsiteY20" fmla="*/ 721841 h 969327"/>
                  <a:gd name="connsiteX21" fmla="*/ 665324 w 956831"/>
                  <a:gd name="connsiteY21" fmla="*/ 770822 h 969327"/>
                  <a:gd name="connsiteX22" fmla="*/ 616339 w 956831"/>
                  <a:gd name="connsiteY22" fmla="*/ 819807 h 969327"/>
                  <a:gd name="connsiteX23" fmla="*/ 569935 w 956831"/>
                  <a:gd name="connsiteY23" fmla="*/ 770822 h 969327"/>
                  <a:gd name="connsiteX24" fmla="*/ 618916 w 956831"/>
                  <a:gd name="connsiteY24" fmla="*/ 721841 h 969327"/>
                  <a:gd name="connsiteX25" fmla="*/ 477125 w 956831"/>
                  <a:gd name="connsiteY25" fmla="*/ 721841 h 969327"/>
                  <a:gd name="connsiteX26" fmla="*/ 523532 w 956831"/>
                  <a:gd name="connsiteY26" fmla="*/ 770822 h 969327"/>
                  <a:gd name="connsiteX27" fmla="*/ 474547 w 956831"/>
                  <a:gd name="connsiteY27" fmla="*/ 819807 h 969327"/>
                  <a:gd name="connsiteX28" fmla="*/ 428144 w 956831"/>
                  <a:gd name="connsiteY28" fmla="*/ 770822 h 969327"/>
                  <a:gd name="connsiteX29" fmla="*/ 477125 w 956831"/>
                  <a:gd name="connsiteY29" fmla="*/ 721841 h 969327"/>
                  <a:gd name="connsiteX30" fmla="*/ 335337 w 956831"/>
                  <a:gd name="connsiteY30" fmla="*/ 721841 h 969327"/>
                  <a:gd name="connsiteX31" fmla="*/ 381740 w 956831"/>
                  <a:gd name="connsiteY31" fmla="*/ 770822 h 969327"/>
                  <a:gd name="connsiteX32" fmla="*/ 332759 w 956831"/>
                  <a:gd name="connsiteY32" fmla="*/ 819807 h 969327"/>
                  <a:gd name="connsiteX33" fmla="*/ 286356 w 956831"/>
                  <a:gd name="connsiteY33" fmla="*/ 770822 h 969327"/>
                  <a:gd name="connsiteX34" fmla="*/ 335337 w 956831"/>
                  <a:gd name="connsiteY34" fmla="*/ 721841 h 969327"/>
                  <a:gd name="connsiteX35" fmla="*/ 190968 w 956831"/>
                  <a:gd name="connsiteY35" fmla="*/ 721840 h 969327"/>
                  <a:gd name="connsiteX36" fmla="*/ 237371 w 956831"/>
                  <a:gd name="connsiteY36" fmla="*/ 770821 h 969327"/>
                  <a:gd name="connsiteX37" fmla="*/ 188390 w 956831"/>
                  <a:gd name="connsiteY37" fmla="*/ 819806 h 969327"/>
                  <a:gd name="connsiteX38" fmla="*/ 141987 w 956831"/>
                  <a:gd name="connsiteY38" fmla="*/ 770821 h 969327"/>
                  <a:gd name="connsiteX39" fmla="*/ 190968 w 956831"/>
                  <a:gd name="connsiteY39" fmla="*/ 721840 h 969327"/>
                  <a:gd name="connsiteX40" fmla="*/ 768440 w 956831"/>
                  <a:gd name="connsiteY40" fmla="*/ 580050 h 969327"/>
                  <a:gd name="connsiteX41" fmla="*/ 814843 w 956831"/>
                  <a:gd name="connsiteY41" fmla="*/ 629031 h 969327"/>
                  <a:gd name="connsiteX42" fmla="*/ 765862 w 956831"/>
                  <a:gd name="connsiteY42" fmla="*/ 678012 h 969327"/>
                  <a:gd name="connsiteX43" fmla="*/ 719459 w 956831"/>
                  <a:gd name="connsiteY43" fmla="*/ 629031 h 969327"/>
                  <a:gd name="connsiteX44" fmla="*/ 768440 w 956831"/>
                  <a:gd name="connsiteY44" fmla="*/ 580050 h 969327"/>
                  <a:gd name="connsiteX45" fmla="*/ 618916 w 956831"/>
                  <a:gd name="connsiteY45" fmla="*/ 577472 h 969327"/>
                  <a:gd name="connsiteX46" fmla="*/ 665324 w 956831"/>
                  <a:gd name="connsiteY46" fmla="*/ 626453 h 969327"/>
                  <a:gd name="connsiteX47" fmla="*/ 616339 w 956831"/>
                  <a:gd name="connsiteY47" fmla="*/ 675434 h 969327"/>
                  <a:gd name="connsiteX48" fmla="*/ 569935 w 956831"/>
                  <a:gd name="connsiteY48" fmla="*/ 626453 h 969327"/>
                  <a:gd name="connsiteX49" fmla="*/ 618916 w 956831"/>
                  <a:gd name="connsiteY49" fmla="*/ 577472 h 969327"/>
                  <a:gd name="connsiteX50" fmla="*/ 477124 w 956831"/>
                  <a:gd name="connsiteY50" fmla="*/ 577472 h 969327"/>
                  <a:gd name="connsiteX51" fmla="*/ 523532 w 956831"/>
                  <a:gd name="connsiteY51" fmla="*/ 626453 h 969327"/>
                  <a:gd name="connsiteX52" fmla="*/ 474547 w 956831"/>
                  <a:gd name="connsiteY52" fmla="*/ 675434 h 969327"/>
                  <a:gd name="connsiteX53" fmla="*/ 428143 w 956831"/>
                  <a:gd name="connsiteY53" fmla="*/ 626453 h 969327"/>
                  <a:gd name="connsiteX54" fmla="*/ 477124 w 956831"/>
                  <a:gd name="connsiteY54" fmla="*/ 577472 h 969327"/>
                  <a:gd name="connsiteX55" fmla="*/ 335333 w 956831"/>
                  <a:gd name="connsiteY55" fmla="*/ 577472 h 969327"/>
                  <a:gd name="connsiteX56" fmla="*/ 381741 w 956831"/>
                  <a:gd name="connsiteY56" fmla="*/ 626453 h 969327"/>
                  <a:gd name="connsiteX57" fmla="*/ 332756 w 956831"/>
                  <a:gd name="connsiteY57" fmla="*/ 675434 h 969327"/>
                  <a:gd name="connsiteX58" fmla="*/ 286352 w 956831"/>
                  <a:gd name="connsiteY58" fmla="*/ 626453 h 969327"/>
                  <a:gd name="connsiteX59" fmla="*/ 335333 w 956831"/>
                  <a:gd name="connsiteY59" fmla="*/ 577472 h 969327"/>
                  <a:gd name="connsiteX60" fmla="*/ 910227 w 956831"/>
                  <a:gd name="connsiteY60" fmla="*/ 433103 h 969327"/>
                  <a:gd name="connsiteX61" fmla="*/ 956635 w 956831"/>
                  <a:gd name="connsiteY61" fmla="*/ 482084 h 969327"/>
                  <a:gd name="connsiteX62" fmla="*/ 907653 w 956831"/>
                  <a:gd name="connsiteY62" fmla="*/ 531069 h 969327"/>
                  <a:gd name="connsiteX63" fmla="*/ 861246 w 956831"/>
                  <a:gd name="connsiteY63" fmla="*/ 482084 h 969327"/>
                  <a:gd name="connsiteX64" fmla="*/ 910227 w 956831"/>
                  <a:gd name="connsiteY64" fmla="*/ 433103 h 969327"/>
                  <a:gd name="connsiteX65" fmla="*/ 768440 w 956831"/>
                  <a:gd name="connsiteY65" fmla="*/ 433103 h 969327"/>
                  <a:gd name="connsiteX66" fmla="*/ 814848 w 956831"/>
                  <a:gd name="connsiteY66" fmla="*/ 482084 h 969327"/>
                  <a:gd name="connsiteX67" fmla="*/ 765866 w 956831"/>
                  <a:gd name="connsiteY67" fmla="*/ 531069 h 969327"/>
                  <a:gd name="connsiteX68" fmla="*/ 719459 w 956831"/>
                  <a:gd name="connsiteY68" fmla="*/ 482084 h 969327"/>
                  <a:gd name="connsiteX69" fmla="*/ 768440 w 956831"/>
                  <a:gd name="connsiteY69" fmla="*/ 433103 h 969327"/>
                  <a:gd name="connsiteX70" fmla="*/ 621494 w 956831"/>
                  <a:gd name="connsiteY70" fmla="*/ 433103 h 969327"/>
                  <a:gd name="connsiteX71" fmla="*/ 667898 w 956831"/>
                  <a:gd name="connsiteY71" fmla="*/ 482084 h 969327"/>
                  <a:gd name="connsiteX72" fmla="*/ 618916 w 956831"/>
                  <a:gd name="connsiteY72" fmla="*/ 531069 h 969327"/>
                  <a:gd name="connsiteX73" fmla="*/ 572513 w 956831"/>
                  <a:gd name="connsiteY73" fmla="*/ 482084 h 969327"/>
                  <a:gd name="connsiteX74" fmla="*/ 621494 w 956831"/>
                  <a:gd name="connsiteY74" fmla="*/ 433103 h 969327"/>
                  <a:gd name="connsiteX75" fmla="*/ 479702 w 956831"/>
                  <a:gd name="connsiteY75" fmla="*/ 433103 h 969327"/>
                  <a:gd name="connsiteX76" fmla="*/ 526106 w 956831"/>
                  <a:gd name="connsiteY76" fmla="*/ 482084 h 969327"/>
                  <a:gd name="connsiteX77" fmla="*/ 477125 w 956831"/>
                  <a:gd name="connsiteY77" fmla="*/ 531069 h 969327"/>
                  <a:gd name="connsiteX78" fmla="*/ 430721 w 956831"/>
                  <a:gd name="connsiteY78" fmla="*/ 482084 h 969327"/>
                  <a:gd name="connsiteX79" fmla="*/ 479702 w 956831"/>
                  <a:gd name="connsiteY79" fmla="*/ 433103 h 969327"/>
                  <a:gd name="connsiteX80" fmla="*/ 768440 w 956831"/>
                  <a:gd name="connsiteY80" fmla="*/ 291312 h 969327"/>
                  <a:gd name="connsiteX81" fmla="*/ 814848 w 956831"/>
                  <a:gd name="connsiteY81" fmla="*/ 340293 h 969327"/>
                  <a:gd name="connsiteX82" fmla="*/ 765866 w 956831"/>
                  <a:gd name="connsiteY82" fmla="*/ 389278 h 969327"/>
                  <a:gd name="connsiteX83" fmla="*/ 719459 w 956831"/>
                  <a:gd name="connsiteY83" fmla="*/ 340293 h 969327"/>
                  <a:gd name="connsiteX84" fmla="*/ 768440 w 956831"/>
                  <a:gd name="connsiteY84" fmla="*/ 291312 h 969327"/>
                  <a:gd name="connsiteX85" fmla="*/ 621493 w 956831"/>
                  <a:gd name="connsiteY85" fmla="*/ 288734 h 969327"/>
                  <a:gd name="connsiteX86" fmla="*/ 667897 w 956831"/>
                  <a:gd name="connsiteY86" fmla="*/ 337715 h 969327"/>
                  <a:gd name="connsiteX87" fmla="*/ 618916 w 956831"/>
                  <a:gd name="connsiteY87" fmla="*/ 386700 h 969327"/>
                  <a:gd name="connsiteX88" fmla="*/ 572512 w 956831"/>
                  <a:gd name="connsiteY88" fmla="*/ 337715 h 969327"/>
                  <a:gd name="connsiteX89" fmla="*/ 621493 w 956831"/>
                  <a:gd name="connsiteY89" fmla="*/ 288734 h 969327"/>
                  <a:gd name="connsiteX90" fmla="*/ 479702 w 956831"/>
                  <a:gd name="connsiteY90" fmla="*/ 288734 h 969327"/>
                  <a:gd name="connsiteX91" fmla="*/ 526106 w 956831"/>
                  <a:gd name="connsiteY91" fmla="*/ 337715 h 969327"/>
                  <a:gd name="connsiteX92" fmla="*/ 477125 w 956831"/>
                  <a:gd name="connsiteY92" fmla="*/ 386700 h 969327"/>
                  <a:gd name="connsiteX93" fmla="*/ 430721 w 956831"/>
                  <a:gd name="connsiteY93" fmla="*/ 337715 h 969327"/>
                  <a:gd name="connsiteX94" fmla="*/ 479702 w 956831"/>
                  <a:gd name="connsiteY94" fmla="*/ 288734 h 969327"/>
                  <a:gd name="connsiteX95" fmla="*/ 337911 w 956831"/>
                  <a:gd name="connsiteY95" fmla="*/ 288734 h 969327"/>
                  <a:gd name="connsiteX96" fmla="*/ 384315 w 956831"/>
                  <a:gd name="connsiteY96" fmla="*/ 337715 h 969327"/>
                  <a:gd name="connsiteX97" fmla="*/ 335334 w 956831"/>
                  <a:gd name="connsiteY97" fmla="*/ 386700 h 969327"/>
                  <a:gd name="connsiteX98" fmla="*/ 288930 w 956831"/>
                  <a:gd name="connsiteY98" fmla="*/ 337715 h 969327"/>
                  <a:gd name="connsiteX99" fmla="*/ 337911 w 956831"/>
                  <a:gd name="connsiteY99" fmla="*/ 288734 h 969327"/>
                  <a:gd name="connsiteX100" fmla="*/ 621493 w 956831"/>
                  <a:gd name="connsiteY100" fmla="*/ 146943 h 969327"/>
                  <a:gd name="connsiteX101" fmla="*/ 667897 w 956831"/>
                  <a:gd name="connsiteY101" fmla="*/ 195924 h 969327"/>
                  <a:gd name="connsiteX102" fmla="*/ 618916 w 956831"/>
                  <a:gd name="connsiteY102" fmla="*/ 244909 h 969327"/>
                  <a:gd name="connsiteX103" fmla="*/ 572512 w 956831"/>
                  <a:gd name="connsiteY103" fmla="*/ 195924 h 969327"/>
                  <a:gd name="connsiteX104" fmla="*/ 621493 w 956831"/>
                  <a:gd name="connsiteY104" fmla="*/ 146943 h 969327"/>
                  <a:gd name="connsiteX105" fmla="*/ 479702 w 956831"/>
                  <a:gd name="connsiteY105" fmla="*/ 146943 h 969327"/>
                  <a:gd name="connsiteX106" fmla="*/ 526106 w 956831"/>
                  <a:gd name="connsiteY106" fmla="*/ 195924 h 969327"/>
                  <a:gd name="connsiteX107" fmla="*/ 477125 w 956831"/>
                  <a:gd name="connsiteY107" fmla="*/ 244909 h 969327"/>
                  <a:gd name="connsiteX108" fmla="*/ 430721 w 956831"/>
                  <a:gd name="connsiteY108" fmla="*/ 195924 h 969327"/>
                  <a:gd name="connsiteX109" fmla="*/ 479702 w 956831"/>
                  <a:gd name="connsiteY109" fmla="*/ 146943 h 969327"/>
                  <a:gd name="connsiteX110" fmla="*/ 337915 w 956831"/>
                  <a:gd name="connsiteY110" fmla="*/ 146943 h 969327"/>
                  <a:gd name="connsiteX111" fmla="*/ 384319 w 956831"/>
                  <a:gd name="connsiteY111" fmla="*/ 195924 h 969327"/>
                  <a:gd name="connsiteX112" fmla="*/ 335337 w 956831"/>
                  <a:gd name="connsiteY112" fmla="*/ 244909 h 969327"/>
                  <a:gd name="connsiteX113" fmla="*/ 288934 w 956831"/>
                  <a:gd name="connsiteY113" fmla="*/ 195924 h 969327"/>
                  <a:gd name="connsiteX114" fmla="*/ 337915 w 956831"/>
                  <a:gd name="connsiteY114" fmla="*/ 146943 h 969327"/>
                  <a:gd name="connsiteX115" fmla="*/ 193542 w 956831"/>
                  <a:gd name="connsiteY115" fmla="*/ 144369 h 969327"/>
                  <a:gd name="connsiteX116" fmla="*/ 239950 w 956831"/>
                  <a:gd name="connsiteY116" fmla="*/ 193350 h 969327"/>
                  <a:gd name="connsiteX117" fmla="*/ 190965 w 956831"/>
                  <a:gd name="connsiteY117" fmla="*/ 242331 h 969327"/>
                  <a:gd name="connsiteX118" fmla="*/ 144561 w 956831"/>
                  <a:gd name="connsiteY118" fmla="*/ 193350 h 969327"/>
                  <a:gd name="connsiteX119" fmla="*/ 193542 w 956831"/>
                  <a:gd name="connsiteY119" fmla="*/ 144369 h 969327"/>
                  <a:gd name="connsiteX120" fmla="*/ 479706 w 956831"/>
                  <a:gd name="connsiteY120" fmla="*/ 0 h 969327"/>
                  <a:gd name="connsiteX121" fmla="*/ 526110 w 956831"/>
                  <a:gd name="connsiteY121" fmla="*/ 48981 h 969327"/>
                  <a:gd name="connsiteX122" fmla="*/ 477128 w 956831"/>
                  <a:gd name="connsiteY122" fmla="*/ 97962 h 969327"/>
                  <a:gd name="connsiteX123" fmla="*/ 430725 w 956831"/>
                  <a:gd name="connsiteY123" fmla="*/ 48981 h 969327"/>
                  <a:gd name="connsiteX124" fmla="*/ 479706 w 956831"/>
                  <a:gd name="connsiteY124" fmla="*/ 0 h 969327"/>
                  <a:gd name="connsiteX125" fmla="*/ 337911 w 956831"/>
                  <a:gd name="connsiteY125" fmla="*/ 0 h 969327"/>
                  <a:gd name="connsiteX126" fmla="*/ 384315 w 956831"/>
                  <a:gd name="connsiteY126" fmla="*/ 48981 h 969327"/>
                  <a:gd name="connsiteX127" fmla="*/ 335334 w 956831"/>
                  <a:gd name="connsiteY127" fmla="*/ 97962 h 969327"/>
                  <a:gd name="connsiteX128" fmla="*/ 288930 w 956831"/>
                  <a:gd name="connsiteY128" fmla="*/ 48981 h 969327"/>
                  <a:gd name="connsiteX129" fmla="*/ 337911 w 956831"/>
                  <a:gd name="connsiteY129" fmla="*/ 0 h 969327"/>
                  <a:gd name="connsiteX130" fmla="*/ 193542 w 956831"/>
                  <a:gd name="connsiteY130" fmla="*/ 0 h 969327"/>
                  <a:gd name="connsiteX131" fmla="*/ 239950 w 956831"/>
                  <a:gd name="connsiteY131" fmla="*/ 48981 h 969327"/>
                  <a:gd name="connsiteX132" fmla="*/ 190965 w 956831"/>
                  <a:gd name="connsiteY132" fmla="*/ 97962 h 969327"/>
                  <a:gd name="connsiteX133" fmla="*/ 144561 w 956831"/>
                  <a:gd name="connsiteY133" fmla="*/ 48981 h 969327"/>
                  <a:gd name="connsiteX134" fmla="*/ 193542 w 956831"/>
                  <a:gd name="connsiteY134" fmla="*/ 0 h 969327"/>
                  <a:gd name="connsiteX135" fmla="*/ 51755 w 956831"/>
                  <a:gd name="connsiteY135" fmla="*/ 0 h 969327"/>
                  <a:gd name="connsiteX136" fmla="*/ 98163 w 956831"/>
                  <a:gd name="connsiteY136" fmla="*/ 48981 h 969327"/>
                  <a:gd name="connsiteX137" fmla="*/ 49178 w 956831"/>
                  <a:gd name="connsiteY137" fmla="*/ 97962 h 969327"/>
                  <a:gd name="connsiteX138" fmla="*/ 2774 w 956831"/>
                  <a:gd name="connsiteY138" fmla="*/ 48981 h 969327"/>
                  <a:gd name="connsiteX139" fmla="*/ 51755 w 956831"/>
                  <a:gd name="connsiteY139" fmla="*/ 0 h 969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956831" h="969327">
                    <a:moveTo>
                      <a:pt x="335334" y="871365"/>
                    </a:moveTo>
                    <a:cubicBezTo>
                      <a:pt x="361115" y="871365"/>
                      <a:pt x="384314" y="891987"/>
                      <a:pt x="381741" y="920346"/>
                    </a:cubicBezTo>
                    <a:cubicBezTo>
                      <a:pt x="381741" y="946127"/>
                      <a:pt x="361115" y="969327"/>
                      <a:pt x="332756" y="969327"/>
                    </a:cubicBezTo>
                    <a:cubicBezTo>
                      <a:pt x="306975" y="969327"/>
                      <a:pt x="286353" y="948705"/>
                      <a:pt x="286353" y="920346"/>
                    </a:cubicBezTo>
                    <a:cubicBezTo>
                      <a:pt x="286353" y="891987"/>
                      <a:pt x="309556" y="868788"/>
                      <a:pt x="335334" y="871365"/>
                    </a:cubicBezTo>
                    <a:close/>
                    <a:moveTo>
                      <a:pt x="477124" y="871365"/>
                    </a:moveTo>
                    <a:cubicBezTo>
                      <a:pt x="502906" y="871365"/>
                      <a:pt x="526106" y="891987"/>
                      <a:pt x="523532" y="920346"/>
                    </a:cubicBezTo>
                    <a:cubicBezTo>
                      <a:pt x="520954" y="948705"/>
                      <a:pt x="502906" y="969327"/>
                      <a:pt x="474547" y="969327"/>
                    </a:cubicBezTo>
                    <a:cubicBezTo>
                      <a:pt x="448765" y="969327"/>
                      <a:pt x="425566" y="948705"/>
                      <a:pt x="428143" y="920346"/>
                    </a:cubicBezTo>
                    <a:cubicBezTo>
                      <a:pt x="430721" y="891987"/>
                      <a:pt x="451347" y="871365"/>
                      <a:pt x="477124" y="871365"/>
                    </a:cubicBezTo>
                    <a:close/>
                    <a:moveTo>
                      <a:pt x="190968" y="868784"/>
                    </a:moveTo>
                    <a:cubicBezTo>
                      <a:pt x="216750" y="868784"/>
                      <a:pt x="239953" y="889406"/>
                      <a:pt x="237376" y="917765"/>
                    </a:cubicBezTo>
                    <a:cubicBezTo>
                      <a:pt x="237376" y="943546"/>
                      <a:pt x="216750" y="966746"/>
                      <a:pt x="188391" y="966746"/>
                    </a:cubicBezTo>
                    <a:cubicBezTo>
                      <a:pt x="162613" y="966746"/>
                      <a:pt x="139410" y="946124"/>
                      <a:pt x="141987" y="917765"/>
                    </a:cubicBezTo>
                    <a:cubicBezTo>
                      <a:pt x="141987" y="891988"/>
                      <a:pt x="165187" y="868784"/>
                      <a:pt x="190968" y="868784"/>
                    </a:cubicBezTo>
                    <a:close/>
                    <a:moveTo>
                      <a:pt x="49177" y="868784"/>
                    </a:moveTo>
                    <a:cubicBezTo>
                      <a:pt x="74959" y="868784"/>
                      <a:pt x="98162" y="889406"/>
                      <a:pt x="95585" y="917765"/>
                    </a:cubicBezTo>
                    <a:cubicBezTo>
                      <a:pt x="93003" y="946124"/>
                      <a:pt x="74959" y="966746"/>
                      <a:pt x="46600" y="966746"/>
                    </a:cubicBezTo>
                    <a:cubicBezTo>
                      <a:pt x="20822" y="966746"/>
                      <a:pt x="-2381" y="946124"/>
                      <a:pt x="196" y="917765"/>
                    </a:cubicBezTo>
                    <a:cubicBezTo>
                      <a:pt x="196" y="889406"/>
                      <a:pt x="23396" y="868784"/>
                      <a:pt x="49177" y="868784"/>
                    </a:cubicBezTo>
                    <a:close/>
                    <a:moveTo>
                      <a:pt x="618916" y="721841"/>
                    </a:moveTo>
                    <a:cubicBezTo>
                      <a:pt x="644698" y="721841"/>
                      <a:pt x="667898" y="742463"/>
                      <a:pt x="665324" y="770822"/>
                    </a:cubicBezTo>
                    <a:cubicBezTo>
                      <a:pt x="665324" y="796603"/>
                      <a:pt x="644698" y="819807"/>
                      <a:pt x="616339" y="819807"/>
                    </a:cubicBezTo>
                    <a:cubicBezTo>
                      <a:pt x="590557" y="819807"/>
                      <a:pt x="567358" y="799181"/>
                      <a:pt x="569935" y="770822"/>
                    </a:cubicBezTo>
                    <a:cubicBezTo>
                      <a:pt x="572513" y="742463"/>
                      <a:pt x="593139" y="721841"/>
                      <a:pt x="618916" y="721841"/>
                    </a:cubicBezTo>
                    <a:close/>
                    <a:moveTo>
                      <a:pt x="477125" y="721841"/>
                    </a:moveTo>
                    <a:cubicBezTo>
                      <a:pt x="502906" y="721841"/>
                      <a:pt x="526105" y="742463"/>
                      <a:pt x="523532" y="770822"/>
                    </a:cubicBezTo>
                    <a:cubicBezTo>
                      <a:pt x="523532" y="796603"/>
                      <a:pt x="502906" y="819807"/>
                      <a:pt x="474547" y="819807"/>
                    </a:cubicBezTo>
                    <a:cubicBezTo>
                      <a:pt x="448766" y="819807"/>
                      <a:pt x="428144" y="799181"/>
                      <a:pt x="428144" y="770822"/>
                    </a:cubicBezTo>
                    <a:cubicBezTo>
                      <a:pt x="430722" y="742463"/>
                      <a:pt x="451347" y="721841"/>
                      <a:pt x="477125" y="721841"/>
                    </a:cubicBezTo>
                    <a:close/>
                    <a:moveTo>
                      <a:pt x="335337" y="721841"/>
                    </a:moveTo>
                    <a:cubicBezTo>
                      <a:pt x="361118" y="721841"/>
                      <a:pt x="384317" y="742463"/>
                      <a:pt x="381740" y="770822"/>
                    </a:cubicBezTo>
                    <a:cubicBezTo>
                      <a:pt x="381740" y="796603"/>
                      <a:pt x="361118" y="819807"/>
                      <a:pt x="332759" y="819807"/>
                    </a:cubicBezTo>
                    <a:cubicBezTo>
                      <a:pt x="304400" y="819807"/>
                      <a:pt x="283778" y="799181"/>
                      <a:pt x="286356" y="770822"/>
                    </a:cubicBezTo>
                    <a:cubicBezTo>
                      <a:pt x="288934" y="742463"/>
                      <a:pt x="309556" y="721841"/>
                      <a:pt x="335337" y="721841"/>
                    </a:cubicBezTo>
                    <a:close/>
                    <a:moveTo>
                      <a:pt x="190968" y="721840"/>
                    </a:moveTo>
                    <a:cubicBezTo>
                      <a:pt x="216745" y="721840"/>
                      <a:pt x="239948" y="742462"/>
                      <a:pt x="237371" y="770821"/>
                    </a:cubicBezTo>
                    <a:cubicBezTo>
                      <a:pt x="237371" y="796602"/>
                      <a:pt x="216745" y="819806"/>
                      <a:pt x="188390" y="819806"/>
                    </a:cubicBezTo>
                    <a:cubicBezTo>
                      <a:pt x="160031" y="819806"/>
                      <a:pt x="139405" y="799180"/>
                      <a:pt x="141987" y="770821"/>
                    </a:cubicBezTo>
                    <a:cubicBezTo>
                      <a:pt x="141987" y="742462"/>
                      <a:pt x="165187" y="719263"/>
                      <a:pt x="190968" y="721840"/>
                    </a:cubicBezTo>
                    <a:close/>
                    <a:moveTo>
                      <a:pt x="768440" y="580050"/>
                    </a:moveTo>
                    <a:cubicBezTo>
                      <a:pt x="794221" y="580050"/>
                      <a:pt x="817424" y="600672"/>
                      <a:pt x="814843" y="629031"/>
                    </a:cubicBezTo>
                    <a:cubicBezTo>
                      <a:pt x="814843" y="654812"/>
                      <a:pt x="794221" y="678012"/>
                      <a:pt x="765862" y="678012"/>
                    </a:cubicBezTo>
                    <a:cubicBezTo>
                      <a:pt x="737503" y="678012"/>
                      <a:pt x="716881" y="657390"/>
                      <a:pt x="719459" y="629031"/>
                    </a:cubicBezTo>
                    <a:cubicBezTo>
                      <a:pt x="719459" y="600672"/>
                      <a:pt x="742659" y="580050"/>
                      <a:pt x="768440" y="580050"/>
                    </a:cubicBezTo>
                    <a:close/>
                    <a:moveTo>
                      <a:pt x="618916" y="577472"/>
                    </a:moveTo>
                    <a:cubicBezTo>
                      <a:pt x="644698" y="577472"/>
                      <a:pt x="667898" y="598094"/>
                      <a:pt x="665324" y="626453"/>
                    </a:cubicBezTo>
                    <a:cubicBezTo>
                      <a:pt x="665324" y="652234"/>
                      <a:pt x="644698" y="675434"/>
                      <a:pt x="616339" y="675434"/>
                    </a:cubicBezTo>
                    <a:cubicBezTo>
                      <a:pt x="590557" y="675434"/>
                      <a:pt x="567358" y="654812"/>
                      <a:pt x="569935" y="626453"/>
                    </a:cubicBezTo>
                    <a:cubicBezTo>
                      <a:pt x="572513" y="600676"/>
                      <a:pt x="593139" y="577472"/>
                      <a:pt x="618916" y="577472"/>
                    </a:cubicBezTo>
                    <a:close/>
                    <a:moveTo>
                      <a:pt x="477124" y="577472"/>
                    </a:moveTo>
                    <a:cubicBezTo>
                      <a:pt x="502906" y="577472"/>
                      <a:pt x="526106" y="598094"/>
                      <a:pt x="523532" y="626453"/>
                    </a:cubicBezTo>
                    <a:cubicBezTo>
                      <a:pt x="523532" y="652234"/>
                      <a:pt x="502906" y="675434"/>
                      <a:pt x="474547" y="675434"/>
                    </a:cubicBezTo>
                    <a:cubicBezTo>
                      <a:pt x="448765" y="675434"/>
                      <a:pt x="425566" y="654812"/>
                      <a:pt x="428143" y="626453"/>
                    </a:cubicBezTo>
                    <a:cubicBezTo>
                      <a:pt x="430721" y="600676"/>
                      <a:pt x="451347" y="577472"/>
                      <a:pt x="477124" y="577472"/>
                    </a:cubicBezTo>
                    <a:close/>
                    <a:moveTo>
                      <a:pt x="335333" y="577472"/>
                    </a:moveTo>
                    <a:cubicBezTo>
                      <a:pt x="361115" y="577472"/>
                      <a:pt x="384314" y="598094"/>
                      <a:pt x="381741" y="626453"/>
                    </a:cubicBezTo>
                    <a:cubicBezTo>
                      <a:pt x="381741" y="652234"/>
                      <a:pt x="361115" y="675434"/>
                      <a:pt x="332756" y="675434"/>
                    </a:cubicBezTo>
                    <a:cubicBezTo>
                      <a:pt x="306974" y="675434"/>
                      <a:pt x="283775" y="654812"/>
                      <a:pt x="286352" y="626453"/>
                    </a:cubicBezTo>
                    <a:cubicBezTo>
                      <a:pt x="288930" y="598094"/>
                      <a:pt x="309556" y="577472"/>
                      <a:pt x="335333" y="577472"/>
                    </a:cubicBezTo>
                    <a:close/>
                    <a:moveTo>
                      <a:pt x="910227" y="433103"/>
                    </a:moveTo>
                    <a:cubicBezTo>
                      <a:pt x="936009" y="433103"/>
                      <a:pt x="959212" y="453729"/>
                      <a:pt x="956635" y="482084"/>
                    </a:cubicBezTo>
                    <a:cubicBezTo>
                      <a:pt x="956635" y="507865"/>
                      <a:pt x="936009" y="531069"/>
                      <a:pt x="907653" y="531069"/>
                    </a:cubicBezTo>
                    <a:cubicBezTo>
                      <a:pt x="881872" y="531069"/>
                      <a:pt x="858669" y="510443"/>
                      <a:pt x="861246" y="482084"/>
                    </a:cubicBezTo>
                    <a:cubicBezTo>
                      <a:pt x="863824" y="453729"/>
                      <a:pt x="884450" y="433103"/>
                      <a:pt x="910227" y="433103"/>
                    </a:cubicBezTo>
                    <a:close/>
                    <a:moveTo>
                      <a:pt x="768440" y="433103"/>
                    </a:moveTo>
                    <a:cubicBezTo>
                      <a:pt x="794222" y="433103"/>
                      <a:pt x="817425" y="453729"/>
                      <a:pt x="814848" y="482084"/>
                    </a:cubicBezTo>
                    <a:cubicBezTo>
                      <a:pt x="814848" y="507865"/>
                      <a:pt x="794222" y="531069"/>
                      <a:pt x="765866" y="531069"/>
                    </a:cubicBezTo>
                    <a:cubicBezTo>
                      <a:pt x="740085" y="531069"/>
                      <a:pt x="716882" y="510443"/>
                      <a:pt x="719459" y="482084"/>
                    </a:cubicBezTo>
                    <a:cubicBezTo>
                      <a:pt x="719459" y="453729"/>
                      <a:pt x="742663" y="433103"/>
                      <a:pt x="768440" y="433103"/>
                    </a:cubicBezTo>
                    <a:close/>
                    <a:moveTo>
                      <a:pt x="621494" y="433103"/>
                    </a:moveTo>
                    <a:cubicBezTo>
                      <a:pt x="647272" y="433103"/>
                      <a:pt x="670475" y="453729"/>
                      <a:pt x="667898" y="482084"/>
                    </a:cubicBezTo>
                    <a:cubicBezTo>
                      <a:pt x="667898" y="507865"/>
                      <a:pt x="647272" y="531069"/>
                      <a:pt x="618916" y="531069"/>
                    </a:cubicBezTo>
                    <a:cubicBezTo>
                      <a:pt x="590557" y="531069"/>
                      <a:pt x="569931" y="510443"/>
                      <a:pt x="572513" y="482084"/>
                    </a:cubicBezTo>
                    <a:cubicBezTo>
                      <a:pt x="572513" y="453729"/>
                      <a:pt x="593135" y="433103"/>
                      <a:pt x="621494" y="433103"/>
                    </a:cubicBezTo>
                    <a:close/>
                    <a:moveTo>
                      <a:pt x="479702" y="433103"/>
                    </a:moveTo>
                    <a:cubicBezTo>
                      <a:pt x="505484" y="433103"/>
                      <a:pt x="528687" y="453729"/>
                      <a:pt x="526106" y="482084"/>
                    </a:cubicBezTo>
                    <a:cubicBezTo>
                      <a:pt x="526106" y="507865"/>
                      <a:pt x="505484" y="531069"/>
                      <a:pt x="477125" y="531069"/>
                    </a:cubicBezTo>
                    <a:cubicBezTo>
                      <a:pt x="451347" y="531069"/>
                      <a:pt x="428144" y="510443"/>
                      <a:pt x="430721" y="482084"/>
                    </a:cubicBezTo>
                    <a:cubicBezTo>
                      <a:pt x="430721" y="453729"/>
                      <a:pt x="451347" y="433103"/>
                      <a:pt x="479702" y="433103"/>
                    </a:cubicBezTo>
                    <a:close/>
                    <a:moveTo>
                      <a:pt x="768440" y="291312"/>
                    </a:moveTo>
                    <a:cubicBezTo>
                      <a:pt x="794222" y="291312"/>
                      <a:pt x="817425" y="311938"/>
                      <a:pt x="814848" y="340293"/>
                    </a:cubicBezTo>
                    <a:cubicBezTo>
                      <a:pt x="814848" y="366074"/>
                      <a:pt x="794222" y="389278"/>
                      <a:pt x="765866" y="389278"/>
                    </a:cubicBezTo>
                    <a:cubicBezTo>
                      <a:pt x="740085" y="389278"/>
                      <a:pt x="716882" y="368652"/>
                      <a:pt x="719459" y="340293"/>
                    </a:cubicBezTo>
                    <a:cubicBezTo>
                      <a:pt x="722037" y="311938"/>
                      <a:pt x="742663" y="288734"/>
                      <a:pt x="768440" y="291312"/>
                    </a:cubicBezTo>
                    <a:close/>
                    <a:moveTo>
                      <a:pt x="621493" y="288734"/>
                    </a:moveTo>
                    <a:cubicBezTo>
                      <a:pt x="647275" y="288734"/>
                      <a:pt x="670478" y="309360"/>
                      <a:pt x="667897" y="337715"/>
                    </a:cubicBezTo>
                    <a:cubicBezTo>
                      <a:pt x="667897" y="363496"/>
                      <a:pt x="647275" y="386700"/>
                      <a:pt x="618916" y="386700"/>
                    </a:cubicBezTo>
                    <a:cubicBezTo>
                      <a:pt x="593138" y="386700"/>
                      <a:pt x="569935" y="366074"/>
                      <a:pt x="572512" y="337715"/>
                    </a:cubicBezTo>
                    <a:cubicBezTo>
                      <a:pt x="572512" y="311937"/>
                      <a:pt x="595712" y="288734"/>
                      <a:pt x="621493" y="288734"/>
                    </a:cubicBezTo>
                    <a:close/>
                    <a:moveTo>
                      <a:pt x="479702" y="288734"/>
                    </a:moveTo>
                    <a:cubicBezTo>
                      <a:pt x="505484" y="288734"/>
                      <a:pt x="528687" y="309360"/>
                      <a:pt x="526106" y="337715"/>
                    </a:cubicBezTo>
                    <a:cubicBezTo>
                      <a:pt x="526106" y="363496"/>
                      <a:pt x="505484" y="386700"/>
                      <a:pt x="477125" y="386700"/>
                    </a:cubicBezTo>
                    <a:cubicBezTo>
                      <a:pt x="451347" y="386700"/>
                      <a:pt x="428144" y="366074"/>
                      <a:pt x="430721" y="337715"/>
                    </a:cubicBezTo>
                    <a:cubicBezTo>
                      <a:pt x="430721" y="309360"/>
                      <a:pt x="453921" y="288734"/>
                      <a:pt x="479702" y="288734"/>
                    </a:cubicBezTo>
                    <a:close/>
                    <a:moveTo>
                      <a:pt x="337911" y="288734"/>
                    </a:moveTo>
                    <a:cubicBezTo>
                      <a:pt x="363693" y="288734"/>
                      <a:pt x="386896" y="309360"/>
                      <a:pt x="384315" y="337715"/>
                    </a:cubicBezTo>
                    <a:cubicBezTo>
                      <a:pt x="384315" y="363496"/>
                      <a:pt x="363693" y="386700"/>
                      <a:pt x="335334" y="386700"/>
                    </a:cubicBezTo>
                    <a:cubicBezTo>
                      <a:pt x="309556" y="386700"/>
                      <a:pt x="286353" y="366074"/>
                      <a:pt x="288930" y="337715"/>
                    </a:cubicBezTo>
                    <a:cubicBezTo>
                      <a:pt x="288930" y="309360"/>
                      <a:pt x="309556" y="288734"/>
                      <a:pt x="337911" y="288734"/>
                    </a:cubicBezTo>
                    <a:close/>
                    <a:moveTo>
                      <a:pt x="621493" y="146943"/>
                    </a:moveTo>
                    <a:cubicBezTo>
                      <a:pt x="647275" y="146943"/>
                      <a:pt x="670478" y="167569"/>
                      <a:pt x="667897" y="195924"/>
                    </a:cubicBezTo>
                    <a:cubicBezTo>
                      <a:pt x="667897" y="221705"/>
                      <a:pt x="647275" y="244909"/>
                      <a:pt x="618916" y="244909"/>
                    </a:cubicBezTo>
                    <a:cubicBezTo>
                      <a:pt x="593138" y="244909"/>
                      <a:pt x="569935" y="224283"/>
                      <a:pt x="572512" y="195924"/>
                    </a:cubicBezTo>
                    <a:cubicBezTo>
                      <a:pt x="572512" y="167569"/>
                      <a:pt x="595712" y="146943"/>
                      <a:pt x="621493" y="146943"/>
                    </a:cubicBezTo>
                    <a:close/>
                    <a:moveTo>
                      <a:pt x="479702" y="146943"/>
                    </a:moveTo>
                    <a:cubicBezTo>
                      <a:pt x="505484" y="146943"/>
                      <a:pt x="528687" y="167569"/>
                      <a:pt x="526106" y="195924"/>
                    </a:cubicBezTo>
                    <a:cubicBezTo>
                      <a:pt x="526106" y="221705"/>
                      <a:pt x="505484" y="244909"/>
                      <a:pt x="477125" y="244909"/>
                    </a:cubicBezTo>
                    <a:cubicBezTo>
                      <a:pt x="451347" y="244909"/>
                      <a:pt x="428144" y="224283"/>
                      <a:pt x="430721" y="195924"/>
                    </a:cubicBezTo>
                    <a:cubicBezTo>
                      <a:pt x="430721" y="167569"/>
                      <a:pt x="453921" y="146943"/>
                      <a:pt x="479702" y="146943"/>
                    </a:cubicBezTo>
                    <a:close/>
                    <a:moveTo>
                      <a:pt x="337915" y="146943"/>
                    </a:moveTo>
                    <a:cubicBezTo>
                      <a:pt x="363693" y="146943"/>
                      <a:pt x="386896" y="167569"/>
                      <a:pt x="384319" y="195924"/>
                    </a:cubicBezTo>
                    <a:cubicBezTo>
                      <a:pt x="384319" y="221705"/>
                      <a:pt x="363693" y="244909"/>
                      <a:pt x="335337" y="244909"/>
                    </a:cubicBezTo>
                    <a:cubicBezTo>
                      <a:pt x="306978" y="244909"/>
                      <a:pt x="286352" y="224283"/>
                      <a:pt x="288934" y="195924"/>
                    </a:cubicBezTo>
                    <a:cubicBezTo>
                      <a:pt x="288934" y="167569"/>
                      <a:pt x="312134" y="146943"/>
                      <a:pt x="337915" y="146943"/>
                    </a:cubicBezTo>
                    <a:close/>
                    <a:moveTo>
                      <a:pt x="193542" y="144369"/>
                    </a:moveTo>
                    <a:cubicBezTo>
                      <a:pt x="219324" y="144369"/>
                      <a:pt x="242524" y="164991"/>
                      <a:pt x="239950" y="193350"/>
                    </a:cubicBezTo>
                    <a:cubicBezTo>
                      <a:pt x="239950" y="219131"/>
                      <a:pt x="219324" y="242331"/>
                      <a:pt x="190965" y="242331"/>
                    </a:cubicBezTo>
                    <a:cubicBezTo>
                      <a:pt x="165183" y="242331"/>
                      <a:pt x="141984" y="221709"/>
                      <a:pt x="144561" y="193350"/>
                    </a:cubicBezTo>
                    <a:cubicBezTo>
                      <a:pt x="144561" y="167572"/>
                      <a:pt x="165183" y="144369"/>
                      <a:pt x="193542" y="144369"/>
                    </a:cubicBezTo>
                    <a:close/>
                    <a:moveTo>
                      <a:pt x="479706" y="0"/>
                    </a:moveTo>
                    <a:cubicBezTo>
                      <a:pt x="505484" y="0"/>
                      <a:pt x="528687" y="20622"/>
                      <a:pt x="526110" y="48981"/>
                    </a:cubicBezTo>
                    <a:cubicBezTo>
                      <a:pt x="526110" y="74762"/>
                      <a:pt x="505484" y="97962"/>
                      <a:pt x="477128" y="97962"/>
                    </a:cubicBezTo>
                    <a:cubicBezTo>
                      <a:pt x="448769" y="97962"/>
                      <a:pt x="428143" y="77340"/>
                      <a:pt x="430725" y="48981"/>
                    </a:cubicBezTo>
                    <a:cubicBezTo>
                      <a:pt x="433303" y="20622"/>
                      <a:pt x="453925" y="0"/>
                      <a:pt x="479706" y="0"/>
                    </a:cubicBezTo>
                    <a:close/>
                    <a:moveTo>
                      <a:pt x="337911" y="0"/>
                    </a:moveTo>
                    <a:cubicBezTo>
                      <a:pt x="363693" y="0"/>
                      <a:pt x="386896" y="20622"/>
                      <a:pt x="384315" y="48981"/>
                    </a:cubicBezTo>
                    <a:cubicBezTo>
                      <a:pt x="384315" y="74762"/>
                      <a:pt x="363693" y="97962"/>
                      <a:pt x="335334" y="97962"/>
                    </a:cubicBezTo>
                    <a:cubicBezTo>
                      <a:pt x="309556" y="97962"/>
                      <a:pt x="286353" y="77340"/>
                      <a:pt x="288930" y="48981"/>
                    </a:cubicBezTo>
                    <a:cubicBezTo>
                      <a:pt x="288930" y="20622"/>
                      <a:pt x="312130" y="0"/>
                      <a:pt x="337911" y="0"/>
                    </a:cubicBezTo>
                    <a:close/>
                    <a:moveTo>
                      <a:pt x="193542" y="0"/>
                    </a:moveTo>
                    <a:cubicBezTo>
                      <a:pt x="219324" y="0"/>
                      <a:pt x="242524" y="20622"/>
                      <a:pt x="239950" y="48981"/>
                    </a:cubicBezTo>
                    <a:cubicBezTo>
                      <a:pt x="239950" y="74762"/>
                      <a:pt x="219324" y="97962"/>
                      <a:pt x="190965" y="97962"/>
                    </a:cubicBezTo>
                    <a:cubicBezTo>
                      <a:pt x="165183" y="97962"/>
                      <a:pt x="141984" y="77340"/>
                      <a:pt x="144561" y="48981"/>
                    </a:cubicBezTo>
                    <a:cubicBezTo>
                      <a:pt x="144561" y="20622"/>
                      <a:pt x="167765" y="0"/>
                      <a:pt x="193542" y="0"/>
                    </a:cubicBezTo>
                    <a:close/>
                    <a:moveTo>
                      <a:pt x="51755" y="0"/>
                    </a:moveTo>
                    <a:cubicBezTo>
                      <a:pt x="77537" y="0"/>
                      <a:pt x="100736" y="20622"/>
                      <a:pt x="98163" y="48981"/>
                    </a:cubicBezTo>
                    <a:cubicBezTo>
                      <a:pt x="98163" y="74762"/>
                      <a:pt x="77537" y="97962"/>
                      <a:pt x="49178" y="97962"/>
                    </a:cubicBezTo>
                    <a:cubicBezTo>
                      <a:pt x="23396" y="97962"/>
                      <a:pt x="197" y="77340"/>
                      <a:pt x="2774" y="48981"/>
                    </a:cubicBezTo>
                    <a:cubicBezTo>
                      <a:pt x="2774" y="20622"/>
                      <a:pt x="25978" y="0"/>
                      <a:pt x="51755" y="0"/>
                    </a:cubicBezTo>
                    <a:close/>
                  </a:path>
                </a:pathLst>
              </a:custGeom>
              <a:solidFill>
                <a:schemeClr val="bg1"/>
              </a:solidFill>
              <a:ln w="6825" cap="flat">
                <a:noFill/>
                <a:prstDash val="solid"/>
                <a:miter/>
              </a:ln>
            </p:spPr>
            <p:txBody>
              <a:bodyPr rtlCol="0" anchor="ctr"/>
              <a:lstStyle/>
              <a:p>
                <a:endParaRPr lang="en-US"/>
              </a:p>
            </p:txBody>
          </p:sp>
        </p:grpSp>
      </p:grpSp>
      <p:sp>
        <p:nvSpPr>
          <p:cNvPr id="126" name="Rectangle 125">
            <a:extLst>
              <a:ext uri="{FF2B5EF4-FFF2-40B4-BE49-F238E27FC236}">
                <a16:creationId xmlns:a16="http://schemas.microsoft.com/office/drawing/2014/main" id="{D277F6B6-0150-4661-A8BB-C25D53F3918D}"/>
              </a:ext>
            </a:extLst>
          </p:cNvPr>
          <p:cNvSpPr/>
          <p:nvPr userDrawn="1"/>
        </p:nvSpPr>
        <p:spPr>
          <a:xfrm>
            <a:off x="350896" y="3366854"/>
            <a:ext cx="4963419" cy="400110"/>
          </a:xfrm>
          <a:prstGeom prst="rect">
            <a:avLst/>
          </a:prstGeom>
        </p:spPr>
        <p:txBody>
          <a:bodyPr wrap="square" lIns="0" rIns="182880">
            <a:spAutoFit/>
          </a:bodyPr>
          <a:lstStyle/>
          <a:p>
            <a:pPr algn="l"/>
            <a:r>
              <a:rPr lang="en-US" sz="2000" b="0">
                <a:solidFill>
                  <a:schemeClr val="bg2">
                    <a:lumMod val="75000"/>
                  </a:schemeClr>
                </a:solidFill>
              </a:rPr>
              <a:t>2021 SPBD Annual Team Meeting</a:t>
            </a:r>
            <a:endParaRPr lang="en-US" sz="1200" b="0">
              <a:solidFill>
                <a:schemeClr val="bg2">
                  <a:lumMod val="75000"/>
                </a:schemeClr>
              </a:solidFill>
            </a:endParaRPr>
          </a:p>
        </p:txBody>
      </p:sp>
    </p:spTree>
    <p:extLst>
      <p:ext uri="{BB962C8B-B14F-4D97-AF65-F5344CB8AC3E}">
        <p14:creationId xmlns:p14="http://schemas.microsoft.com/office/powerpoint/2010/main" val="1084899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2199282"/>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1_Custom title slide">
    <p:bg>
      <p:bgPr>
        <a:gradFill>
          <a:gsLst>
            <a:gs pos="0">
              <a:schemeClr val="bg1"/>
            </a:gs>
            <a:gs pos="45000">
              <a:schemeClr val="bg1"/>
            </a:gs>
            <a:gs pos="66000">
              <a:schemeClr val="bg2"/>
            </a:gs>
          </a:gsLst>
          <a:lin ang="1080000" scaled="0"/>
        </a:gra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2DF2EB01-DB3A-564C-8485-CADA3C9CF3AF}"/>
              </a:ext>
            </a:extLst>
          </p:cNvPr>
          <p:cNvSpPr>
            <a:spLocks noGrp="1"/>
          </p:cNvSpPr>
          <p:nvPr>
            <p:ph type="pic" sz="quarter" idx="11" hasCustomPrompt="1"/>
          </p:nvPr>
        </p:nvSpPr>
        <p:spPr>
          <a:xfrm>
            <a:off x="5560459" y="1"/>
            <a:ext cx="6631541" cy="6857999"/>
          </a:xfrm>
          <a:custGeom>
            <a:avLst/>
            <a:gdLst>
              <a:gd name="connsiteX0" fmla="*/ 2183862 w 6631541"/>
              <a:gd name="connsiteY0" fmla="*/ 0 h 6857999"/>
              <a:gd name="connsiteX1" fmla="*/ 6631541 w 6631541"/>
              <a:gd name="connsiteY1" fmla="*/ 0 h 6857999"/>
              <a:gd name="connsiteX2" fmla="*/ 6631541 w 6631541"/>
              <a:gd name="connsiteY2" fmla="*/ 6857999 h 6857999"/>
              <a:gd name="connsiteX3" fmla="*/ 0 w 66315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6631541" h="6857999">
                <a:moveTo>
                  <a:pt x="2183862" y="0"/>
                </a:moveTo>
                <a:lnTo>
                  <a:pt x="6631541" y="0"/>
                </a:lnTo>
                <a:lnTo>
                  <a:pt x="6631541" y="6857999"/>
                </a:lnTo>
                <a:lnTo>
                  <a:pt x="0" y="6857999"/>
                </a:lnTo>
                <a:close/>
              </a:path>
            </a:pathLst>
          </a:custGeom>
          <a:pattFill prst="pct5">
            <a:fgClr>
              <a:schemeClr val="bg1"/>
            </a:fgClr>
            <a:bgClr>
              <a:schemeClr val="bg2"/>
            </a:bgClr>
          </a:pattFill>
        </p:spPr>
        <p:txBody>
          <a:bodyPr vert="horz" wrap="square" lIns="0" tIns="0" rIns="0" bIns="0" rtlCol="0" anchor="ctr">
            <a:noAutofit/>
          </a:bodyPr>
          <a:lstStyle>
            <a:lvl1pPr marL="0" indent="0" algn="ctr">
              <a:buFontTx/>
              <a:buNone/>
              <a:defRPr lang="en-US" sz="1400" dirty="0"/>
            </a:lvl1pPr>
          </a:lstStyle>
          <a:p>
            <a:pPr marR="0" lvl="0" algn="ctr" fontAlgn="auto">
              <a:spcAft>
                <a:spcPts val="0"/>
              </a:spcAft>
              <a:buClrTx/>
              <a:buSzTx/>
              <a:buNone/>
              <a:tabLst/>
            </a:pPr>
            <a:r>
              <a:rPr lang="en-US"/>
              <a:t>Add photo</a:t>
            </a:r>
          </a:p>
        </p:txBody>
      </p:sp>
      <p:grpSp>
        <p:nvGrpSpPr>
          <p:cNvPr id="7" name="Group 6">
            <a:extLst>
              <a:ext uri="{FF2B5EF4-FFF2-40B4-BE49-F238E27FC236}">
                <a16:creationId xmlns:a16="http://schemas.microsoft.com/office/drawing/2014/main" id="{B1F511C6-A535-A245-B123-CC04435D2DAF}"/>
              </a:ext>
            </a:extLst>
          </p:cNvPr>
          <p:cNvGrpSpPr/>
          <p:nvPr/>
        </p:nvGrpSpPr>
        <p:grpSpPr>
          <a:xfrm>
            <a:off x="304799" y="0"/>
            <a:ext cx="2427681" cy="1044934"/>
            <a:chOff x="0" y="0"/>
            <a:chExt cx="2447693" cy="1053548"/>
          </a:xfrm>
        </p:grpSpPr>
        <p:sp>
          <p:nvSpPr>
            <p:cNvPr id="8" name="Parallelogram 7">
              <a:extLst>
                <a:ext uri="{FF2B5EF4-FFF2-40B4-BE49-F238E27FC236}">
                  <a16:creationId xmlns:a16="http://schemas.microsoft.com/office/drawing/2014/main" id="{6399281C-FD14-2942-9A9B-13B5E50B7517}"/>
                </a:ext>
              </a:extLst>
            </p:cNvPr>
            <p:cNvSpPr/>
            <p:nvPr/>
          </p:nvSpPr>
          <p:spPr bwMode="auto">
            <a:xfrm>
              <a:off x="0" y="0"/>
              <a:ext cx="2447693" cy="1053548"/>
            </a:xfrm>
            <a:prstGeom prst="parallelogram">
              <a:avLst>
                <a:gd name="adj" fmla="val 0"/>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a:latin typeface="Arial" pitchFamily="124" charset="0"/>
                </a:rPr>
                <a:t>               </a:t>
              </a:r>
            </a:p>
          </p:txBody>
        </p:sp>
        <p:pic>
          <p:nvPicPr>
            <p:cNvPr id="9" name="Picture 8">
              <a:extLst>
                <a:ext uri="{FF2B5EF4-FFF2-40B4-BE49-F238E27FC236}">
                  <a16:creationId xmlns:a16="http://schemas.microsoft.com/office/drawing/2014/main" id="{7D60AD95-BD80-6049-9976-D024EC4ECDE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35820" y="154984"/>
              <a:ext cx="2178058" cy="756021"/>
            </a:xfrm>
            <a:prstGeom prst="rect">
              <a:avLst/>
            </a:prstGeom>
          </p:spPr>
        </p:pic>
      </p:grpSp>
      <p:grpSp>
        <p:nvGrpSpPr>
          <p:cNvPr id="11" name="Group 10">
            <a:extLst>
              <a:ext uri="{FF2B5EF4-FFF2-40B4-BE49-F238E27FC236}">
                <a16:creationId xmlns:a16="http://schemas.microsoft.com/office/drawing/2014/main" id="{BD8A84AE-AF33-DF45-94CF-C3F25C5B3C5F}"/>
              </a:ext>
            </a:extLst>
          </p:cNvPr>
          <p:cNvGrpSpPr/>
          <p:nvPr/>
        </p:nvGrpSpPr>
        <p:grpSpPr>
          <a:xfrm>
            <a:off x="283193" y="5970590"/>
            <a:ext cx="5053203" cy="441233"/>
            <a:chOff x="5155556" y="6168462"/>
            <a:chExt cx="5053203" cy="441233"/>
          </a:xfrm>
        </p:grpSpPr>
        <p:sp>
          <p:nvSpPr>
            <p:cNvPr id="12" name="TextBox 11">
              <a:extLst>
                <a:ext uri="{FF2B5EF4-FFF2-40B4-BE49-F238E27FC236}">
                  <a16:creationId xmlns:a16="http://schemas.microsoft.com/office/drawing/2014/main" id="{5DF5D896-302C-C647-8B84-3EA145C1337B}"/>
                </a:ext>
              </a:extLst>
            </p:cNvPr>
            <p:cNvSpPr txBox="1"/>
            <p:nvPr/>
          </p:nvSpPr>
          <p:spPr>
            <a:xfrm>
              <a:off x="5656050" y="6168462"/>
              <a:ext cx="4552709" cy="441233"/>
            </a:xfrm>
            <a:prstGeom prst="rect">
              <a:avLst/>
            </a:prstGeom>
            <a:noFill/>
          </p:spPr>
          <p:txBody>
            <a:bodyPr vert="horz" wrap="square" lIns="0" tIns="0" rIns="0" bIns="0" rtlCol="0" anchor="ctr" anchorCtr="0">
              <a:noAutofit/>
            </a:bodyPr>
            <a:lstStyle/>
            <a:p>
              <a:pPr algn="l"/>
              <a:r>
                <a:rPr lang="en-US" sz="2000">
                  <a:solidFill>
                    <a:schemeClr val="tx1"/>
                  </a:solidFill>
                  <a:latin typeface="Arial"/>
                </a:rPr>
                <a:t>The world leader in serving science</a:t>
              </a:r>
            </a:p>
          </p:txBody>
        </p:sp>
        <p:sp>
          <p:nvSpPr>
            <p:cNvPr id="13" name="Parallelogram 12">
              <a:extLst>
                <a:ext uri="{FF2B5EF4-FFF2-40B4-BE49-F238E27FC236}">
                  <a16:creationId xmlns:a16="http://schemas.microsoft.com/office/drawing/2014/main" id="{9BC00B89-C038-314A-AC65-15CF9FEFA67A}"/>
                </a:ext>
              </a:extLst>
            </p:cNvPr>
            <p:cNvSpPr/>
            <p:nvPr/>
          </p:nvSpPr>
          <p:spPr bwMode="auto">
            <a:xfrm>
              <a:off x="5155556" y="6302295"/>
              <a:ext cx="310510" cy="188737"/>
            </a:xfrm>
            <a:prstGeom prst="parallelogram">
              <a:avLst>
                <a:gd name="adj" fmla="val 31844"/>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a:latin typeface="Arial" pitchFamily="124" charset="0"/>
                </a:rPr>
                <a:t>               </a:t>
              </a:r>
            </a:p>
          </p:txBody>
        </p:sp>
      </p:grpSp>
      <p:sp>
        <p:nvSpPr>
          <p:cNvPr id="17" name="Text Placeholder 15">
            <a:extLst>
              <a:ext uri="{FF2B5EF4-FFF2-40B4-BE49-F238E27FC236}">
                <a16:creationId xmlns:a16="http://schemas.microsoft.com/office/drawing/2014/main" id="{066B560F-B405-E64F-9BDF-0CBAACB3D079}"/>
              </a:ext>
            </a:extLst>
          </p:cNvPr>
          <p:cNvSpPr>
            <a:spLocks noGrp="1"/>
          </p:cNvSpPr>
          <p:nvPr>
            <p:ph type="body" sz="quarter" idx="10" hasCustomPrompt="1"/>
          </p:nvPr>
        </p:nvSpPr>
        <p:spPr>
          <a:xfrm>
            <a:off x="304800" y="3903896"/>
            <a:ext cx="5791199" cy="308120"/>
          </a:xfrm>
          <a:prstGeom prst="rect">
            <a:avLst/>
          </a:prstGeom>
        </p:spPr>
        <p:txBody>
          <a:bodyPr lIns="0" tIns="0" rIns="0" bIns="0" anchor="b"/>
          <a:lstStyle>
            <a:lvl1pPr>
              <a:spcBef>
                <a:spcPts val="0"/>
              </a:spcBef>
              <a:spcAft>
                <a:spcPts val="0"/>
              </a:spcAft>
              <a:buFontTx/>
              <a:buNone/>
              <a:defRPr sz="1600" b="0" baseline="0">
                <a:solidFill>
                  <a:schemeClr val="tx2"/>
                </a:solidFill>
              </a:defRPr>
            </a:lvl1pPr>
            <a:lvl2pPr marL="114300" indent="4763">
              <a:spcAft>
                <a:spcPts val="0"/>
              </a:spcAft>
              <a:buFontTx/>
              <a:buNone/>
              <a:defRPr sz="1400" i="1" baseline="0">
                <a:solidFill>
                  <a:schemeClr val="tx1"/>
                </a:solidFill>
              </a:defRPr>
            </a:lvl2pPr>
          </a:lstStyle>
          <a:p>
            <a:pPr lvl="0"/>
            <a:r>
              <a:rPr lang="en-US"/>
              <a:t>Presenter name [16pt Arial] </a:t>
            </a:r>
          </a:p>
        </p:txBody>
      </p:sp>
      <p:sp>
        <p:nvSpPr>
          <p:cNvPr id="18" name="Title 16">
            <a:extLst>
              <a:ext uri="{FF2B5EF4-FFF2-40B4-BE49-F238E27FC236}">
                <a16:creationId xmlns:a16="http://schemas.microsoft.com/office/drawing/2014/main" id="{98A0AF47-0118-3245-A388-D5866C77A994}"/>
              </a:ext>
            </a:extLst>
          </p:cNvPr>
          <p:cNvSpPr>
            <a:spLocks noGrp="1"/>
          </p:cNvSpPr>
          <p:nvPr>
            <p:ph type="title" hasCustomPrompt="1"/>
          </p:nvPr>
        </p:nvSpPr>
        <p:spPr>
          <a:xfrm>
            <a:off x="304801" y="1726100"/>
            <a:ext cx="5791199" cy="2071868"/>
          </a:xfrm>
          <a:prstGeom prst="rect">
            <a:avLst/>
          </a:prstGeom>
          <a:noFill/>
        </p:spPr>
        <p:txBody>
          <a:bodyPr wrap="square" lIns="0" tIns="0" rIns="0" bIns="0" anchor="b">
            <a:noAutofit/>
          </a:bodyPr>
          <a:lstStyle>
            <a:lvl1pPr>
              <a:lnSpc>
                <a:spcPct val="90000"/>
              </a:lnSpc>
              <a:defRPr sz="2800" b="1">
                <a:solidFill>
                  <a:schemeClr val="tx1"/>
                </a:solidFill>
              </a:defRPr>
            </a:lvl1pPr>
          </a:lstStyle>
          <a:p>
            <a:r>
              <a:rPr lang="en-US"/>
              <a:t>Title [28pt Arial Bold] </a:t>
            </a:r>
          </a:p>
        </p:txBody>
      </p:sp>
      <p:sp>
        <p:nvSpPr>
          <p:cNvPr id="21" name="Footer Placeholder 1">
            <a:extLst>
              <a:ext uri="{FF2B5EF4-FFF2-40B4-BE49-F238E27FC236}">
                <a16:creationId xmlns:a16="http://schemas.microsoft.com/office/drawing/2014/main" id="{0417725A-1D63-8B41-B75E-4A7C276235C4}"/>
              </a:ext>
            </a:extLst>
          </p:cNvPr>
          <p:cNvSpPr>
            <a:spLocks noGrp="1"/>
          </p:cNvSpPr>
          <p:nvPr>
            <p:ph type="ftr" sz="quarter" idx="15"/>
          </p:nvPr>
        </p:nvSpPr>
        <p:spPr>
          <a:xfrm>
            <a:off x="304800" y="6553200"/>
            <a:ext cx="5791200" cy="304799"/>
          </a:xfrm>
        </p:spPr>
        <p:txBody>
          <a:bodyPr/>
          <a:lstStyle/>
          <a:p>
            <a:r>
              <a:rPr lang="en-US"/>
              <a:t>Proprietary &amp; Confidential |  authoremail@thermofisher.com | 12-April-2021</a:t>
            </a:r>
          </a:p>
        </p:txBody>
      </p:sp>
      <p:sp>
        <p:nvSpPr>
          <p:cNvPr id="22" name="Slide Number Placeholder 2">
            <a:extLst>
              <a:ext uri="{FF2B5EF4-FFF2-40B4-BE49-F238E27FC236}">
                <a16:creationId xmlns:a16="http://schemas.microsoft.com/office/drawing/2014/main" id="{2EFD93CC-9AAB-B446-8966-4FFCA1CA2633}"/>
              </a:ext>
            </a:extLst>
          </p:cNvPr>
          <p:cNvSpPr>
            <a:spLocks noGrp="1"/>
          </p:cNvSpPr>
          <p:nvPr>
            <p:ph type="sldNum" sz="quarter" idx="12"/>
          </p:nvPr>
        </p:nvSpPr>
        <p:spPr>
          <a:xfrm>
            <a:off x="1" y="6553200"/>
            <a:ext cx="304799" cy="304799"/>
          </a:xfrm>
        </p:spPr>
        <p:txBody>
          <a:bodyPr/>
          <a:lstStyle/>
          <a:p>
            <a:fld id="{89006F1E-66CD-4A4B-9370-B4A3080F0E6C}" type="slidenum">
              <a:rPr lang="en-US" smtClean="0"/>
              <a:pPr/>
              <a:t>‹#›</a:t>
            </a:fld>
            <a:endParaRPr lang="en-US"/>
          </a:p>
        </p:txBody>
      </p:sp>
      <p:sp>
        <p:nvSpPr>
          <p:cNvPr id="15" name="Text Placeholder 15">
            <a:extLst>
              <a:ext uri="{FF2B5EF4-FFF2-40B4-BE49-F238E27FC236}">
                <a16:creationId xmlns:a16="http://schemas.microsoft.com/office/drawing/2014/main" id="{DA6AB682-877D-F244-8431-46BA64252685}"/>
              </a:ext>
            </a:extLst>
          </p:cNvPr>
          <p:cNvSpPr>
            <a:spLocks noGrp="1"/>
          </p:cNvSpPr>
          <p:nvPr>
            <p:ph type="body" sz="quarter" idx="14" hasCustomPrompt="1"/>
          </p:nvPr>
        </p:nvSpPr>
        <p:spPr>
          <a:xfrm>
            <a:off x="304801" y="4255834"/>
            <a:ext cx="5791200" cy="1097215"/>
          </a:xfrm>
          <a:prstGeom prst="rect">
            <a:avLst/>
          </a:prstGeom>
        </p:spPr>
        <p:txBody>
          <a:bodyPr lIns="0" tIns="0" rIns="0" bIns="0" anchor="t">
            <a:normAutofit/>
          </a:bodyPr>
          <a:lstStyle>
            <a:lvl1pPr marL="179388" marR="0" indent="-179388" algn="l" defTabSz="914400" rtl="0" eaLnBrk="1" fontAlgn="auto" latinLnBrk="0" hangingPunct="1">
              <a:lnSpc>
                <a:spcPct val="120000"/>
              </a:lnSpc>
              <a:spcBef>
                <a:spcPts val="0"/>
              </a:spcBef>
              <a:spcAft>
                <a:spcPts val="0"/>
              </a:spcAft>
              <a:buClr>
                <a:schemeClr val="accent4"/>
              </a:buClr>
              <a:buSzPct val="100000"/>
              <a:buFontTx/>
              <a:buNone/>
              <a:tabLst/>
              <a:defRPr sz="1400" b="0" baseline="0">
                <a:solidFill>
                  <a:schemeClr val="tx1"/>
                </a:solidFill>
              </a:defRPr>
            </a:lvl1pPr>
            <a:lvl2pPr marL="114300" indent="4763">
              <a:spcAft>
                <a:spcPts val="0"/>
              </a:spcAft>
              <a:buFontTx/>
              <a:buNone/>
              <a:defRPr sz="1400" i="1" baseline="0">
                <a:solidFill>
                  <a:schemeClr val="tx1"/>
                </a:solidFill>
              </a:defRPr>
            </a:lvl2pPr>
          </a:lstStyle>
          <a:p>
            <a:pPr marL="411480" marR="0" lvl="0" indent="-411480" algn="l" defTabSz="914400" rtl="0" eaLnBrk="1" fontAlgn="auto" latinLnBrk="0" hangingPunct="1">
              <a:lnSpc>
                <a:spcPct val="120000"/>
              </a:lnSpc>
              <a:spcBef>
                <a:spcPts val="0"/>
              </a:spcBef>
              <a:spcAft>
                <a:spcPts val="0"/>
              </a:spcAft>
              <a:buClr>
                <a:schemeClr val="accent4"/>
              </a:buClr>
              <a:buSzPct val="100000"/>
              <a:buFontTx/>
              <a:buNone/>
              <a:tabLst/>
              <a:defRPr/>
            </a:pPr>
            <a:r>
              <a:rPr lang="en-US"/>
              <a:t>Presenter Title [14pt Arial]</a:t>
            </a:r>
            <a:br>
              <a:rPr lang="en-US"/>
            </a:br>
            <a:r>
              <a:rPr lang="en-US"/>
              <a:t>Date [14pt Arial] </a:t>
            </a:r>
          </a:p>
        </p:txBody>
      </p:sp>
    </p:spTree>
    <p:extLst>
      <p:ext uri="{BB962C8B-B14F-4D97-AF65-F5344CB8AC3E}">
        <p14:creationId xmlns:p14="http://schemas.microsoft.com/office/powerpoint/2010/main" val="307745045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2_Custom title slide">
    <p:bg>
      <p:bgPr>
        <a:gradFill>
          <a:gsLst>
            <a:gs pos="0">
              <a:schemeClr val="bg1"/>
            </a:gs>
            <a:gs pos="45000">
              <a:schemeClr val="bg1"/>
            </a:gs>
            <a:gs pos="66000">
              <a:schemeClr val="bg2"/>
            </a:gs>
          </a:gsLst>
          <a:lin ang="1080000" scaled="0"/>
        </a:gra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B1F511C6-A535-A245-B123-CC04435D2DAF}"/>
              </a:ext>
            </a:extLst>
          </p:cNvPr>
          <p:cNvGrpSpPr/>
          <p:nvPr/>
        </p:nvGrpSpPr>
        <p:grpSpPr>
          <a:xfrm>
            <a:off x="304799" y="0"/>
            <a:ext cx="2427681" cy="1044934"/>
            <a:chOff x="0" y="0"/>
            <a:chExt cx="2447693" cy="1053548"/>
          </a:xfrm>
        </p:grpSpPr>
        <p:sp>
          <p:nvSpPr>
            <p:cNvPr id="8" name="Parallelogram 7">
              <a:extLst>
                <a:ext uri="{FF2B5EF4-FFF2-40B4-BE49-F238E27FC236}">
                  <a16:creationId xmlns:a16="http://schemas.microsoft.com/office/drawing/2014/main" id="{6399281C-FD14-2942-9A9B-13B5E50B7517}"/>
                </a:ext>
              </a:extLst>
            </p:cNvPr>
            <p:cNvSpPr/>
            <p:nvPr/>
          </p:nvSpPr>
          <p:spPr bwMode="auto">
            <a:xfrm>
              <a:off x="0" y="0"/>
              <a:ext cx="2447693" cy="1053548"/>
            </a:xfrm>
            <a:prstGeom prst="parallelogram">
              <a:avLst>
                <a:gd name="adj" fmla="val 0"/>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a:latin typeface="Arial" pitchFamily="124" charset="0"/>
                </a:rPr>
                <a:t>               </a:t>
              </a:r>
            </a:p>
          </p:txBody>
        </p:sp>
        <p:pic>
          <p:nvPicPr>
            <p:cNvPr id="9" name="Picture 8">
              <a:extLst>
                <a:ext uri="{FF2B5EF4-FFF2-40B4-BE49-F238E27FC236}">
                  <a16:creationId xmlns:a16="http://schemas.microsoft.com/office/drawing/2014/main" id="{7D60AD95-BD80-6049-9976-D024EC4ECDE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35820" y="154984"/>
              <a:ext cx="2178058" cy="756021"/>
            </a:xfrm>
            <a:prstGeom prst="rect">
              <a:avLst/>
            </a:prstGeom>
          </p:spPr>
        </p:pic>
      </p:grpSp>
      <p:grpSp>
        <p:nvGrpSpPr>
          <p:cNvPr id="11" name="Group 10">
            <a:extLst>
              <a:ext uri="{FF2B5EF4-FFF2-40B4-BE49-F238E27FC236}">
                <a16:creationId xmlns:a16="http://schemas.microsoft.com/office/drawing/2014/main" id="{BD8A84AE-AF33-DF45-94CF-C3F25C5B3C5F}"/>
              </a:ext>
            </a:extLst>
          </p:cNvPr>
          <p:cNvGrpSpPr/>
          <p:nvPr/>
        </p:nvGrpSpPr>
        <p:grpSpPr>
          <a:xfrm>
            <a:off x="283193" y="5970590"/>
            <a:ext cx="5053203" cy="441233"/>
            <a:chOff x="5155556" y="6168462"/>
            <a:chExt cx="5053203" cy="441233"/>
          </a:xfrm>
        </p:grpSpPr>
        <p:sp>
          <p:nvSpPr>
            <p:cNvPr id="12" name="TextBox 11">
              <a:extLst>
                <a:ext uri="{FF2B5EF4-FFF2-40B4-BE49-F238E27FC236}">
                  <a16:creationId xmlns:a16="http://schemas.microsoft.com/office/drawing/2014/main" id="{5DF5D896-302C-C647-8B84-3EA145C1337B}"/>
                </a:ext>
              </a:extLst>
            </p:cNvPr>
            <p:cNvSpPr txBox="1"/>
            <p:nvPr/>
          </p:nvSpPr>
          <p:spPr>
            <a:xfrm>
              <a:off x="5656050" y="6168462"/>
              <a:ext cx="4552709" cy="441233"/>
            </a:xfrm>
            <a:prstGeom prst="rect">
              <a:avLst/>
            </a:prstGeom>
            <a:noFill/>
          </p:spPr>
          <p:txBody>
            <a:bodyPr vert="horz" wrap="square" lIns="0" tIns="0" rIns="0" bIns="0" rtlCol="0" anchor="ctr" anchorCtr="0">
              <a:noAutofit/>
            </a:bodyPr>
            <a:lstStyle/>
            <a:p>
              <a:pPr algn="l"/>
              <a:r>
                <a:rPr lang="en-US" sz="2000">
                  <a:solidFill>
                    <a:schemeClr val="tx1"/>
                  </a:solidFill>
                  <a:latin typeface="Arial"/>
                </a:rPr>
                <a:t>The world leader in serving science</a:t>
              </a:r>
            </a:p>
          </p:txBody>
        </p:sp>
        <p:sp>
          <p:nvSpPr>
            <p:cNvPr id="13" name="Parallelogram 12">
              <a:extLst>
                <a:ext uri="{FF2B5EF4-FFF2-40B4-BE49-F238E27FC236}">
                  <a16:creationId xmlns:a16="http://schemas.microsoft.com/office/drawing/2014/main" id="{9BC00B89-C038-314A-AC65-15CF9FEFA67A}"/>
                </a:ext>
              </a:extLst>
            </p:cNvPr>
            <p:cNvSpPr/>
            <p:nvPr/>
          </p:nvSpPr>
          <p:spPr bwMode="auto">
            <a:xfrm>
              <a:off x="5155556" y="6302295"/>
              <a:ext cx="310510" cy="188737"/>
            </a:xfrm>
            <a:prstGeom prst="parallelogram">
              <a:avLst>
                <a:gd name="adj" fmla="val 31844"/>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a:latin typeface="Arial" pitchFamily="124" charset="0"/>
                </a:rPr>
                <a:t>               </a:t>
              </a:r>
            </a:p>
          </p:txBody>
        </p:sp>
      </p:grpSp>
      <p:sp>
        <p:nvSpPr>
          <p:cNvPr id="17" name="Text Placeholder 15">
            <a:extLst>
              <a:ext uri="{FF2B5EF4-FFF2-40B4-BE49-F238E27FC236}">
                <a16:creationId xmlns:a16="http://schemas.microsoft.com/office/drawing/2014/main" id="{066B560F-B405-E64F-9BDF-0CBAACB3D079}"/>
              </a:ext>
            </a:extLst>
          </p:cNvPr>
          <p:cNvSpPr>
            <a:spLocks noGrp="1"/>
          </p:cNvSpPr>
          <p:nvPr>
            <p:ph type="body" sz="quarter" idx="10" hasCustomPrompt="1"/>
          </p:nvPr>
        </p:nvSpPr>
        <p:spPr>
          <a:xfrm>
            <a:off x="304800" y="3903896"/>
            <a:ext cx="5791199" cy="308120"/>
          </a:xfrm>
          <a:prstGeom prst="rect">
            <a:avLst/>
          </a:prstGeom>
        </p:spPr>
        <p:txBody>
          <a:bodyPr lIns="0" tIns="0" rIns="0" bIns="0" anchor="b"/>
          <a:lstStyle>
            <a:lvl1pPr>
              <a:spcBef>
                <a:spcPts val="0"/>
              </a:spcBef>
              <a:spcAft>
                <a:spcPts val="0"/>
              </a:spcAft>
              <a:buFontTx/>
              <a:buNone/>
              <a:defRPr sz="1600" b="0" baseline="0">
                <a:solidFill>
                  <a:schemeClr val="tx2"/>
                </a:solidFill>
              </a:defRPr>
            </a:lvl1pPr>
            <a:lvl2pPr marL="114300" indent="4763">
              <a:spcAft>
                <a:spcPts val="0"/>
              </a:spcAft>
              <a:buFontTx/>
              <a:buNone/>
              <a:defRPr sz="1400" i="1" baseline="0">
                <a:solidFill>
                  <a:schemeClr val="tx1"/>
                </a:solidFill>
              </a:defRPr>
            </a:lvl2pPr>
          </a:lstStyle>
          <a:p>
            <a:pPr lvl="0"/>
            <a:r>
              <a:rPr lang="en-US"/>
              <a:t>Presenter name [16pt Arial] </a:t>
            </a:r>
          </a:p>
        </p:txBody>
      </p:sp>
      <p:sp>
        <p:nvSpPr>
          <p:cNvPr id="18" name="Title 16">
            <a:extLst>
              <a:ext uri="{FF2B5EF4-FFF2-40B4-BE49-F238E27FC236}">
                <a16:creationId xmlns:a16="http://schemas.microsoft.com/office/drawing/2014/main" id="{98A0AF47-0118-3245-A388-D5866C77A994}"/>
              </a:ext>
            </a:extLst>
          </p:cNvPr>
          <p:cNvSpPr>
            <a:spLocks noGrp="1"/>
          </p:cNvSpPr>
          <p:nvPr>
            <p:ph type="title" hasCustomPrompt="1"/>
          </p:nvPr>
        </p:nvSpPr>
        <p:spPr>
          <a:xfrm>
            <a:off x="304801" y="1726100"/>
            <a:ext cx="5791199" cy="2071868"/>
          </a:xfrm>
          <a:prstGeom prst="rect">
            <a:avLst/>
          </a:prstGeom>
          <a:noFill/>
        </p:spPr>
        <p:txBody>
          <a:bodyPr wrap="square" lIns="0" tIns="0" rIns="0" bIns="0" anchor="b">
            <a:noAutofit/>
          </a:bodyPr>
          <a:lstStyle>
            <a:lvl1pPr>
              <a:lnSpc>
                <a:spcPct val="90000"/>
              </a:lnSpc>
              <a:defRPr sz="2800" b="1">
                <a:solidFill>
                  <a:schemeClr val="tx1"/>
                </a:solidFill>
              </a:defRPr>
            </a:lvl1pPr>
          </a:lstStyle>
          <a:p>
            <a:r>
              <a:rPr lang="en-US"/>
              <a:t>Title [28pt Arial Bold] </a:t>
            </a:r>
          </a:p>
        </p:txBody>
      </p:sp>
      <p:sp>
        <p:nvSpPr>
          <p:cNvPr id="21" name="Footer Placeholder 1">
            <a:extLst>
              <a:ext uri="{FF2B5EF4-FFF2-40B4-BE49-F238E27FC236}">
                <a16:creationId xmlns:a16="http://schemas.microsoft.com/office/drawing/2014/main" id="{0417725A-1D63-8B41-B75E-4A7C276235C4}"/>
              </a:ext>
            </a:extLst>
          </p:cNvPr>
          <p:cNvSpPr>
            <a:spLocks noGrp="1"/>
          </p:cNvSpPr>
          <p:nvPr>
            <p:ph type="ftr" sz="quarter" idx="15"/>
          </p:nvPr>
        </p:nvSpPr>
        <p:spPr>
          <a:xfrm>
            <a:off x="304800" y="6553200"/>
            <a:ext cx="5791200" cy="304799"/>
          </a:xfrm>
        </p:spPr>
        <p:txBody>
          <a:bodyPr/>
          <a:lstStyle/>
          <a:p>
            <a:r>
              <a:rPr lang="en-US"/>
              <a:t>Proprietary &amp; Confidential |  authoremail@thermofisher.com | 12-April-2021</a:t>
            </a:r>
          </a:p>
        </p:txBody>
      </p:sp>
      <p:sp>
        <p:nvSpPr>
          <p:cNvPr id="22" name="Slide Number Placeholder 2">
            <a:extLst>
              <a:ext uri="{FF2B5EF4-FFF2-40B4-BE49-F238E27FC236}">
                <a16:creationId xmlns:a16="http://schemas.microsoft.com/office/drawing/2014/main" id="{2EFD93CC-9AAB-B446-8966-4FFCA1CA2633}"/>
              </a:ext>
            </a:extLst>
          </p:cNvPr>
          <p:cNvSpPr>
            <a:spLocks noGrp="1"/>
          </p:cNvSpPr>
          <p:nvPr>
            <p:ph type="sldNum" sz="quarter" idx="12"/>
          </p:nvPr>
        </p:nvSpPr>
        <p:spPr>
          <a:xfrm>
            <a:off x="1" y="6553200"/>
            <a:ext cx="304799" cy="304799"/>
          </a:xfrm>
        </p:spPr>
        <p:txBody>
          <a:bodyPr/>
          <a:lstStyle/>
          <a:p>
            <a:fld id="{89006F1E-66CD-4A4B-9370-B4A3080F0E6C}" type="slidenum">
              <a:rPr lang="en-US" smtClean="0"/>
              <a:pPr/>
              <a:t>‹#›</a:t>
            </a:fld>
            <a:endParaRPr lang="en-US"/>
          </a:p>
        </p:txBody>
      </p:sp>
      <p:sp>
        <p:nvSpPr>
          <p:cNvPr id="15" name="Text Placeholder 15">
            <a:extLst>
              <a:ext uri="{FF2B5EF4-FFF2-40B4-BE49-F238E27FC236}">
                <a16:creationId xmlns:a16="http://schemas.microsoft.com/office/drawing/2014/main" id="{DA6AB682-877D-F244-8431-46BA64252685}"/>
              </a:ext>
            </a:extLst>
          </p:cNvPr>
          <p:cNvSpPr>
            <a:spLocks noGrp="1"/>
          </p:cNvSpPr>
          <p:nvPr>
            <p:ph type="body" sz="quarter" idx="14" hasCustomPrompt="1"/>
          </p:nvPr>
        </p:nvSpPr>
        <p:spPr>
          <a:xfrm>
            <a:off x="304801" y="4255834"/>
            <a:ext cx="5791200" cy="1097215"/>
          </a:xfrm>
          <a:prstGeom prst="rect">
            <a:avLst/>
          </a:prstGeom>
        </p:spPr>
        <p:txBody>
          <a:bodyPr lIns="0" tIns="0" rIns="0" bIns="0" anchor="t">
            <a:normAutofit/>
          </a:bodyPr>
          <a:lstStyle>
            <a:lvl1pPr marL="179388" marR="0" indent="-179388" algn="l" defTabSz="914400" rtl="0" eaLnBrk="1" fontAlgn="auto" latinLnBrk="0" hangingPunct="1">
              <a:lnSpc>
                <a:spcPct val="120000"/>
              </a:lnSpc>
              <a:spcBef>
                <a:spcPts val="0"/>
              </a:spcBef>
              <a:spcAft>
                <a:spcPts val="0"/>
              </a:spcAft>
              <a:buClr>
                <a:schemeClr val="accent4"/>
              </a:buClr>
              <a:buSzPct val="100000"/>
              <a:buFontTx/>
              <a:buNone/>
              <a:tabLst/>
              <a:defRPr sz="1400" b="0" baseline="0">
                <a:solidFill>
                  <a:schemeClr val="tx1"/>
                </a:solidFill>
              </a:defRPr>
            </a:lvl1pPr>
            <a:lvl2pPr marL="114300" indent="4763">
              <a:spcAft>
                <a:spcPts val="0"/>
              </a:spcAft>
              <a:buFontTx/>
              <a:buNone/>
              <a:defRPr sz="1400" i="1" baseline="0">
                <a:solidFill>
                  <a:schemeClr val="tx1"/>
                </a:solidFill>
              </a:defRPr>
            </a:lvl2pPr>
          </a:lstStyle>
          <a:p>
            <a:pPr marL="411480" marR="0" lvl="0" indent="-411480" algn="l" defTabSz="914400" rtl="0" eaLnBrk="1" fontAlgn="auto" latinLnBrk="0" hangingPunct="1">
              <a:lnSpc>
                <a:spcPct val="120000"/>
              </a:lnSpc>
              <a:spcBef>
                <a:spcPts val="0"/>
              </a:spcBef>
              <a:spcAft>
                <a:spcPts val="0"/>
              </a:spcAft>
              <a:buClr>
                <a:schemeClr val="accent4"/>
              </a:buClr>
              <a:buSzPct val="100000"/>
              <a:buFontTx/>
              <a:buNone/>
              <a:tabLst/>
              <a:defRPr/>
            </a:pPr>
            <a:r>
              <a:rPr lang="en-US"/>
              <a:t>Presenter Title [14pt Arial]</a:t>
            </a:r>
            <a:br>
              <a:rPr lang="en-US"/>
            </a:br>
            <a:r>
              <a:rPr lang="en-US"/>
              <a:t>Date [14pt Arial] </a:t>
            </a:r>
          </a:p>
        </p:txBody>
      </p:sp>
      <p:pic>
        <p:nvPicPr>
          <p:cNvPr id="16" name="Picture 15">
            <a:extLst>
              <a:ext uri="{FF2B5EF4-FFF2-40B4-BE49-F238E27FC236}">
                <a16:creationId xmlns:a16="http://schemas.microsoft.com/office/drawing/2014/main" id="{FA81AA97-EF28-5640-838B-030E34ADF99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704460" y="574036"/>
            <a:ext cx="7487540" cy="4347456"/>
          </a:xfrm>
          <a:prstGeom prst="rect">
            <a:avLst/>
          </a:prstGeom>
        </p:spPr>
      </p:pic>
      <p:pic>
        <p:nvPicPr>
          <p:cNvPr id="19" name="lead with purpose">
            <a:extLst>
              <a:ext uri="{FF2B5EF4-FFF2-40B4-BE49-F238E27FC236}">
                <a16:creationId xmlns:a16="http://schemas.microsoft.com/office/drawing/2014/main" id="{644DB6FD-3CB4-974D-94AA-E8D5E094EAF8}"/>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785045" y="1740292"/>
            <a:ext cx="4698117" cy="672243"/>
          </a:xfrm>
          <a:prstGeom prst="rect">
            <a:avLst/>
          </a:prstGeom>
        </p:spPr>
      </p:pic>
      <p:pic>
        <p:nvPicPr>
          <p:cNvPr id="20" name="Picture 19">
            <a:extLst>
              <a:ext uri="{FF2B5EF4-FFF2-40B4-BE49-F238E27FC236}">
                <a16:creationId xmlns:a16="http://schemas.microsoft.com/office/drawing/2014/main" id="{1D4E327C-1A9A-2C4F-9ACC-7A13FE8B0E0D}"/>
              </a:ext>
            </a:extLst>
          </p:cNvPr>
          <p:cNvPicPr>
            <a:picLocks noChangeAspect="1"/>
          </p:cNvPicPr>
          <p:nvPr userDrawn="1"/>
        </p:nvPicPr>
        <p:blipFill>
          <a:blip r:embed="rId5" cstate="screen">
            <a:extLst>
              <a:ext uri="{BEBA8EAE-BF5A-486C-A8C5-ECC9F3942E4B}">
                <a14:imgProps xmlns:a14="http://schemas.microsoft.com/office/drawing/2010/main">
                  <a14:imgLayer r:embed="rId6">
                    <a14:imgEffect>
                      <a14:brightnessContrast bright="3000"/>
                    </a14:imgEffect>
                  </a14:imgLayer>
                </a14:imgProps>
              </a:ext>
              <a:ext uri="{28A0092B-C50C-407E-A947-70E740481C1C}">
                <a14:useLocalDpi xmlns:a14="http://schemas.microsoft.com/office/drawing/2010/main"/>
              </a:ext>
            </a:extLst>
          </a:blip>
          <a:stretch>
            <a:fillRect/>
          </a:stretch>
        </p:blipFill>
        <p:spPr>
          <a:xfrm>
            <a:off x="8072097" y="2307371"/>
            <a:ext cx="2069582" cy="2123209"/>
          </a:xfrm>
          <a:prstGeom prst="rect">
            <a:avLst/>
          </a:prstGeom>
        </p:spPr>
      </p:pic>
    </p:spTree>
    <p:extLst>
      <p:ext uri="{BB962C8B-B14F-4D97-AF65-F5344CB8AC3E}">
        <p14:creationId xmlns:p14="http://schemas.microsoft.com/office/powerpoint/2010/main" val="402227955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with image">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6AE08B2E-D136-8942-AB0C-32CBAFB45A4D}"/>
              </a:ext>
            </a:extLst>
          </p:cNvPr>
          <p:cNvSpPr>
            <a:spLocks noGrp="1"/>
          </p:cNvSpPr>
          <p:nvPr>
            <p:ph type="pic" sz="quarter" idx="11" hasCustomPrompt="1"/>
          </p:nvPr>
        </p:nvSpPr>
        <p:spPr>
          <a:xfrm>
            <a:off x="5560459" y="-1"/>
            <a:ext cx="6631541" cy="6858000"/>
          </a:xfrm>
          <a:custGeom>
            <a:avLst/>
            <a:gdLst>
              <a:gd name="connsiteX0" fmla="*/ 4761301 w 6631541"/>
              <a:gd name="connsiteY0" fmla="*/ 1 h 6858000"/>
              <a:gd name="connsiteX1" fmla="*/ 4761301 w 6631541"/>
              <a:gd name="connsiteY1" fmla="*/ 673805 h 6858000"/>
              <a:gd name="connsiteX2" fmla="*/ 6326740 w 6631541"/>
              <a:gd name="connsiteY2" fmla="*/ 673805 h 6858000"/>
              <a:gd name="connsiteX3" fmla="*/ 6326740 w 6631541"/>
              <a:gd name="connsiteY3" fmla="*/ 1 h 6858000"/>
              <a:gd name="connsiteX4" fmla="*/ 2183862 w 6631541"/>
              <a:gd name="connsiteY4" fmla="*/ 0 h 6858000"/>
              <a:gd name="connsiteX5" fmla="*/ 6631541 w 6631541"/>
              <a:gd name="connsiteY5" fmla="*/ 0 h 6858000"/>
              <a:gd name="connsiteX6" fmla="*/ 6631541 w 6631541"/>
              <a:gd name="connsiteY6" fmla="*/ 6858000 h 6858000"/>
              <a:gd name="connsiteX7" fmla="*/ 0 w 6631541"/>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31541" h="6858000">
                <a:moveTo>
                  <a:pt x="4761301" y="1"/>
                </a:moveTo>
                <a:lnTo>
                  <a:pt x="4761301" y="673805"/>
                </a:lnTo>
                <a:lnTo>
                  <a:pt x="6326740" y="673805"/>
                </a:lnTo>
                <a:lnTo>
                  <a:pt x="6326740" y="1"/>
                </a:lnTo>
                <a:close/>
                <a:moveTo>
                  <a:pt x="2183862" y="0"/>
                </a:moveTo>
                <a:lnTo>
                  <a:pt x="6631541" y="0"/>
                </a:lnTo>
                <a:lnTo>
                  <a:pt x="6631541" y="6858000"/>
                </a:lnTo>
                <a:lnTo>
                  <a:pt x="0" y="6858000"/>
                </a:lnTo>
                <a:close/>
              </a:path>
            </a:pathLst>
          </a:custGeom>
          <a:pattFill prst="pct5">
            <a:fgClr>
              <a:schemeClr val="bg1"/>
            </a:fgClr>
            <a:bgClr>
              <a:schemeClr val="bg2"/>
            </a:bgClr>
          </a:pattFill>
        </p:spPr>
        <p:txBody>
          <a:bodyPr vert="horz" wrap="square" lIns="0" tIns="0" rIns="0" bIns="0" rtlCol="0" anchor="ctr">
            <a:noAutofit/>
          </a:bodyPr>
          <a:lstStyle>
            <a:lvl1pPr marL="0" indent="0" algn="ctr">
              <a:buFontTx/>
              <a:buNone/>
              <a:defRPr lang="en-US" sz="1400" dirty="0"/>
            </a:lvl1pPr>
          </a:lstStyle>
          <a:p>
            <a:pPr marR="0" lvl="0" algn="ctr" fontAlgn="auto">
              <a:spcAft>
                <a:spcPts val="0"/>
              </a:spcAft>
              <a:buClrTx/>
              <a:buSzTx/>
              <a:buNone/>
              <a:tabLst/>
            </a:pPr>
            <a:r>
              <a:rPr lang="en-US"/>
              <a:t>Add photo</a:t>
            </a:r>
          </a:p>
        </p:txBody>
      </p:sp>
      <p:sp>
        <p:nvSpPr>
          <p:cNvPr id="12" name="Slide Number Placeholder 11">
            <a:extLst>
              <a:ext uri="{FF2B5EF4-FFF2-40B4-BE49-F238E27FC236}">
                <a16:creationId xmlns:a16="http://schemas.microsoft.com/office/drawing/2014/main" id="{47161BDA-83E9-E143-BE27-DC11E94DC4B5}"/>
              </a:ext>
            </a:extLst>
          </p:cNvPr>
          <p:cNvSpPr>
            <a:spLocks noGrp="1"/>
          </p:cNvSpPr>
          <p:nvPr>
            <p:ph type="sldNum" sz="quarter" idx="10"/>
          </p:nvPr>
        </p:nvSpPr>
        <p:spPr/>
        <p:txBody>
          <a:bodyPr lIns="0" tIns="0" rIns="0" bIns="0"/>
          <a:lstStyle/>
          <a:p>
            <a:fld id="{89006F1E-66CD-4A4B-9370-B4A3080F0E6C}" type="slidenum">
              <a:rPr lang="en-US" smtClean="0"/>
              <a:pPr/>
              <a:t>‹#›</a:t>
            </a:fld>
            <a:endParaRPr lang="en-US"/>
          </a:p>
        </p:txBody>
      </p:sp>
      <p:sp>
        <p:nvSpPr>
          <p:cNvPr id="17" name="Title 16">
            <a:extLst>
              <a:ext uri="{FF2B5EF4-FFF2-40B4-BE49-F238E27FC236}">
                <a16:creationId xmlns:a16="http://schemas.microsoft.com/office/drawing/2014/main" id="{FB477BD4-B3C4-0245-87E7-210A11A609FB}"/>
              </a:ext>
            </a:extLst>
          </p:cNvPr>
          <p:cNvSpPr>
            <a:spLocks noGrp="1"/>
          </p:cNvSpPr>
          <p:nvPr>
            <p:ph type="title"/>
          </p:nvPr>
        </p:nvSpPr>
        <p:spPr/>
        <p:txBody>
          <a:bodyPr/>
          <a:lstStyle/>
          <a:p>
            <a:r>
              <a:rPr lang="en-US"/>
              <a:t>Click to edit Master title style</a:t>
            </a:r>
          </a:p>
        </p:txBody>
      </p:sp>
      <p:sp>
        <p:nvSpPr>
          <p:cNvPr id="2" name="Footer Placeholder 1">
            <a:extLst>
              <a:ext uri="{FF2B5EF4-FFF2-40B4-BE49-F238E27FC236}">
                <a16:creationId xmlns:a16="http://schemas.microsoft.com/office/drawing/2014/main" id="{A45E3DEE-D37C-1D48-B059-905D05A3A480}"/>
              </a:ext>
            </a:extLst>
          </p:cNvPr>
          <p:cNvSpPr>
            <a:spLocks noGrp="1"/>
          </p:cNvSpPr>
          <p:nvPr>
            <p:ph type="ftr" sz="quarter" idx="12"/>
          </p:nvPr>
        </p:nvSpPr>
        <p:spPr>
          <a:xfrm>
            <a:off x="304799" y="6553201"/>
            <a:ext cx="5791201" cy="304800"/>
          </a:xfrm>
          <a:prstGeom prst="rect">
            <a:avLst/>
          </a:prstGeom>
        </p:spPr>
        <p:txBody>
          <a:bodyPr/>
          <a:lstStyle>
            <a:lvl1pPr>
              <a:defRPr>
                <a:solidFill>
                  <a:schemeClr val="accent5"/>
                </a:solidFill>
              </a:defRPr>
            </a:lvl1pPr>
          </a:lstStyle>
          <a:p>
            <a:r>
              <a:rPr lang="en-US">
                <a:ea typeface="MS PGothic" panose="020B0600070205080204" pitchFamily="34" charset="-128"/>
              </a:rPr>
              <a:t>Proprietary &amp; Confidential |  authoremail@thermofisher.com | 12-April-2021</a:t>
            </a:r>
          </a:p>
        </p:txBody>
      </p:sp>
      <p:sp>
        <p:nvSpPr>
          <p:cNvPr id="8" name="Content Placeholder 3">
            <a:extLst>
              <a:ext uri="{FF2B5EF4-FFF2-40B4-BE49-F238E27FC236}">
                <a16:creationId xmlns:a16="http://schemas.microsoft.com/office/drawing/2014/main" id="{E78B1B2E-3D55-0E40-BE78-DE19E0E78115}"/>
              </a:ext>
            </a:extLst>
          </p:cNvPr>
          <p:cNvSpPr>
            <a:spLocks noGrp="1"/>
          </p:cNvSpPr>
          <p:nvPr>
            <p:ph sz="quarter" idx="14"/>
          </p:nvPr>
        </p:nvSpPr>
        <p:spPr>
          <a:xfrm>
            <a:off x="304800" y="1447800"/>
            <a:ext cx="5791200" cy="4607954"/>
          </a:xfrm>
          <a:prstGeom prst="rect">
            <a:avLst/>
          </a:prstGeom>
        </p:spPr>
        <p:txBody>
          <a:bodyPr vert="horz" lIns="0" tIns="0" rIns="0" bIns="0" rtlCol="0" anchor="ctr" anchorCtr="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913AD51C-A540-614E-BCCA-04DD383D383F}"/>
              </a:ext>
            </a:extLst>
          </p:cNvPr>
          <p:cNvSpPr>
            <a:spLocks noGrp="1"/>
          </p:cNvSpPr>
          <p:nvPr>
            <p:ph type="body" sz="quarter" idx="15" hasCustomPrompt="1"/>
          </p:nvPr>
        </p:nvSpPr>
        <p:spPr>
          <a:xfrm>
            <a:off x="304798" y="6055756"/>
            <a:ext cx="5255662" cy="489204"/>
          </a:xfrm>
          <a:prstGeom prst="rect">
            <a:avLst/>
          </a:prstGeom>
        </p:spPr>
        <p:txBody>
          <a:bodyPr anchor="b">
            <a:normAutofit/>
          </a:bodyPr>
          <a:lstStyle>
            <a:lvl1pPr marL="0" indent="0">
              <a:spcBef>
                <a:spcPts val="100"/>
              </a:spcBef>
              <a:buNone/>
              <a:defRPr sz="1000">
                <a:solidFill>
                  <a:schemeClr val="accent5"/>
                </a:solidFill>
              </a:defRPr>
            </a:lvl1pPr>
          </a:lstStyle>
          <a:p>
            <a:pPr lvl="0"/>
            <a:r>
              <a:rPr lang="en-US"/>
              <a:t>Source notes</a:t>
            </a:r>
          </a:p>
        </p:txBody>
      </p:sp>
      <p:sp>
        <p:nvSpPr>
          <p:cNvPr id="10" name="Text Placeholder 7">
            <a:extLst>
              <a:ext uri="{FF2B5EF4-FFF2-40B4-BE49-F238E27FC236}">
                <a16:creationId xmlns:a16="http://schemas.microsoft.com/office/drawing/2014/main" id="{C408A322-1049-7D40-BE0C-3E8E57A90330}"/>
              </a:ext>
            </a:extLst>
          </p:cNvPr>
          <p:cNvSpPr>
            <a:spLocks noGrp="1"/>
          </p:cNvSpPr>
          <p:nvPr>
            <p:ph type="body" sz="quarter" idx="16" hasCustomPrompt="1"/>
          </p:nvPr>
        </p:nvSpPr>
        <p:spPr>
          <a:xfrm>
            <a:off x="300226" y="893063"/>
            <a:ext cx="11591547" cy="381001"/>
          </a:xfrm>
          <a:prstGeom prst="rect">
            <a:avLst/>
          </a:prstGeom>
        </p:spPr>
        <p:txBody>
          <a:bodyPr lIns="0" tIns="0" rIns="0" bIns="0" anchor="t">
            <a:noAutofit/>
          </a:bodyPr>
          <a:lstStyle>
            <a:lvl1pPr marL="0" indent="0">
              <a:buNone/>
              <a:defRPr sz="2000">
                <a:solidFill>
                  <a:schemeClr val="tx1"/>
                </a:solidFill>
              </a:defRPr>
            </a:lvl1pPr>
          </a:lstStyle>
          <a:p>
            <a:pPr lvl="0"/>
            <a:r>
              <a:rPr lang="en-US"/>
              <a:t>Click to add </a:t>
            </a:r>
            <a:r>
              <a:rPr lang="en-US" err="1"/>
              <a:t>subheader</a:t>
            </a:r>
            <a:endParaRPr lang="en-US"/>
          </a:p>
        </p:txBody>
      </p:sp>
    </p:spTree>
    <p:extLst>
      <p:ext uri="{BB962C8B-B14F-4D97-AF65-F5344CB8AC3E}">
        <p14:creationId xmlns:p14="http://schemas.microsoft.com/office/powerpoint/2010/main" val="353175346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No Content)">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FCD351-FB49-4649-BD51-7F2228F8A180}"/>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6" name="Text Placeholder 7">
            <a:extLst>
              <a:ext uri="{FF2B5EF4-FFF2-40B4-BE49-F238E27FC236}">
                <a16:creationId xmlns:a16="http://schemas.microsoft.com/office/drawing/2014/main" id="{AC6D37E8-5E1B-4025-9CB6-9AADD0B2F568}"/>
              </a:ext>
            </a:extLst>
          </p:cNvPr>
          <p:cNvSpPr>
            <a:spLocks noGrp="1"/>
          </p:cNvSpPr>
          <p:nvPr>
            <p:ph type="body" sz="quarter" idx="11" hasCustomPrompt="1"/>
          </p:nvPr>
        </p:nvSpPr>
        <p:spPr>
          <a:xfrm>
            <a:off x="300226" y="893063"/>
            <a:ext cx="11591547" cy="381001"/>
          </a:xfrm>
          <a:prstGeom prst="rect">
            <a:avLst/>
          </a:prstGeom>
        </p:spPr>
        <p:txBody>
          <a:bodyPr lIns="0" tIns="0" rIns="0" bIns="0" anchor="t">
            <a:noAutofit/>
          </a:bodyPr>
          <a:lstStyle>
            <a:lvl1pPr marL="0" indent="0">
              <a:buNone/>
              <a:defRPr sz="2000">
                <a:solidFill>
                  <a:schemeClr val="tx1"/>
                </a:solidFill>
              </a:defRPr>
            </a:lvl1pPr>
          </a:lstStyle>
          <a:p>
            <a:pPr lvl="0"/>
            <a:r>
              <a:rPr lang="en-US"/>
              <a:t>Click to add </a:t>
            </a:r>
            <a:r>
              <a:rPr lang="en-US" err="1"/>
              <a:t>subheader</a:t>
            </a:r>
            <a:endParaRPr lang="en-US"/>
          </a:p>
        </p:txBody>
      </p:sp>
      <p:sp>
        <p:nvSpPr>
          <p:cNvPr id="7" name="Text Placeholder 7">
            <a:extLst>
              <a:ext uri="{FF2B5EF4-FFF2-40B4-BE49-F238E27FC236}">
                <a16:creationId xmlns:a16="http://schemas.microsoft.com/office/drawing/2014/main" id="{C1053C4D-3245-41E9-BC79-2133D6EFE62D}"/>
              </a:ext>
            </a:extLst>
          </p:cNvPr>
          <p:cNvSpPr>
            <a:spLocks noGrp="1"/>
          </p:cNvSpPr>
          <p:nvPr>
            <p:ph type="body" sz="quarter" idx="12" hasCustomPrompt="1"/>
          </p:nvPr>
        </p:nvSpPr>
        <p:spPr>
          <a:xfrm>
            <a:off x="304797" y="6055756"/>
            <a:ext cx="11582401" cy="489204"/>
          </a:xfrm>
          <a:prstGeom prst="rect">
            <a:avLst/>
          </a:prstGeom>
        </p:spPr>
        <p:txBody>
          <a:bodyPr anchor="b">
            <a:normAutofit/>
          </a:bodyPr>
          <a:lstStyle>
            <a:lvl1pPr marL="0" indent="0">
              <a:spcBef>
                <a:spcPts val="100"/>
              </a:spcBef>
              <a:buNone/>
              <a:defRPr sz="1000">
                <a:solidFill>
                  <a:schemeClr val="accent5"/>
                </a:solidFill>
              </a:defRPr>
            </a:lvl1pPr>
          </a:lstStyle>
          <a:p>
            <a:pPr lvl="0"/>
            <a:r>
              <a:rPr lang="en-US"/>
              <a:t>Source notes</a:t>
            </a:r>
          </a:p>
        </p:txBody>
      </p:sp>
      <p:sp>
        <p:nvSpPr>
          <p:cNvPr id="8" name="Slide Number Placeholder 11">
            <a:extLst>
              <a:ext uri="{FF2B5EF4-FFF2-40B4-BE49-F238E27FC236}">
                <a16:creationId xmlns:a16="http://schemas.microsoft.com/office/drawing/2014/main" id="{43FDEDB6-CE04-F84B-AAD3-991730DCA9C0}"/>
              </a:ext>
            </a:extLst>
          </p:cNvPr>
          <p:cNvSpPr>
            <a:spLocks noGrp="1"/>
          </p:cNvSpPr>
          <p:nvPr>
            <p:ph type="sldNum" sz="quarter" idx="10"/>
          </p:nvPr>
        </p:nvSpPr>
        <p:spPr>
          <a:xfrm>
            <a:off x="1" y="6553200"/>
            <a:ext cx="304799" cy="304799"/>
          </a:xfrm>
        </p:spPr>
        <p:txBody>
          <a:bodyPr lIns="0" tIns="0" rIns="0" bIns="0"/>
          <a:lstStyle/>
          <a:p>
            <a:fld id="{89006F1E-66CD-4A4B-9370-B4A3080F0E6C}" type="slidenum">
              <a:rPr lang="en-US" smtClean="0"/>
              <a:pPr/>
              <a:t>‹#›</a:t>
            </a:fld>
            <a:endParaRPr lang="en-US"/>
          </a:p>
        </p:txBody>
      </p:sp>
      <p:sp>
        <p:nvSpPr>
          <p:cNvPr id="9" name="Footer Placeholder 1">
            <a:extLst>
              <a:ext uri="{FF2B5EF4-FFF2-40B4-BE49-F238E27FC236}">
                <a16:creationId xmlns:a16="http://schemas.microsoft.com/office/drawing/2014/main" id="{D91B50C1-7025-B243-9430-602CDE810AAB}"/>
              </a:ext>
            </a:extLst>
          </p:cNvPr>
          <p:cNvSpPr>
            <a:spLocks noGrp="1"/>
          </p:cNvSpPr>
          <p:nvPr>
            <p:ph type="ftr" sz="quarter" idx="13"/>
          </p:nvPr>
        </p:nvSpPr>
        <p:spPr>
          <a:xfrm>
            <a:off x="304799" y="6553201"/>
            <a:ext cx="5791201" cy="304800"/>
          </a:xfrm>
          <a:prstGeom prst="rect">
            <a:avLst/>
          </a:prstGeom>
        </p:spPr>
        <p:txBody>
          <a:bodyPr/>
          <a:lstStyle>
            <a:lvl1pPr>
              <a:defRPr>
                <a:solidFill>
                  <a:schemeClr val="accent5"/>
                </a:solidFill>
              </a:defRPr>
            </a:lvl1pPr>
          </a:lstStyle>
          <a:p>
            <a:r>
              <a:rPr lang="en-US">
                <a:ea typeface="MS PGothic" panose="020B0600070205080204" pitchFamily="34" charset="-128"/>
              </a:rPr>
              <a:t>Proprietary &amp; Confidential |  authoremail@thermofisher.com | 12-April-2021</a:t>
            </a:r>
          </a:p>
        </p:txBody>
      </p:sp>
    </p:spTree>
    <p:extLst>
      <p:ext uri="{BB962C8B-B14F-4D97-AF65-F5344CB8AC3E}">
        <p14:creationId xmlns:p14="http://schemas.microsoft.com/office/powerpoint/2010/main" val="3362171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744">
          <p15:clr>
            <a:srgbClr val="FBAE40"/>
          </p15:clr>
        </p15:guide>
        <p15:guide id="3" pos="3936">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itle (No Content)">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121BE7F-F6C3-7C4B-AD16-A9E713FD3E0E}"/>
              </a:ext>
            </a:extLst>
          </p:cNvPr>
          <p:cNvSpPr/>
          <p:nvPr userDrawn="1"/>
        </p:nvSpPr>
        <p:spPr bwMode="auto">
          <a:xfrm>
            <a:off x="8229600" y="0"/>
            <a:ext cx="3962400" cy="6858000"/>
          </a:xfrm>
          <a:prstGeom prst="rect">
            <a:avLst/>
          </a:prstGeom>
          <a:gradFill>
            <a:gsLst>
              <a:gs pos="23000">
                <a:srgbClr val="C00000"/>
              </a:gs>
              <a:gs pos="84000">
                <a:schemeClr val="tx2"/>
              </a:gs>
            </a:gsLst>
            <a:lin ang="1080000" scaled="0"/>
          </a:gra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a:latin typeface="Arial" pitchFamily="124" charset="0"/>
            </a:endParaRPr>
          </a:p>
        </p:txBody>
      </p:sp>
      <p:sp>
        <p:nvSpPr>
          <p:cNvPr id="2" name="Title 1">
            <a:extLst>
              <a:ext uri="{FF2B5EF4-FFF2-40B4-BE49-F238E27FC236}">
                <a16:creationId xmlns:a16="http://schemas.microsoft.com/office/drawing/2014/main" id="{AFFCD351-FB49-4649-BD51-7F2228F8A180}"/>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6" name="Text Placeholder 7">
            <a:extLst>
              <a:ext uri="{FF2B5EF4-FFF2-40B4-BE49-F238E27FC236}">
                <a16:creationId xmlns:a16="http://schemas.microsoft.com/office/drawing/2014/main" id="{AC6D37E8-5E1B-4025-9CB6-9AADD0B2F568}"/>
              </a:ext>
            </a:extLst>
          </p:cNvPr>
          <p:cNvSpPr>
            <a:spLocks noGrp="1"/>
          </p:cNvSpPr>
          <p:nvPr>
            <p:ph type="body" sz="quarter" idx="11" hasCustomPrompt="1"/>
          </p:nvPr>
        </p:nvSpPr>
        <p:spPr>
          <a:xfrm>
            <a:off x="300227" y="893063"/>
            <a:ext cx="7624574" cy="381001"/>
          </a:xfrm>
          <a:prstGeom prst="rect">
            <a:avLst/>
          </a:prstGeom>
        </p:spPr>
        <p:txBody>
          <a:bodyPr lIns="0" tIns="0" rIns="0" bIns="0" anchor="t">
            <a:noAutofit/>
          </a:bodyPr>
          <a:lstStyle>
            <a:lvl1pPr marL="0" indent="0">
              <a:buNone/>
              <a:defRPr sz="2000">
                <a:solidFill>
                  <a:schemeClr val="tx1"/>
                </a:solidFill>
              </a:defRPr>
            </a:lvl1pPr>
          </a:lstStyle>
          <a:p>
            <a:pPr lvl="0"/>
            <a:r>
              <a:rPr lang="en-US"/>
              <a:t>Click to add </a:t>
            </a:r>
            <a:r>
              <a:rPr lang="en-US" err="1"/>
              <a:t>subheader</a:t>
            </a:r>
            <a:endParaRPr lang="en-US"/>
          </a:p>
        </p:txBody>
      </p:sp>
      <p:sp>
        <p:nvSpPr>
          <p:cNvPr id="7" name="Text Placeholder 7">
            <a:extLst>
              <a:ext uri="{FF2B5EF4-FFF2-40B4-BE49-F238E27FC236}">
                <a16:creationId xmlns:a16="http://schemas.microsoft.com/office/drawing/2014/main" id="{C1053C4D-3245-41E9-BC79-2133D6EFE62D}"/>
              </a:ext>
            </a:extLst>
          </p:cNvPr>
          <p:cNvSpPr>
            <a:spLocks noGrp="1"/>
          </p:cNvSpPr>
          <p:nvPr>
            <p:ph type="body" sz="quarter" idx="12" hasCustomPrompt="1"/>
          </p:nvPr>
        </p:nvSpPr>
        <p:spPr>
          <a:xfrm>
            <a:off x="304797" y="6055756"/>
            <a:ext cx="11582401" cy="489204"/>
          </a:xfrm>
          <a:prstGeom prst="rect">
            <a:avLst/>
          </a:prstGeom>
        </p:spPr>
        <p:txBody>
          <a:bodyPr anchor="b">
            <a:normAutofit/>
          </a:bodyPr>
          <a:lstStyle>
            <a:lvl1pPr marL="0" indent="0">
              <a:spcBef>
                <a:spcPts val="100"/>
              </a:spcBef>
              <a:buNone/>
              <a:defRPr sz="1000">
                <a:solidFill>
                  <a:schemeClr val="accent5"/>
                </a:solidFill>
              </a:defRPr>
            </a:lvl1pPr>
          </a:lstStyle>
          <a:p>
            <a:pPr lvl="0"/>
            <a:r>
              <a:rPr lang="en-US"/>
              <a:t>Source notes</a:t>
            </a:r>
          </a:p>
        </p:txBody>
      </p:sp>
      <p:sp>
        <p:nvSpPr>
          <p:cNvPr id="8" name="Slide Number Placeholder 11">
            <a:extLst>
              <a:ext uri="{FF2B5EF4-FFF2-40B4-BE49-F238E27FC236}">
                <a16:creationId xmlns:a16="http://schemas.microsoft.com/office/drawing/2014/main" id="{43FDEDB6-CE04-F84B-AAD3-991730DCA9C0}"/>
              </a:ext>
            </a:extLst>
          </p:cNvPr>
          <p:cNvSpPr>
            <a:spLocks noGrp="1"/>
          </p:cNvSpPr>
          <p:nvPr>
            <p:ph type="sldNum" sz="quarter" idx="10"/>
          </p:nvPr>
        </p:nvSpPr>
        <p:spPr>
          <a:xfrm>
            <a:off x="1" y="6553200"/>
            <a:ext cx="304799" cy="304799"/>
          </a:xfrm>
        </p:spPr>
        <p:txBody>
          <a:bodyPr lIns="0" tIns="0" rIns="0" bIns="0"/>
          <a:lstStyle/>
          <a:p>
            <a:fld id="{89006F1E-66CD-4A4B-9370-B4A3080F0E6C}" type="slidenum">
              <a:rPr lang="en-US" smtClean="0"/>
              <a:pPr/>
              <a:t>‹#›</a:t>
            </a:fld>
            <a:endParaRPr lang="en-US"/>
          </a:p>
        </p:txBody>
      </p:sp>
      <p:sp>
        <p:nvSpPr>
          <p:cNvPr id="9" name="Footer Placeholder 1">
            <a:extLst>
              <a:ext uri="{FF2B5EF4-FFF2-40B4-BE49-F238E27FC236}">
                <a16:creationId xmlns:a16="http://schemas.microsoft.com/office/drawing/2014/main" id="{D91B50C1-7025-B243-9430-602CDE810AAB}"/>
              </a:ext>
            </a:extLst>
          </p:cNvPr>
          <p:cNvSpPr>
            <a:spLocks noGrp="1"/>
          </p:cNvSpPr>
          <p:nvPr>
            <p:ph type="ftr" sz="quarter" idx="13"/>
          </p:nvPr>
        </p:nvSpPr>
        <p:spPr>
          <a:xfrm>
            <a:off x="304799" y="6553201"/>
            <a:ext cx="5791201" cy="304800"/>
          </a:xfrm>
          <a:prstGeom prst="rect">
            <a:avLst/>
          </a:prstGeom>
        </p:spPr>
        <p:txBody>
          <a:bodyPr/>
          <a:lstStyle>
            <a:lvl1pPr>
              <a:defRPr>
                <a:solidFill>
                  <a:schemeClr val="accent5"/>
                </a:solidFill>
              </a:defRPr>
            </a:lvl1pPr>
          </a:lstStyle>
          <a:p>
            <a:r>
              <a:rPr lang="en-US">
                <a:ea typeface="MS PGothic" panose="020B0600070205080204" pitchFamily="34" charset="-128"/>
              </a:rPr>
              <a:t>Proprietary &amp; Confidential |  authoremail@thermofisher.com | 12-April-2021</a:t>
            </a:r>
          </a:p>
        </p:txBody>
      </p:sp>
      <p:sp>
        <p:nvSpPr>
          <p:cNvPr id="4" name="Rectangle 3">
            <a:extLst>
              <a:ext uri="{FF2B5EF4-FFF2-40B4-BE49-F238E27FC236}">
                <a16:creationId xmlns:a16="http://schemas.microsoft.com/office/drawing/2014/main" id="{5D95A12C-F5BA-8343-AEBB-39C7204DB185}"/>
              </a:ext>
            </a:extLst>
          </p:cNvPr>
          <p:cNvSpPr/>
          <p:nvPr userDrawn="1"/>
        </p:nvSpPr>
        <p:spPr bwMode="auto">
          <a:xfrm>
            <a:off x="6467581" y="2118116"/>
            <a:ext cx="3524037" cy="3349376"/>
          </a:xfrm>
          <a:prstGeom prst="rect">
            <a:avLst/>
          </a:prstGeom>
          <a:solidFill>
            <a:schemeClr val="bg1"/>
          </a:solidFill>
          <a:ln w="5715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a:latin typeface="Arial" pitchFamily="124" charset="0"/>
            </a:endParaRPr>
          </a:p>
        </p:txBody>
      </p:sp>
      <p:sp>
        <p:nvSpPr>
          <p:cNvPr id="10" name="Picture Placeholder 2">
            <a:extLst>
              <a:ext uri="{FF2B5EF4-FFF2-40B4-BE49-F238E27FC236}">
                <a16:creationId xmlns:a16="http://schemas.microsoft.com/office/drawing/2014/main" id="{9273467B-8A8F-1246-AB6B-0925F3B765CE}"/>
              </a:ext>
            </a:extLst>
          </p:cNvPr>
          <p:cNvSpPr>
            <a:spLocks noGrp="1"/>
          </p:cNvSpPr>
          <p:nvPr>
            <p:ph type="pic" sz="quarter" idx="14" hasCustomPrompt="1"/>
          </p:nvPr>
        </p:nvSpPr>
        <p:spPr>
          <a:xfrm>
            <a:off x="6530272" y="2189812"/>
            <a:ext cx="3398655" cy="3205985"/>
          </a:xfrm>
          <a:prstGeom prst="rect">
            <a:avLst/>
          </a:prstGeom>
          <a:pattFill prst="pct5">
            <a:fgClr>
              <a:schemeClr val="bg1"/>
            </a:fgClr>
            <a:bgClr>
              <a:schemeClr val="bg2"/>
            </a:bgClr>
          </a:pattFill>
        </p:spPr>
        <p:txBody>
          <a:bodyPr vert="horz" wrap="square" lIns="0" tIns="0" rIns="0" bIns="0" rtlCol="0" anchor="ctr">
            <a:noAutofit/>
          </a:bodyPr>
          <a:lstStyle>
            <a:lvl1pPr marL="0" marR="0" indent="0" algn="ctr" defTabSz="914400" rtl="0" eaLnBrk="1" fontAlgn="auto" latinLnBrk="0" hangingPunct="1">
              <a:lnSpc>
                <a:spcPct val="120000"/>
              </a:lnSpc>
              <a:spcBef>
                <a:spcPts val="600"/>
              </a:spcBef>
              <a:spcAft>
                <a:spcPts val="0"/>
              </a:spcAft>
              <a:buClrTx/>
              <a:buSzTx/>
              <a:buFontTx/>
              <a:buNone/>
              <a:tabLst/>
              <a:defRPr lang="en-US" sz="1400">
                <a:solidFill>
                  <a:schemeClr val="tx1"/>
                </a:solidFill>
              </a:defRPr>
            </a:lvl1pPr>
          </a:lstStyle>
          <a:p>
            <a:pPr marL="411480" marR="0" lvl="0" indent="-411480" algn="ctr" defTabSz="914400" rtl="0" eaLnBrk="1" fontAlgn="auto" latinLnBrk="0" hangingPunct="1">
              <a:lnSpc>
                <a:spcPct val="120000"/>
              </a:lnSpc>
              <a:spcBef>
                <a:spcPts val="600"/>
              </a:spcBef>
              <a:spcAft>
                <a:spcPts val="0"/>
              </a:spcAft>
              <a:buClrTx/>
              <a:buSzTx/>
              <a:buFontTx/>
              <a:buNone/>
              <a:tabLst/>
              <a:defRPr/>
            </a:pPr>
            <a:r>
              <a:rPr lang="en-US"/>
              <a:t>Add photo</a:t>
            </a:r>
          </a:p>
        </p:txBody>
      </p:sp>
      <p:grpSp>
        <p:nvGrpSpPr>
          <p:cNvPr id="11" name="Group 10">
            <a:extLst>
              <a:ext uri="{FF2B5EF4-FFF2-40B4-BE49-F238E27FC236}">
                <a16:creationId xmlns:a16="http://schemas.microsoft.com/office/drawing/2014/main" id="{8D8C1EED-A5D2-BA41-ADED-E81DB12765F8}"/>
              </a:ext>
            </a:extLst>
          </p:cNvPr>
          <p:cNvGrpSpPr/>
          <p:nvPr userDrawn="1"/>
        </p:nvGrpSpPr>
        <p:grpSpPr>
          <a:xfrm>
            <a:off x="10295372" y="0"/>
            <a:ext cx="1591826" cy="694426"/>
            <a:chOff x="-20628" y="0"/>
            <a:chExt cx="2488951" cy="1085792"/>
          </a:xfrm>
        </p:grpSpPr>
        <p:sp>
          <p:nvSpPr>
            <p:cNvPr id="12" name="Parallelogram 11">
              <a:extLst>
                <a:ext uri="{FF2B5EF4-FFF2-40B4-BE49-F238E27FC236}">
                  <a16:creationId xmlns:a16="http://schemas.microsoft.com/office/drawing/2014/main" id="{C2689757-3684-9A47-9862-BBDF3C08D7F5}"/>
                </a:ext>
              </a:extLst>
            </p:cNvPr>
            <p:cNvSpPr/>
            <p:nvPr/>
          </p:nvSpPr>
          <p:spPr bwMode="auto">
            <a:xfrm>
              <a:off x="-20628" y="0"/>
              <a:ext cx="2488951" cy="1085792"/>
            </a:xfrm>
            <a:prstGeom prst="parallelogram">
              <a:avLst>
                <a:gd name="adj" fmla="val 0"/>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a:latin typeface="Arial" pitchFamily="124" charset="0"/>
                </a:rPr>
                <a:t>               </a:t>
              </a:r>
            </a:p>
          </p:txBody>
        </p:sp>
        <p:pic>
          <p:nvPicPr>
            <p:cNvPr id="13" name="Picture 12">
              <a:extLst>
                <a:ext uri="{FF2B5EF4-FFF2-40B4-BE49-F238E27FC236}">
                  <a16:creationId xmlns:a16="http://schemas.microsoft.com/office/drawing/2014/main" id="{A9D46CBB-4EBD-3E43-8CFA-4B066AA76FE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35820" y="154984"/>
              <a:ext cx="2178058" cy="756021"/>
            </a:xfrm>
            <a:prstGeom prst="rect">
              <a:avLst/>
            </a:prstGeom>
          </p:spPr>
        </p:pic>
      </p:grpSp>
    </p:spTree>
    <p:extLst>
      <p:ext uri="{BB962C8B-B14F-4D97-AF65-F5344CB8AC3E}">
        <p14:creationId xmlns:p14="http://schemas.microsoft.com/office/powerpoint/2010/main" val="3001721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744">
          <p15:clr>
            <a:srgbClr val="FBAE40"/>
          </p15:clr>
        </p15:guide>
        <p15:guide id="3" pos="3936">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_Title (No Content)">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34" name="Picture Placeholder 33">
            <a:extLst>
              <a:ext uri="{FF2B5EF4-FFF2-40B4-BE49-F238E27FC236}">
                <a16:creationId xmlns:a16="http://schemas.microsoft.com/office/drawing/2014/main" id="{FBAB625D-DE12-8E4C-A23E-296D3182B16F}"/>
              </a:ext>
            </a:extLst>
          </p:cNvPr>
          <p:cNvSpPr>
            <a:spLocks noGrp="1"/>
          </p:cNvSpPr>
          <p:nvPr>
            <p:ph type="pic" sz="quarter" idx="15" hasCustomPrompt="1"/>
          </p:nvPr>
        </p:nvSpPr>
        <p:spPr>
          <a:xfrm>
            <a:off x="4227575" y="876300"/>
            <a:ext cx="3764281" cy="4491228"/>
          </a:xfrm>
          <a:custGeom>
            <a:avLst/>
            <a:gdLst>
              <a:gd name="connsiteX0" fmla="*/ 0 w 3764281"/>
              <a:gd name="connsiteY0" fmla="*/ 0 h 4491228"/>
              <a:gd name="connsiteX1" fmla="*/ 3764281 w 3764281"/>
              <a:gd name="connsiteY1" fmla="*/ 0 h 4491228"/>
              <a:gd name="connsiteX2" fmla="*/ 3764281 w 3764281"/>
              <a:gd name="connsiteY2" fmla="*/ 4491228 h 4491228"/>
              <a:gd name="connsiteX3" fmla="*/ 2142231 w 3764281"/>
              <a:gd name="connsiteY3" fmla="*/ 4491228 h 4491228"/>
              <a:gd name="connsiteX4" fmla="*/ 1886118 w 3764281"/>
              <a:gd name="connsiteY4" fmla="*/ 4229099 h 4491228"/>
              <a:gd name="connsiteX5" fmla="*/ 1617831 w 3764281"/>
              <a:gd name="connsiteY5" fmla="*/ 4491228 h 4491228"/>
              <a:gd name="connsiteX6" fmla="*/ 0 w 3764281"/>
              <a:gd name="connsiteY6" fmla="*/ 4491228 h 449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64281" h="4491228">
                <a:moveTo>
                  <a:pt x="0" y="0"/>
                </a:moveTo>
                <a:lnTo>
                  <a:pt x="3764281" y="0"/>
                </a:lnTo>
                <a:lnTo>
                  <a:pt x="3764281" y="4491228"/>
                </a:lnTo>
                <a:lnTo>
                  <a:pt x="2142231" y="4491228"/>
                </a:lnTo>
                <a:lnTo>
                  <a:pt x="1886118" y="4229099"/>
                </a:lnTo>
                <a:lnTo>
                  <a:pt x="1617831" y="4491228"/>
                </a:lnTo>
                <a:lnTo>
                  <a:pt x="0" y="4491228"/>
                </a:lnTo>
                <a:close/>
              </a:path>
            </a:pathLst>
          </a:custGeom>
          <a:pattFill prst="pct5">
            <a:fgClr>
              <a:schemeClr val="bg1"/>
            </a:fgClr>
            <a:bgClr>
              <a:schemeClr val="bg2"/>
            </a:bgClr>
          </a:pattFill>
        </p:spPr>
        <p:txBody>
          <a:bodyPr vert="horz" wrap="square" lIns="0" tIns="0" rIns="0" bIns="0" rtlCol="0" anchor="ctr">
            <a:noAutofit/>
          </a:bodyPr>
          <a:lstStyle>
            <a:lvl1pPr marL="0" marR="0" indent="0" algn="ctr" defTabSz="914400" rtl="0" eaLnBrk="1" fontAlgn="auto" latinLnBrk="0" hangingPunct="1">
              <a:lnSpc>
                <a:spcPct val="120000"/>
              </a:lnSpc>
              <a:spcBef>
                <a:spcPts val="600"/>
              </a:spcBef>
              <a:spcAft>
                <a:spcPts val="0"/>
              </a:spcAft>
              <a:buClrTx/>
              <a:buSzTx/>
              <a:buFontTx/>
              <a:buNone/>
              <a:tabLst/>
              <a:defRPr lang="en-US" sz="1400">
                <a:solidFill>
                  <a:schemeClr val="tx1"/>
                </a:solidFill>
              </a:defRPr>
            </a:lvl1pPr>
          </a:lstStyle>
          <a:p>
            <a:pPr marL="411480" marR="0" lvl="0" indent="-411480" algn="ctr" defTabSz="914400" rtl="0" eaLnBrk="1" fontAlgn="auto" latinLnBrk="0" hangingPunct="1">
              <a:lnSpc>
                <a:spcPct val="120000"/>
              </a:lnSpc>
              <a:spcBef>
                <a:spcPts val="600"/>
              </a:spcBef>
              <a:spcAft>
                <a:spcPts val="0"/>
              </a:spcAft>
              <a:buClrTx/>
              <a:buSzTx/>
              <a:buFontTx/>
              <a:buNone/>
              <a:tabLst/>
              <a:defRPr/>
            </a:pPr>
            <a:r>
              <a:rPr lang="en-US"/>
              <a:t>Add photo</a:t>
            </a:r>
          </a:p>
        </p:txBody>
      </p:sp>
      <p:sp>
        <p:nvSpPr>
          <p:cNvPr id="8" name="Slide Number Placeholder 11">
            <a:extLst>
              <a:ext uri="{FF2B5EF4-FFF2-40B4-BE49-F238E27FC236}">
                <a16:creationId xmlns:a16="http://schemas.microsoft.com/office/drawing/2014/main" id="{43FDEDB6-CE04-F84B-AAD3-991730DCA9C0}"/>
              </a:ext>
            </a:extLst>
          </p:cNvPr>
          <p:cNvSpPr>
            <a:spLocks noGrp="1"/>
          </p:cNvSpPr>
          <p:nvPr>
            <p:ph type="sldNum" sz="quarter" idx="10"/>
          </p:nvPr>
        </p:nvSpPr>
        <p:spPr>
          <a:xfrm>
            <a:off x="1" y="6553200"/>
            <a:ext cx="304799" cy="304799"/>
          </a:xfrm>
        </p:spPr>
        <p:txBody>
          <a:bodyPr lIns="0" tIns="0" rIns="0" bIns="0"/>
          <a:lstStyle>
            <a:lvl1pPr>
              <a:defRPr>
                <a:solidFill>
                  <a:schemeClr val="tx1"/>
                </a:solidFill>
              </a:defRPr>
            </a:lvl1pPr>
          </a:lstStyle>
          <a:p>
            <a:fld id="{89006F1E-66CD-4A4B-9370-B4A3080F0E6C}" type="slidenum">
              <a:rPr lang="en-US" smtClean="0"/>
              <a:pPr/>
              <a:t>‹#›</a:t>
            </a:fld>
            <a:endParaRPr lang="en-US"/>
          </a:p>
        </p:txBody>
      </p:sp>
      <p:sp>
        <p:nvSpPr>
          <p:cNvPr id="9" name="Footer Placeholder 1">
            <a:extLst>
              <a:ext uri="{FF2B5EF4-FFF2-40B4-BE49-F238E27FC236}">
                <a16:creationId xmlns:a16="http://schemas.microsoft.com/office/drawing/2014/main" id="{D91B50C1-7025-B243-9430-602CDE810AAB}"/>
              </a:ext>
            </a:extLst>
          </p:cNvPr>
          <p:cNvSpPr>
            <a:spLocks noGrp="1"/>
          </p:cNvSpPr>
          <p:nvPr>
            <p:ph type="ftr" sz="quarter" idx="13"/>
          </p:nvPr>
        </p:nvSpPr>
        <p:spPr>
          <a:xfrm>
            <a:off x="304799" y="6553201"/>
            <a:ext cx="5791201" cy="304800"/>
          </a:xfrm>
          <a:prstGeom prst="rect">
            <a:avLst/>
          </a:prstGeom>
        </p:spPr>
        <p:txBody>
          <a:bodyPr/>
          <a:lstStyle>
            <a:lvl1pPr>
              <a:defRPr>
                <a:solidFill>
                  <a:schemeClr val="tx1"/>
                </a:solidFill>
              </a:defRPr>
            </a:lvl1pPr>
          </a:lstStyle>
          <a:p>
            <a:r>
              <a:rPr lang="en-US">
                <a:ea typeface="MS PGothic" panose="020B0600070205080204" pitchFamily="34" charset="-128"/>
              </a:rPr>
              <a:t>Proprietary &amp; Confidential |  authoremail@thermofisher.com | 12-April-2021</a:t>
            </a:r>
          </a:p>
        </p:txBody>
      </p:sp>
      <p:grpSp>
        <p:nvGrpSpPr>
          <p:cNvPr id="11" name="Group 10">
            <a:extLst>
              <a:ext uri="{FF2B5EF4-FFF2-40B4-BE49-F238E27FC236}">
                <a16:creationId xmlns:a16="http://schemas.microsoft.com/office/drawing/2014/main" id="{8D8C1EED-A5D2-BA41-ADED-E81DB12765F8}"/>
              </a:ext>
            </a:extLst>
          </p:cNvPr>
          <p:cNvGrpSpPr/>
          <p:nvPr userDrawn="1"/>
        </p:nvGrpSpPr>
        <p:grpSpPr>
          <a:xfrm>
            <a:off x="10295372" y="0"/>
            <a:ext cx="1591826" cy="694426"/>
            <a:chOff x="-20628" y="0"/>
            <a:chExt cx="2488951" cy="1085792"/>
          </a:xfrm>
        </p:grpSpPr>
        <p:sp>
          <p:nvSpPr>
            <p:cNvPr id="12" name="Parallelogram 11">
              <a:extLst>
                <a:ext uri="{FF2B5EF4-FFF2-40B4-BE49-F238E27FC236}">
                  <a16:creationId xmlns:a16="http://schemas.microsoft.com/office/drawing/2014/main" id="{C2689757-3684-9A47-9862-BBDF3C08D7F5}"/>
                </a:ext>
              </a:extLst>
            </p:cNvPr>
            <p:cNvSpPr/>
            <p:nvPr/>
          </p:nvSpPr>
          <p:spPr bwMode="auto">
            <a:xfrm>
              <a:off x="-20628" y="0"/>
              <a:ext cx="2488951" cy="1085792"/>
            </a:xfrm>
            <a:prstGeom prst="parallelogram">
              <a:avLst>
                <a:gd name="adj" fmla="val 0"/>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a:latin typeface="Arial" pitchFamily="124" charset="0"/>
                </a:rPr>
                <a:t>               </a:t>
              </a:r>
            </a:p>
          </p:txBody>
        </p:sp>
        <p:pic>
          <p:nvPicPr>
            <p:cNvPr id="13" name="Picture 12">
              <a:extLst>
                <a:ext uri="{FF2B5EF4-FFF2-40B4-BE49-F238E27FC236}">
                  <a16:creationId xmlns:a16="http://schemas.microsoft.com/office/drawing/2014/main" id="{A9D46CBB-4EBD-3E43-8CFA-4B066AA76FE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35820" y="154984"/>
              <a:ext cx="2178058" cy="756021"/>
            </a:xfrm>
            <a:prstGeom prst="rect">
              <a:avLst/>
            </a:prstGeom>
          </p:spPr>
        </p:pic>
      </p:grpSp>
      <p:sp>
        <p:nvSpPr>
          <p:cNvPr id="5" name="Rectangle 4">
            <a:extLst>
              <a:ext uri="{FF2B5EF4-FFF2-40B4-BE49-F238E27FC236}">
                <a16:creationId xmlns:a16="http://schemas.microsoft.com/office/drawing/2014/main" id="{A8CFE545-191E-1045-BD18-FE4B538BAD83}"/>
              </a:ext>
            </a:extLst>
          </p:cNvPr>
          <p:cNvSpPr/>
          <p:nvPr userDrawn="1"/>
        </p:nvSpPr>
        <p:spPr bwMode="auto">
          <a:xfrm>
            <a:off x="304799" y="5367528"/>
            <a:ext cx="3764281" cy="923544"/>
          </a:xfrm>
          <a:prstGeom prst="rect">
            <a:avLst/>
          </a:prstGeom>
          <a:solidFill>
            <a:schemeClr val="accent5"/>
          </a:solidFill>
          <a:ln w="317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r>
              <a:rPr lang="en-US" sz="1800">
                <a:solidFill>
                  <a:schemeClr val="bg1"/>
                </a:solidFill>
                <a:latin typeface="Arial" pitchFamily="124" charset="0"/>
              </a:rPr>
              <a:t>Callout 1</a:t>
            </a:r>
          </a:p>
        </p:txBody>
      </p:sp>
      <p:sp>
        <p:nvSpPr>
          <p:cNvPr id="16" name="Rectangle 15">
            <a:extLst>
              <a:ext uri="{FF2B5EF4-FFF2-40B4-BE49-F238E27FC236}">
                <a16:creationId xmlns:a16="http://schemas.microsoft.com/office/drawing/2014/main" id="{C810E666-499D-F240-AB38-D0215D52A9E4}"/>
              </a:ext>
            </a:extLst>
          </p:cNvPr>
          <p:cNvSpPr/>
          <p:nvPr userDrawn="1"/>
        </p:nvSpPr>
        <p:spPr bwMode="auto">
          <a:xfrm rot="2739906">
            <a:off x="1944623" y="5205746"/>
            <a:ext cx="484632" cy="484632"/>
          </a:xfrm>
          <a:prstGeom prst="rect">
            <a:avLst/>
          </a:prstGeom>
          <a:solidFill>
            <a:schemeClr val="accent5"/>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a:latin typeface="Arial" pitchFamily="124" charset="0"/>
            </a:endParaRPr>
          </a:p>
        </p:txBody>
      </p:sp>
      <p:sp>
        <p:nvSpPr>
          <p:cNvPr id="20" name="Rectangle 19">
            <a:extLst>
              <a:ext uri="{FF2B5EF4-FFF2-40B4-BE49-F238E27FC236}">
                <a16:creationId xmlns:a16="http://schemas.microsoft.com/office/drawing/2014/main" id="{BAD042ED-F219-0940-82C4-7ECA685FCA1A}"/>
              </a:ext>
            </a:extLst>
          </p:cNvPr>
          <p:cNvSpPr/>
          <p:nvPr userDrawn="1"/>
        </p:nvSpPr>
        <p:spPr bwMode="auto">
          <a:xfrm>
            <a:off x="4227575" y="5367528"/>
            <a:ext cx="3764281" cy="923544"/>
          </a:xfrm>
          <a:prstGeom prst="rect">
            <a:avLst/>
          </a:prstGeom>
          <a:solidFill>
            <a:schemeClr val="tx2"/>
          </a:solidFill>
          <a:ln w="317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r>
              <a:rPr lang="en-US" sz="1800">
                <a:solidFill>
                  <a:schemeClr val="bg1"/>
                </a:solidFill>
                <a:latin typeface="Arial" pitchFamily="124" charset="0"/>
              </a:rPr>
              <a:t>Callout 2</a:t>
            </a:r>
          </a:p>
        </p:txBody>
      </p:sp>
      <p:sp>
        <p:nvSpPr>
          <p:cNvPr id="23" name="Rectangle 22">
            <a:extLst>
              <a:ext uri="{FF2B5EF4-FFF2-40B4-BE49-F238E27FC236}">
                <a16:creationId xmlns:a16="http://schemas.microsoft.com/office/drawing/2014/main" id="{EAB0CD9E-5604-1C43-87F8-732EE5A3617C}"/>
              </a:ext>
            </a:extLst>
          </p:cNvPr>
          <p:cNvSpPr/>
          <p:nvPr userDrawn="1"/>
        </p:nvSpPr>
        <p:spPr bwMode="auto">
          <a:xfrm>
            <a:off x="8122919" y="5367528"/>
            <a:ext cx="3764281" cy="923544"/>
          </a:xfrm>
          <a:prstGeom prst="rect">
            <a:avLst/>
          </a:prstGeom>
          <a:solidFill>
            <a:schemeClr val="accent5"/>
          </a:solidFill>
          <a:ln w="317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r>
              <a:rPr lang="en-US" sz="1800">
                <a:solidFill>
                  <a:schemeClr val="bg1"/>
                </a:solidFill>
                <a:latin typeface="Arial" pitchFamily="124" charset="0"/>
              </a:rPr>
              <a:t>Callout 3</a:t>
            </a:r>
          </a:p>
        </p:txBody>
      </p:sp>
      <p:sp>
        <p:nvSpPr>
          <p:cNvPr id="22" name="Rectangle 21">
            <a:extLst>
              <a:ext uri="{FF2B5EF4-FFF2-40B4-BE49-F238E27FC236}">
                <a16:creationId xmlns:a16="http://schemas.microsoft.com/office/drawing/2014/main" id="{6E191F55-35EA-B64F-8C4F-56D538B005C0}"/>
              </a:ext>
            </a:extLst>
          </p:cNvPr>
          <p:cNvSpPr/>
          <p:nvPr userDrawn="1"/>
        </p:nvSpPr>
        <p:spPr bwMode="auto">
          <a:xfrm rot="2739906">
            <a:off x="9762743" y="5205746"/>
            <a:ext cx="484632" cy="484632"/>
          </a:xfrm>
          <a:prstGeom prst="rect">
            <a:avLst/>
          </a:prstGeom>
          <a:solidFill>
            <a:schemeClr val="accent5"/>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a:latin typeface="Arial" pitchFamily="124" charset="0"/>
            </a:endParaRPr>
          </a:p>
        </p:txBody>
      </p:sp>
      <p:sp>
        <p:nvSpPr>
          <p:cNvPr id="35" name="Rectangle 34">
            <a:extLst>
              <a:ext uri="{FF2B5EF4-FFF2-40B4-BE49-F238E27FC236}">
                <a16:creationId xmlns:a16="http://schemas.microsoft.com/office/drawing/2014/main" id="{9425E2DE-C4FD-B743-BAE9-74CA2E9E6D9A}"/>
              </a:ext>
            </a:extLst>
          </p:cNvPr>
          <p:cNvSpPr/>
          <p:nvPr userDrawn="1"/>
        </p:nvSpPr>
        <p:spPr bwMode="auto">
          <a:xfrm rot="2739906">
            <a:off x="5863605" y="5205746"/>
            <a:ext cx="484632" cy="484632"/>
          </a:xfrm>
          <a:prstGeom prst="rect">
            <a:avLst/>
          </a:prstGeom>
          <a:solidFill>
            <a:schemeClr val="tx2"/>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a:latin typeface="Arial" pitchFamily="124" charset="0"/>
            </a:endParaRPr>
          </a:p>
        </p:txBody>
      </p:sp>
      <p:sp>
        <p:nvSpPr>
          <p:cNvPr id="36" name="Picture Placeholder 35">
            <a:extLst>
              <a:ext uri="{FF2B5EF4-FFF2-40B4-BE49-F238E27FC236}">
                <a16:creationId xmlns:a16="http://schemas.microsoft.com/office/drawing/2014/main" id="{7CBECDC3-5AF8-B74E-B23F-11CBBB9E6374}"/>
              </a:ext>
            </a:extLst>
          </p:cNvPr>
          <p:cNvSpPr>
            <a:spLocks noGrp="1"/>
          </p:cNvSpPr>
          <p:nvPr>
            <p:ph type="pic" sz="quarter" idx="17" hasCustomPrompt="1"/>
          </p:nvPr>
        </p:nvSpPr>
        <p:spPr>
          <a:xfrm>
            <a:off x="302556" y="876300"/>
            <a:ext cx="3764281" cy="4491228"/>
          </a:xfrm>
          <a:custGeom>
            <a:avLst/>
            <a:gdLst>
              <a:gd name="connsiteX0" fmla="*/ 0 w 3764281"/>
              <a:gd name="connsiteY0" fmla="*/ 0 h 4491228"/>
              <a:gd name="connsiteX1" fmla="*/ 3764281 w 3764281"/>
              <a:gd name="connsiteY1" fmla="*/ 0 h 4491228"/>
              <a:gd name="connsiteX2" fmla="*/ 3764281 w 3764281"/>
              <a:gd name="connsiteY2" fmla="*/ 4491228 h 4491228"/>
              <a:gd name="connsiteX3" fmla="*/ 2142231 w 3764281"/>
              <a:gd name="connsiteY3" fmla="*/ 4491228 h 4491228"/>
              <a:gd name="connsiteX4" fmla="*/ 1886118 w 3764281"/>
              <a:gd name="connsiteY4" fmla="*/ 4229099 h 4491228"/>
              <a:gd name="connsiteX5" fmla="*/ 1617831 w 3764281"/>
              <a:gd name="connsiteY5" fmla="*/ 4491228 h 4491228"/>
              <a:gd name="connsiteX6" fmla="*/ 0 w 3764281"/>
              <a:gd name="connsiteY6" fmla="*/ 4491228 h 449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64281" h="4491228">
                <a:moveTo>
                  <a:pt x="0" y="0"/>
                </a:moveTo>
                <a:lnTo>
                  <a:pt x="3764281" y="0"/>
                </a:lnTo>
                <a:lnTo>
                  <a:pt x="3764281" y="4491228"/>
                </a:lnTo>
                <a:lnTo>
                  <a:pt x="2142231" y="4491228"/>
                </a:lnTo>
                <a:lnTo>
                  <a:pt x="1886118" y="4229099"/>
                </a:lnTo>
                <a:lnTo>
                  <a:pt x="1617831" y="4491228"/>
                </a:lnTo>
                <a:lnTo>
                  <a:pt x="0" y="4491228"/>
                </a:lnTo>
                <a:close/>
              </a:path>
            </a:pathLst>
          </a:custGeom>
          <a:pattFill prst="pct5">
            <a:fgClr>
              <a:schemeClr val="bg1"/>
            </a:fgClr>
            <a:bgClr>
              <a:schemeClr val="bg2"/>
            </a:bgClr>
          </a:pattFill>
        </p:spPr>
        <p:txBody>
          <a:bodyPr vert="horz" wrap="square" lIns="0" tIns="0" rIns="0" bIns="0" rtlCol="0" anchor="ctr">
            <a:noAutofit/>
          </a:bodyPr>
          <a:lstStyle>
            <a:lvl1pPr marL="0" marR="0" indent="0" algn="ctr" defTabSz="914400" rtl="0" eaLnBrk="1" fontAlgn="auto" latinLnBrk="0" hangingPunct="1">
              <a:lnSpc>
                <a:spcPct val="120000"/>
              </a:lnSpc>
              <a:spcBef>
                <a:spcPts val="600"/>
              </a:spcBef>
              <a:spcAft>
                <a:spcPts val="0"/>
              </a:spcAft>
              <a:buClrTx/>
              <a:buSzTx/>
              <a:buFontTx/>
              <a:buNone/>
              <a:tabLst/>
              <a:defRPr lang="en-US" sz="1400">
                <a:solidFill>
                  <a:schemeClr val="tx1"/>
                </a:solidFill>
              </a:defRPr>
            </a:lvl1pPr>
          </a:lstStyle>
          <a:p>
            <a:pPr marL="411480" marR="0" lvl="0" indent="-411480" algn="ctr" defTabSz="914400" rtl="0" eaLnBrk="1" fontAlgn="auto" latinLnBrk="0" hangingPunct="1">
              <a:lnSpc>
                <a:spcPct val="120000"/>
              </a:lnSpc>
              <a:spcBef>
                <a:spcPts val="600"/>
              </a:spcBef>
              <a:spcAft>
                <a:spcPts val="0"/>
              </a:spcAft>
              <a:buClrTx/>
              <a:buSzTx/>
              <a:buFontTx/>
              <a:buNone/>
              <a:tabLst/>
              <a:defRPr/>
            </a:pPr>
            <a:r>
              <a:rPr lang="en-US"/>
              <a:t>Add photo</a:t>
            </a:r>
          </a:p>
        </p:txBody>
      </p:sp>
      <p:sp>
        <p:nvSpPr>
          <p:cNvPr id="37" name="Picture Placeholder 36">
            <a:extLst>
              <a:ext uri="{FF2B5EF4-FFF2-40B4-BE49-F238E27FC236}">
                <a16:creationId xmlns:a16="http://schemas.microsoft.com/office/drawing/2014/main" id="{DB8567E5-6E80-F14D-A1DE-C2EC4AFAED2E}"/>
              </a:ext>
            </a:extLst>
          </p:cNvPr>
          <p:cNvSpPr>
            <a:spLocks noGrp="1"/>
          </p:cNvSpPr>
          <p:nvPr>
            <p:ph type="pic" sz="quarter" idx="18" hasCustomPrompt="1"/>
          </p:nvPr>
        </p:nvSpPr>
        <p:spPr>
          <a:xfrm>
            <a:off x="8126714" y="876300"/>
            <a:ext cx="3764281" cy="4491228"/>
          </a:xfrm>
          <a:custGeom>
            <a:avLst/>
            <a:gdLst>
              <a:gd name="connsiteX0" fmla="*/ 0 w 3764281"/>
              <a:gd name="connsiteY0" fmla="*/ 0 h 4491228"/>
              <a:gd name="connsiteX1" fmla="*/ 3764281 w 3764281"/>
              <a:gd name="connsiteY1" fmla="*/ 0 h 4491228"/>
              <a:gd name="connsiteX2" fmla="*/ 3764281 w 3764281"/>
              <a:gd name="connsiteY2" fmla="*/ 4491228 h 4491228"/>
              <a:gd name="connsiteX3" fmla="*/ 2142231 w 3764281"/>
              <a:gd name="connsiteY3" fmla="*/ 4491228 h 4491228"/>
              <a:gd name="connsiteX4" fmla="*/ 1886118 w 3764281"/>
              <a:gd name="connsiteY4" fmla="*/ 4229099 h 4491228"/>
              <a:gd name="connsiteX5" fmla="*/ 1617831 w 3764281"/>
              <a:gd name="connsiteY5" fmla="*/ 4491228 h 4491228"/>
              <a:gd name="connsiteX6" fmla="*/ 0 w 3764281"/>
              <a:gd name="connsiteY6" fmla="*/ 4491228 h 449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64281" h="4491228">
                <a:moveTo>
                  <a:pt x="0" y="0"/>
                </a:moveTo>
                <a:lnTo>
                  <a:pt x="3764281" y="0"/>
                </a:lnTo>
                <a:lnTo>
                  <a:pt x="3764281" y="4491228"/>
                </a:lnTo>
                <a:lnTo>
                  <a:pt x="2142231" y="4491228"/>
                </a:lnTo>
                <a:lnTo>
                  <a:pt x="1886118" y="4229099"/>
                </a:lnTo>
                <a:lnTo>
                  <a:pt x="1617831" y="4491228"/>
                </a:lnTo>
                <a:lnTo>
                  <a:pt x="0" y="4491228"/>
                </a:lnTo>
                <a:close/>
              </a:path>
            </a:pathLst>
          </a:custGeom>
          <a:pattFill prst="pct5">
            <a:fgClr>
              <a:schemeClr val="bg1"/>
            </a:fgClr>
            <a:bgClr>
              <a:schemeClr val="bg2"/>
            </a:bgClr>
          </a:pattFill>
        </p:spPr>
        <p:txBody>
          <a:bodyPr vert="horz" wrap="square" lIns="0" tIns="0" rIns="0" bIns="0" rtlCol="0" anchor="ctr">
            <a:noAutofit/>
          </a:bodyPr>
          <a:lstStyle>
            <a:lvl1pPr marL="0" marR="0" indent="0" algn="ctr" defTabSz="914400" rtl="0" eaLnBrk="1" fontAlgn="auto" latinLnBrk="0" hangingPunct="1">
              <a:lnSpc>
                <a:spcPct val="120000"/>
              </a:lnSpc>
              <a:spcBef>
                <a:spcPts val="600"/>
              </a:spcBef>
              <a:spcAft>
                <a:spcPts val="0"/>
              </a:spcAft>
              <a:buClrTx/>
              <a:buSzTx/>
              <a:buFontTx/>
              <a:buNone/>
              <a:tabLst/>
              <a:defRPr lang="en-US" sz="1400">
                <a:solidFill>
                  <a:schemeClr val="tx1"/>
                </a:solidFill>
              </a:defRPr>
            </a:lvl1pPr>
          </a:lstStyle>
          <a:p>
            <a:pPr marL="411480" marR="0" lvl="0" indent="-411480" algn="ctr" defTabSz="914400" rtl="0" eaLnBrk="1" fontAlgn="auto" latinLnBrk="0" hangingPunct="1">
              <a:lnSpc>
                <a:spcPct val="120000"/>
              </a:lnSpc>
              <a:spcBef>
                <a:spcPts val="600"/>
              </a:spcBef>
              <a:spcAft>
                <a:spcPts val="0"/>
              </a:spcAft>
              <a:buClrTx/>
              <a:buSzTx/>
              <a:buFontTx/>
              <a:buNone/>
              <a:tabLst/>
              <a:defRPr/>
            </a:pPr>
            <a:r>
              <a:rPr lang="en-US"/>
              <a:t>Add photo</a:t>
            </a:r>
          </a:p>
        </p:txBody>
      </p:sp>
      <p:pic>
        <p:nvPicPr>
          <p:cNvPr id="17" name="Picture 13">
            <a:extLst>
              <a:ext uri="{FF2B5EF4-FFF2-40B4-BE49-F238E27FC236}">
                <a16:creationId xmlns:a16="http://schemas.microsoft.com/office/drawing/2014/main" id="{D6AD2010-8C8A-B941-8B25-E33B1528122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898000" y="5582978"/>
            <a:ext cx="989200" cy="548639"/>
          </a:xfrm>
          <a:prstGeom prst="rect">
            <a:avLst/>
          </a:prstGeom>
        </p:spPr>
      </p:pic>
      <p:pic>
        <p:nvPicPr>
          <p:cNvPr id="18" name="Picture 13">
            <a:extLst>
              <a:ext uri="{FF2B5EF4-FFF2-40B4-BE49-F238E27FC236}">
                <a16:creationId xmlns:a16="http://schemas.microsoft.com/office/drawing/2014/main" id="{EE9925EF-C945-EB4C-90AA-BC7D56894A77}"/>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6954625" y="5582978"/>
            <a:ext cx="989200" cy="548639"/>
          </a:xfrm>
          <a:prstGeom prst="rect">
            <a:avLst/>
          </a:prstGeom>
        </p:spPr>
      </p:pic>
      <p:pic>
        <p:nvPicPr>
          <p:cNvPr id="19" name="Picture 13">
            <a:extLst>
              <a:ext uri="{FF2B5EF4-FFF2-40B4-BE49-F238E27FC236}">
                <a16:creationId xmlns:a16="http://schemas.microsoft.com/office/drawing/2014/main" id="{62AAB8BA-98F9-1E41-8A1D-0AEDAFE58B2D}"/>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2971800" y="5582978"/>
            <a:ext cx="989200" cy="548639"/>
          </a:xfrm>
          <a:prstGeom prst="rect">
            <a:avLst/>
          </a:prstGeom>
        </p:spPr>
      </p:pic>
    </p:spTree>
    <p:extLst>
      <p:ext uri="{BB962C8B-B14F-4D97-AF65-F5344CB8AC3E}">
        <p14:creationId xmlns:p14="http://schemas.microsoft.com/office/powerpoint/2010/main" val="1874026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744">
          <p15:clr>
            <a:srgbClr val="FBAE40"/>
          </p15:clr>
        </p15:guide>
        <p15:guide id="3" pos="3936">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Title (No Content)">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21" name="Oval 20">
            <a:extLst>
              <a:ext uri="{FF2B5EF4-FFF2-40B4-BE49-F238E27FC236}">
                <a16:creationId xmlns:a16="http://schemas.microsoft.com/office/drawing/2014/main" id="{DCA470E8-2646-364A-95AC-49D1C8F37F0C}"/>
              </a:ext>
            </a:extLst>
          </p:cNvPr>
          <p:cNvSpPr/>
          <p:nvPr userDrawn="1"/>
        </p:nvSpPr>
        <p:spPr bwMode="auto">
          <a:xfrm>
            <a:off x="3777992" y="4543964"/>
            <a:ext cx="537976" cy="537976"/>
          </a:xfrm>
          <a:prstGeom prst="ellipse">
            <a:avLst/>
          </a:prstGeom>
          <a:solidFill>
            <a:schemeClr val="tx2"/>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a:latin typeface="Arial" pitchFamily="124" charset="0"/>
            </a:endParaRPr>
          </a:p>
        </p:txBody>
      </p:sp>
      <p:sp>
        <p:nvSpPr>
          <p:cNvPr id="7" name="Text Placeholder 7">
            <a:extLst>
              <a:ext uri="{FF2B5EF4-FFF2-40B4-BE49-F238E27FC236}">
                <a16:creationId xmlns:a16="http://schemas.microsoft.com/office/drawing/2014/main" id="{C1053C4D-3245-41E9-BC79-2133D6EFE62D}"/>
              </a:ext>
            </a:extLst>
          </p:cNvPr>
          <p:cNvSpPr>
            <a:spLocks noGrp="1"/>
          </p:cNvSpPr>
          <p:nvPr>
            <p:ph type="body" sz="quarter" idx="12" hasCustomPrompt="1"/>
          </p:nvPr>
        </p:nvSpPr>
        <p:spPr>
          <a:xfrm>
            <a:off x="304797" y="6055756"/>
            <a:ext cx="11582401" cy="489204"/>
          </a:xfrm>
          <a:prstGeom prst="rect">
            <a:avLst/>
          </a:prstGeom>
        </p:spPr>
        <p:txBody>
          <a:bodyPr anchor="b">
            <a:normAutofit/>
          </a:bodyPr>
          <a:lstStyle>
            <a:lvl1pPr marL="0" indent="0">
              <a:spcBef>
                <a:spcPts val="100"/>
              </a:spcBef>
              <a:buNone/>
              <a:defRPr sz="1000">
                <a:solidFill>
                  <a:schemeClr val="accent5"/>
                </a:solidFill>
              </a:defRPr>
            </a:lvl1pPr>
          </a:lstStyle>
          <a:p>
            <a:pPr lvl="0"/>
            <a:r>
              <a:rPr lang="en-US"/>
              <a:t>Source notes</a:t>
            </a:r>
          </a:p>
        </p:txBody>
      </p:sp>
      <p:sp>
        <p:nvSpPr>
          <p:cNvPr id="8" name="Slide Number Placeholder 11">
            <a:extLst>
              <a:ext uri="{FF2B5EF4-FFF2-40B4-BE49-F238E27FC236}">
                <a16:creationId xmlns:a16="http://schemas.microsoft.com/office/drawing/2014/main" id="{43FDEDB6-CE04-F84B-AAD3-991730DCA9C0}"/>
              </a:ext>
            </a:extLst>
          </p:cNvPr>
          <p:cNvSpPr>
            <a:spLocks noGrp="1"/>
          </p:cNvSpPr>
          <p:nvPr>
            <p:ph type="sldNum" sz="quarter" idx="10"/>
          </p:nvPr>
        </p:nvSpPr>
        <p:spPr>
          <a:xfrm>
            <a:off x="1" y="6553200"/>
            <a:ext cx="304799" cy="304799"/>
          </a:xfrm>
        </p:spPr>
        <p:txBody>
          <a:bodyPr lIns="0" tIns="0" rIns="0" bIns="0"/>
          <a:lstStyle/>
          <a:p>
            <a:fld id="{89006F1E-66CD-4A4B-9370-B4A3080F0E6C}" type="slidenum">
              <a:rPr lang="en-US" smtClean="0"/>
              <a:pPr/>
              <a:t>‹#›</a:t>
            </a:fld>
            <a:endParaRPr lang="en-US"/>
          </a:p>
        </p:txBody>
      </p:sp>
      <p:sp>
        <p:nvSpPr>
          <p:cNvPr id="9" name="Footer Placeholder 1">
            <a:extLst>
              <a:ext uri="{FF2B5EF4-FFF2-40B4-BE49-F238E27FC236}">
                <a16:creationId xmlns:a16="http://schemas.microsoft.com/office/drawing/2014/main" id="{D91B50C1-7025-B243-9430-602CDE810AAB}"/>
              </a:ext>
            </a:extLst>
          </p:cNvPr>
          <p:cNvSpPr>
            <a:spLocks noGrp="1"/>
          </p:cNvSpPr>
          <p:nvPr>
            <p:ph type="ftr" sz="quarter" idx="13"/>
          </p:nvPr>
        </p:nvSpPr>
        <p:spPr>
          <a:xfrm>
            <a:off x="304799" y="6553201"/>
            <a:ext cx="5791201" cy="304800"/>
          </a:xfrm>
          <a:prstGeom prst="rect">
            <a:avLst/>
          </a:prstGeom>
        </p:spPr>
        <p:txBody>
          <a:bodyPr/>
          <a:lstStyle>
            <a:lvl1pPr>
              <a:defRPr>
                <a:solidFill>
                  <a:schemeClr val="accent5"/>
                </a:solidFill>
              </a:defRPr>
            </a:lvl1pPr>
          </a:lstStyle>
          <a:p>
            <a:r>
              <a:rPr lang="en-US">
                <a:ea typeface="MS PGothic" panose="020B0600070205080204" pitchFamily="34" charset="-128"/>
              </a:rPr>
              <a:t>Proprietary &amp; Confidential |  authoremail@thermofisher.com | 12-April-2021</a:t>
            </a:r>
          </a:p>
        </p:txBody>
      </p:sp>
      <p:sp>
        <p:nvSpPr>
          <p:cNvPr id="10" name="Picture Placeholder 2">
            <a:extLst>
              <a:ext uri="{FF2B5EF4-FFF2-40B4-BE49-F238E27FC236}">
                <a16:creationId xmlns:a16="http://schemas.microsoft.com/office/drawing/2014/main" id="{9273467B-8A8F-1246-AB6B-0925F3B765CE}"/>
              </a:ext>
            </a:extLst>
          </p:cNvPr>
          <p:cNvSpPr>
            <a:spLocks noGrp="1"/>
          </p:cNvSpPr>
          <p:nvPr>
            <p:ph type="pic" sz="quarter" idx="14" hasCustomPrompt="1"/>
          </p:nvPr>
        </p:nvSpPr>
        <p:spPr>
          <a:xfrm>
            <a:off x="300227" y="640551"/>
            <a:ext cx="3201925" cy="5004063"/>
          </a:xfrm>
          <a:prstGeom prst="rect">
            <a:avLst/>
          </a:prstGeom>
          <a:pattFill prst="pct5">
            <a:fgClr>
              <a:schemeClr val="bg1"/>
            </a:fgClr>
            <a:bgClr>
              <a:schemeClr val="bg2"/>
            </a:bgClr>
          </a:pattFill>
        </p:spPr>
        <p:txBody>
          <a:bodyPr vert="horz" wrap="square" lIns="0" tIns="0" rIns="0" bIns="0" rtlCol="0" anchor="ctr">
            <a:noAutofit/>
          </a:bodyPr>
          <a:lstStyle>
            <a:lvl1pPr marL="0" marR="0" indent="0" algn="ctr" defTabSz="914400" rtl="0" eaLnBrk="1" fontAlgn="auto" latinLnBrk="0" hangingPunct="1">
              <a:lnSpc>
                <a:spcPct val="120000"/>
              </a:lnSpc>
              <a:spcBef>
                <a:spcPts val="600"/>
              </a:spcBef>
              <a:spcAft>
                <a:spcPts val="0"/>
              </a:spcAft>
              <a:buClrTx/>
              <a:buSzTx/>
              <a:buFontTx/>
              <a:buNone/>
              <a:tabLst/>
              <a:defRPr lang="en-US" sz="1400">
                <a:solidFill>
                  <a:schemeClr val="tx1"/>
                </a:solidFill>
              </a:defRPr>
            </a:lvl1pPr>
          </a:lstStyle>
          <a:p>
            <a:pPr marL="411480" marR="0" lvl="0" indent="-411480" algn="ctr" defTabSz="914400" rtl="0" eaLnBrk="1" fontAlgn="auto" latinLnBrk="0" hangingPunct="1">
              <a:lnSpc>
                <a:spcPct val="120000"/>
              </a:lnSpc>
              <a:spcBef>
                <a:spcPts val="600"/>
              </a:spcBef>
              <a:spcAft>
                <a:spcPts val="0"/>
              </a:spcAft>
              <a:buClrTx/>
              <a:buSzTx/>
              <a:buFontTx/>
              <a:buNone/>
              <a:tabLst/>
              <a:defRPr/>
            </a:pPr>
            <a:r>
              <a:rPr lang="en-US"/>
              <a:t>Add photo</a:t>
            </a:r>
          </a:p>
        </p:txBody>
      </p:sp>
      <p:grpSp>
        <p:nvGrpSpPr>
          <p:cNvPr id="11" name="Group 10">
            <a:extLst>
              <a:ext uri="{FF2B5EF4-FFF2-40B4-BE49-F238E27FC236}">
                <a16:creationId xmlns:a16="http://schemas.microsoft.com/office/drawing/2014/main" id="{8D8C1EED-A5D2-BA41-ADED-E81DB12765F8}"/>
              </a:ext>
            </a:extLst>
          </p:cNvPr>
          <p:cNvGrpSpPr/>
          <p:nvPr userDrawn="1"/>
        </p:nvGrpSpPr>
        <p:grpSpPr>
          <a:xfrm>
            <a:off x="10295372" y="0"/>
            <a:ext cx="1591826" cy="694426"/>
            <a:chOff x="-20628" y="0"/>
            <a:chExt cx="2488951" cy="1085792"/>
          </a:xfrm>
        </p:grpSpPr>
        <p:sp>
          <p:nvSpPr>
            <p:cNvPr id="12" name="Parallelogram 11">
              <a:extLst>
                <a:ext uri="{FF2B5EF4-FFF2-40B4-BE49-F238E27FC236}">
                  <a16:creationId xmlns:a16="http://schemas.microsoft.com/office/drawing/2014/main" id="{C2689757-3684-9A47-9862-BBDF3C08D7F5}"/>
                </a:ext>
              </a:extLst>
            </p:cNvPr>
            <p:cNvSpPr/>
            <p:nvPr/>
          </p:nvSpPr>
          <p:spPr bwMode="auto">
            <a:xfrm>
              <a:off x="-20628" y="0"/>
              <a:ext cx="2488951" cy="1085792"/>
            </a:xfrm>
            <a:prstGeom prst="parallelogram">
              <a:avLst>
                <a:gd name="adj" fmla="val 0"/>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a:latin typeface="Arial" pitchFamily="124" charset="0"/>
                </a:rPr>
                <a:t>               </a:t>
              </a:r>
            </a:p>
          </p:txBody>
        </p:sp>
        <p:pic>
          <p:nvPicPr>
            <p:cNvPr id="13" name="Picture 12">
              <a:extLst>
                <a:ext uri="{FF2B5EF4-FFF2-40B4-BE49-F238E27FC236}">
                  <a16:creationId xmlns:a16="http://schemas.microsoft.com/office/drawing/2014/main" id="{A9D46CBB-4EBD-3E43-8CFA-4B066AA76FE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35820" y="154984"/>
              <a:ext cx="2178058" cy="756021"/>
            </a:xfrm>
            <a:prstGeom prst="rect">
              <a:avLst/>
            </a:prstGeom>
          </p:spPr>
        </p:pic>
      </p:grpSp>
      <p:sp>
        <p:nvSpPr>
          <p:cNvPr id="14" name="Rectangle 13">
            <a:extLst>
              <a:ext uri="{FF2B5EF4-FFF2-40B4-BE49-F238E27FC236}">
                <a16:creationId xmlns:a16="http://schemas.microsoft.com/office/drawing/2014/main" id="{AF13B835-C1A1-4A42-9964-B49A90060399}"/>
              </a:ext>
            </a:extLst>
          </p:cNvPr>
          <p:cNvSpPr/>
          <p:nvPr userDrawn="1"/>
        </p:nvSpPr>
        <p:spPr bwMode="auto">
          <a:xfrm>
            <a:off x="304800" y="5713627"/>
            <a:ext cx="3197352" cy="111101"/>
          </a:xfrm>
          <a:prstGeom prst="rect">
            <a:avLst/>
          </a:prstGeom>
          <a:gradFill>
            <a:gsLst>
              <a:gs pos="23000">
                <a:srgbClr val="C00000"/>
              </a:gs>
              <a:gs pos="84000">
                <a:schemeClr val="tx2"/>
              </a:gs>
            </a:gsLst>
            <a:lin ang="1080000" scaled="0"/>
          </a:gra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a:latin typeface="Arial" pitchFamily="124" charset="0"/>
            </a:endParaRPr>
          </a:p>
        </p:txBody>
      </p:sp>
      <p:sp>
        <p:nvSpPr>
          <p:cNvPr id="3" name="Rectangle 2">
            <a:extLst>
              <a:ext uri="{FF2B5EF4-FFF2-40B4-BE49-F238E27FC236}">
                <a16:creationId xmlns:a16="http://schemas.microsoft.com/office/drawing/2014/main" id="{2121BE7F-F6C3-7C4B-AD16-A9E713FD3E0E}"/>
              </a:ext>
            </a:extLst>
          </p:cNvPr>
          <p:cNvSpPr/>
          <p:nvPr userDrawn="1"/>
        </p:nvSpPr>
        <p:spPr bwMode="auto">
          <a:xfrm>
            <a:off x="3200398" y="1033272"/>
            <a:ext cx="8991601" cy="1335024"/>
          </a:xfrm>
          <a:prstGeom prst="rect">
            <a:avLst/>
          </a:prstGeom>
          <a:gradFill>
            <a:gsLst>
              <a:gs pos="23000">
                <a:srgbClr val="C00000"/>
              </a:gs>
              <a:gs pos="84000">
                <a:schemeClr val="tx2"/>
              </a:gs>
            </a:gsLst>
            <a:lin ang="1080000" scaled="0"/>
          </a:gra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a:latin typeface="Arial" pitchFamily="124" charset="0"/>
            </a:endParaRPr>
          </a:p>
        </p:txBody>
      </p:sp>
      <p:sp>
        <p:nvSpPr>
          <p:cNvPr id="15" name="Title 1">
            <a:extLst>
              <a:ext uri="{FF2B5EF4-FFF2-40B4-BE49-F238E27FC236}">
                <a16:creationId xmlns:a16="http://schemas.microsoft.com/office/drawing/2014/main" id="{5B4B008F-E9B4-B546-B79D-6D02A32BF423}"/>
              </a:ext>
            </a:extLst>
          </p:cNvPr>
          <p:cNvSpPr>
            <a:spLocks noGrp="1"/>
          </p:cNvSpPr>
          <p:nvPr>
            <p:ph type="title" hasCustomPrompt="1"/>
          </p:nvPr>
        </p:nvSpPr>
        <p:spPr>
          <a:xfrm>
            <a:off x="3624073" y="1510283"/>
            <a:ext cx="8263127" cy="381001"/>
          </a:xfrm>
        </p:spPr>
        <p:txBody>
          <a:bodyPr/>
          <a:lstStyle>
            <a:lvl1pPr>
              <a:defRPr>
                <a:solidFill>
                  <a:schemeClr val="bg1"/>
                </a:solidFill>
              </a:defRPr>
            </a:lvl1pPr>
          </a:lstStyle>
          <a:p>
            <a:r>
              <a:rPr lang="en-US"/>
              <a:t>Image slide with red header</a:t>
            </a:r>
          </a:p>
        </p:txBody>
      </p:sp>
      <p:sp>
        <p:nvSpPr>
          <p:cNvPr id="16" name="Text Placeholder 7">
            <a:extLst>
              <a:ext uri="{FF2B5EF4-FFF2-40B4-BE49-F238E27FC236}">
                <a16:creationId xmlns:a16="http://schemas.microsoft.com/office/drawing/2014/main" id="{D82E9263-CE46-1347-A990-FEA3889EA509}"/>
              </a:ext>
            </a:extLst>
          </p:cNvPr>
          <p:cNvSpPr>
            <a:spLocks noGrp="1"/>
          </p:cNvSpPr>
          <p:nvPr>
            <p:ph type="body" sz="quarter" idx="11" hasCustomPrompt="1"/>
          </p:nvPr>
        </p:nvSpPr>
        <p:spPr>
          <a:xfrm>
            <a:off x="3694176" y="2599324"/>
            <a:ext cx="8193022" cy="381001"/>
          </a:xfrm>
          <a:prstGeom prst="rect">
            <a:avLst/>
          </a:prstGeom>
        </p:spPr>
        <p:txBody>
          <a:bodyPr lIns="0" tIns="0" rIns="0" bIns="0" anchor="t">
            <a:noAutofit/>
          </a:bodyPr>
          <a:lstStyle>
            <a:lvl1pPr marL="0" indent="0">
              <a:buNone/>
              <a:defRPr sz="2000" b="1">
                <a:solidFill>
                  <a:schemeClr val="tx2"/>
                </a:solidFill>
              </a:defRPr>
            </a:lvl1pPr>
          </a:lstStyle>
          <a:p>
            <a:pPr lvl="0"/>
            <a:r>
              <a:rPr lang="en-US"/>
              <a:t>Subhead goes here in sentence case</a:t>
            </a:r>
          </a:p>
        </p:txBody>
      </p:sp>
      <p:sp>
        <p:nvSpPr>
          <p:cNvPr id="17" name="Text Placeholder 7">
            <a:extLst>
              <a:ext uri="{FF2B5EF4-FFF2-40B4-BE49-F238E27FC236}">
                <a16:creationId xmlns:a16="http://schemas.microsoft.com/office/drawing/2014/main" id="{4FBE4872-982B-F945-AD16-34260557F2F4}"/>
              </a:ext>
            </a:extLst>
          </p:cNvPr>
          <p:cNvSpPr>
            <a:spLocks noGrp="1"/>
          </p:cNvSpPr>
          <p:nvPr>
            <p:ph type="body" sz="quarter" idx="15" hasCustomPrompt="1"/>
          </p:nvPr>
        </p:nvSpPr>
        <p:spPr>
          <a:xfrm>
            <a:off x="3694176" y="3248548"/>
            <a:ext cx="8193024" cy="201209"/>
          </a:xfrm>
          <a:prstGeom prst="rect">
            <a:avLst/>
          </a:prstGeom>
        </p:spPr>
        <p:txBody>
          <a:bodyPr wrap="square" lIns="0" tIns="0" rIns="0" bIns="0" anchor="t">
            <a:spAutoFit/>
          </a:bodyPr>
          <a:lstStyle>
            <a:lvl1pPr marL="0" indent="0">
              <a:buNone/>
              <a:defRPr sz="1200" b="0">
                <a:solidFill>
                  <a:schemeClr val="tx1"/>
                </a:solidFill>
              </a:defRPr>
            </a:lvl1pPr>
          </a:lstStyle>
          <a:p>
            <a:pPr lvl="0"/>
            <a:r>
              <a:rPr lang="en-US"/>
              <a:t>Keep text under 6 lines and use high-resolution images.</a:t>
            </a:r>
          </a:p>
        </p:txBody>
      </p:sp>
      <p:sp>
        <p:nvSpPr>
          <p:cNvPr id="18" name="Text Placeholder 7">
            <a:extLst>
              <a:ext uri="{FF2B5EF4-FFF2-40B4-BE49-F238E27FC236}">
                <a16:creationId xmlns:a16="http://schemas.microsoft.com/office/drawing/2014/main" id="{6CBFAFEA-D631-BA49-AB7A-174EAD103D61}"/>
              </a:ext>
            </a:extLst>
          </p:cNvPr>
          <p:cNvSpPr>
            <a:spLocks noGrp="1"/>
          </p:cNvSpPr>
          <p:nvPr>
            <p:ph type="body" sz="quarter" idx="16" hasCustomPrompt="1"/>
          </p:nvPr>
        </p:nvSpPr>
        <p:spPr>
          <a:xfrm>
            <a:off x="4439413" y="4696313"/>
            <a:ext cx="6611110" cy="201209"/>
          </a:xfrm>
          <a:prstGeom prst="rect">
            <a:avLst/>
          </a:prstGeom>
        </p:spPr>
        <p:txBody>
          <a:bodyPr wrap="square" lIns="0" tIns="0" rIns="0" bIns="0" anchor="t">
            <a:spAutoFit/>
          </a:bodyPr>
          <a:lstStyle>
            <a:lvl1pPr marL="0" indent="0">
              <a:buNone/>
              <a:defRPr sz="1200" b="0">
                <a:solidFill>
                  <a:schemeClr val="tx1"/>
                </a:solidFill>
              </a:defRPr>
            </a:lvl1pPr>
          </a:lstStyle>
          <a:p>
            <a:pPr lvl="0"/>
            <a:r>
              <a:rPr lang="en-US"/>
              <a:t>This is a placeholder</a:t>
            </a:r>
          </a:p>
        </p:txBody>
      </p:sp>
      <p:pic>
        <p:nvPicPr>
          <p:cNvPr id="20" name="Graphic 19">
            <a:extLst>
              <a:ext uri="{FF2B5EF4-FFF2-40B4-BE49-F238E27FC236}">
                <a16:creationId xmlns:a16="http://schemas.microsoft.com/office/drawing/2014/main" id="{0F8539A3-7388-9541-8AFC-C1C8C57D8790}"/>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863608" y="4629580"/>
            <a:ext cx="366745" cy="366745"/>
          </a:xfrm>
          <a:prstGeom prst="rect">
            <a:avLst/>
          </a:prstGeom>
        </p:spPr>
      </p:pic>
      <p:sp>
        <p:nvSpPr>
          <p:cNvPr id="22" name="Oval 21">
            <a:extLst>
              <a:ext uri="{FF2B5EF4-FFF2-40B4-BE49-F238E27FC236}">
                <a16:creationId xmlns:a16="http://schemas.microsoft.com/office/drawing/2014/main" id="{D735F40E-6447-4845-8E08-A682C2256D42}"/>
              </a:ext>
            </a:extLst>
          </p:cNvPr>
          <p:cNvSpPr/>
          <p:nvPr userDrawn="1"/>
        </p:nvSpPr>
        <p:spPr bwMode="auto">
          <a:xfrm>
            <a:off x="3777992" y="5266340"/>
            <a:ext cx="537976" cy="537976"/>
          </a:xfrm>
          <a:prstGeom prst="ellipse">
            <a:avLst/>
          </a:prstGeom>
          <a:solidFill>
            <a:schemeClr val="tx2"/>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a:latin typeface="Arial" pitchFamily="124" charset="0"/>
            </a:endParaRPr>
          </a:p>
        </p:txBody>
      </p:sp>
      <p:sp>
        <p:nvSpPr>
          <p:cNvPr id="23" name="Text Placeholder 7">
            <a:extLst>
              <a:ext uri="{FF2B5EF4-FFF2-40B4-BE49-F238E27FC236}">
                <a16:creationId xmlns:a16="http://schemas.microsoft.com/office/drawing/2014/main" id="{55D954F8-8B36-8844-BF7D-EB16474A260C}"/>
              </a:ext>
            </a:extLst>
          </p:cNvPr>
          <p:cNvSpPr>
            <a:spLocks noGrp="1"/>
          </p:cNvSpPr>
          <p:nvPr>
            <p:ph type="body" sz="quarter" idx="17" hasCustomPrompt="1"/>
          </p:nvPr>
        </p:nvSpPr>
        <p:spPr>
          <a:xfrm>
            <a:off x="4439413" y="5418689"/>
            <a:ext cx="6611110" cy="201209"/>
          </a:xfrm>
          <a:prstGeom prst="rect">
            <a:avLst/>
          </a:prstGeom>
        </p:spPr>
        <p:txBody>
          <a:bodyPr wrap="square" lIns="0" tIns="0" rIns="0" bIns="0" anchor="t">
            <a:spAutoFit/>
          </a:bodyPr>
          <a:lstStyle>
            <a:lvl1pPr marL="0" indent="0">
              <a:buNone/>
              <a:defRPr sz="1200" b="0">
                <a:solidFill>
                  <a:schemeClr val="tx1"/>
                </a:solidFill>
              </a:defRPr>
            </a:lvl1pPr>
          </a:lstStyle>
          <a:p>
            <a:pPr lvl="0"/>
            <a:r>
              <a:rPr lang="en-US"/>
              <a:t>This is a placeholder</a:t>
            </a:r>
          </a:p>
        </p:txBody>
      </p:sp>
      <p:pic>
        <p:nvPicPr>
          <p:cNvPr id="26" name="Graphic 25">
            <a:extLst>
              <a:ext uri="{FF2B5EF4-FFF2-40B4-BE49-F238E27FC236}">
                <a16:creationId xmlns:a16="http://schemas.microsoft.com/office/drawing/2014/main" id="{473C00EB-CB00-3B47-A3E6-59E5D8D631A4}"/>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849846" y="5311914"/>
            <a:ext cx="420547" cy="420547"/>
          </a:xfrm>
          <a:prstGeom prst="rect">
            <a:avLst/>
          </a:prstGeom>
        </p:spPr>
      </p:pic>
    </p:spTree>
    <p:extLst>
      <p:ext uri="{BB962C8B-B14F-4D97-AF65-F5344CB8AC3E}">
        <p14:creationId xmlns:p14="http://schemas.microsoft.com/office/powerpoint/2010/main" val="952264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744">
          <p15:clr>
            <a:srgbClr val="FBAE40"/>
          </p15:clr>
        </p15:guide>
        <p15:guide id="3" pos="3936">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3 Column">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42EC3-BB61-5A42-8BF1-1D2972BB044D}"/>
              </a:ext>
            </a:extLst>
          </p:cNvPr>
          <p:cNvSpPr>
            <a:spLocks noGrp="1"/>
          </p:cNvSpPr>
          <p:nvPr>
            <p:ph type="title"/>
          </p:nvPr>
        </p:nvSpPr>
        <p:spPr/>
        <p:txBody>
          <a:bodyPr/>
          <a:lstStyle/>
          <a:p>
            <a:r>
              <a:rPr lang="en-US"/>
              <a:t>Click to edit Master title style</a:t>
            </a:r>
          </a:p>
        </p:txBody>
      </p:sp>
      <p:sp>
        <p:nvSpPr>
          <p:cNvPr id="7" name="Slide Number Placeholder 11">
            <a:extLst>
              <a:ext uri="{FF2B5EF4-FFF2-40B4-BE49-F238E27FC236}">
                <a16:creationId xmlns:a16="http://schemas.microsoft.com/office/drawing/2014/main" id="{F81445D8-D3A2-A446-B35B-0A1E9B448962}"/>
              </a:ext>
            </a:extLst>
          </p:cNvPr>
          <p:cNvSpPr>
            <a:spLocks noGrp="1"/>
          </p:cNvSpPr>
          <p:nvPr>
            <p:ph type="sldNum" sz="quarter" idx="10"/>
          </p:nvPr>
        </p:nvSpPr>
        <p:spPr>
          <a:xfrm>
            <a:off x="1" y="6553200"/>
            <a:ext cx="304799" cy="304799"/>
          </a:xfrm>
        </p:spPr>
        <p:txBody>
          <a:bodyPr lIns="0" tIns="0" rIns="0" bIns="0"/>
          <a:lstStyle/>
          <a:p>
            <a:fld id="{89006F1E-66CD-4A4B-9370-B4A3080F0E6C}" type="slidenum">
              <a:rPr lang="en-US" smtClean="0"/>
              <a:pPr/>
              <a:t>‹#›</a:t>
            </a:fld>
            <a:endParaRPr lang="en-US"/>
          </a:p>
        </p:txBody>
      </p:sp>
      <p:sp>
        <p:nvSpPr>
          <p:cNvPr id="8" name="Footer Placeholder 1">
            <a:extLst>
              <a:ext uri="{FF2B5EF4-FFF2-40B4-BE49-F238E27FC236}">
                <a16:creationId xmlns:a16="http://schemas.microsoft.com/office/drawing/2014/main" id="{31F7B133-5860-D54B-A498-14C05567C68D}"/>
              </a:ext>
            </a:extLst>
          </p:cNvPr>
          <p:cNvSpPr>
            <a:spLocks noGrp="1"/>
          </p:cNvSpPr>
          <p:nvPr>
            <p:ph type="ftr" sz="quarter" idx="14"/>
          </p:nvPr>
        </p:nvSpPr>
        <p:spPr>
          <a:xfrm>
            <a:off x="304799" y="6553201"/>
            <a:ext cx="5791201" cy="304800"/>
          </a:xfrm>
          <a:prstGeom prst="rect">
            <a:avLst/>
          </a:prstGeom>
        </p:spPr>
        <p:txBody>
          <a:bodyPr/>
          <a:lstStyle>
            <a:lvl1pPr>
              <a:defRPr>
                <a:solidFill>
                  <a:schemeClr val="accent5"/>
                </a:solidFill>
              </a:defRPr>
            </a:lvl1pPr>
          </a:lstStyle>
          <a:p>
            <a:r>
              <a:rPr lang="en-US">
                <a:ea typeface="MS PGothic" panose="020B0600070205080204" pitchFamily="34" charset="-128"/>
              </a:rPr>
              <a:t>Proprietary &amp; Confidential |  authoremail@thermofisher.com | 12-April-2021</a:t>
            </a:r>
          </a:p>
        </p:txBody>
      </p:sp>
      <p:sp>
        <p:nvSpPr>
          <p:cNvPr id="9" name="Text Placeholder 7">
            <a:extLst>
              <a:ext uri="{FF2B5EF4-FFF2-40B4-BE49-F238E27FC236}">
                <a16:creationId xmlns:a16="http://schemas.microsoft.com/office/drawing/2014/main" id="{7F606DC1-8556-AC4B-B621-1C8A6F92D688}"/>
              </a:ext>
            </a:extLst>
          </p:cNvPr>
          <p:cNvSpPr>
            <a:spLocks noGrp="1"/>
          </p:cNvSpPr>
          <p:nvPr>
            <p:ph type="body" sz="quarter" idx="15" hasCustomPrompt="1"/>
          </p:nvPr>
        </p:nvSpPr>
        <p:spPr>
          <a:xfrm>
            <a:off x="304797" y="6055756"/>
            <a:ext cx="11582400" cy="489204"/>
          </a:xfrm>
          <a:prstGeom prst="rect">
            <a:avLst/>
          </a:prstGeom>
        </p:spPr>
        <p:txBody>
          <a:bodyPr anchor="b">
            <a:normAutofit/>
          </a:bodyPr>
          <a:lstStyle>
            <a:lvl1pPr marL="0" indent="0">
              <a:spcBef>
                <a:spcPts val="100"/>
              </a:spcBef>
              <a:buNone/>
              <a:defRPr sz="1000">
                <a:solidFill>
                  <a:schemeClr val="accent5"/>
                </a:solidFill>
              </a:defRPr>
            </a:lvl1pPr>
          </a:lstStyle>
          <a:p>
            <a:pPr lvl="0"/>
            <a:r>
              <a:rPr lang="en-US"/>
              <a:t>Source notes</a:t>
            </a:r>
          </a:p>
        </p:txBody>
      </p:sp>
      <p:sp>
        <p:nvSpPr>
          <p:cNvPr id="17" name="Text Placeholder 7">
            <a:extLst>
              <a:ext uri="{FF2B5EF4-FFF2-40B4-BE49-F238E27FC236}">
                <a16:creationId xmlns:a16="http://schemas.microsoft.com/office/drawing/2014/main" id="{C194A5C4-4D4E-424D-8DC1-C1FCDF1A8FC5}"/>
              </a:ext>
            </a:extLst>
          </p:cNvPr>
          <p:cNvSpPr>
            <a:spLocks noGrp="1"/>
          </p:cNvSpPr>
          <p:nvPr>
            <p:ph type="body" sz="quarter" idx="11" hasCustomPrompt="1"/>
          </p:nvPr>
        </p:nvSpPr>
        <p:spPr>
          <a:xfrm>
            <a:off x="300226" y="893063"/>
            <a:ext cx="11591547" cy="381001"/>
          </a:xfrm>
          <a:prstGeom prst="rect">
            <a:avLst/>
          </a:prstGeom>
        </p:spPr>
        <p:txBody>
          <a:bodyPr lIns="0" tIns="0" rIns="0" bIns="0" anchor="t">
            <a:noAutofit/>
          </a:bodyPr>
          <a:lstStyle>
            <a:lvl1pPr marL="0" indent="0">
              <a:buNone/>
              <a:defRPr sz="2000">
                <a:solidFill>
                  <a:schemeClr val="tx1"/>
                </a:solidFill>
              </a:defRPr>
            </a:lvl1pPr>
          </a:lstStyle>
          <a:p>
            <a:pPr lvl="0"/>
            <a:r>
              <a:rPr lang="en-US"/>
              <a:t>Click to add </a:t>
            </a:r>
            <a:r>
              <a:rPr lang="en-US" err="1"/>
              <a:t>subheader</a:t>
            </a:r>
            <a:endParaRPr lang="en-US"/>
          </a:p>
        </p:txBody>
      </p:sp>
      <p:sp>
        <p:nvSpPr>
          <p:cNvPr id="18" name="Content Placeholder 3">
            <a:extLst>
              <a:ext uri="{FF2B5EF4-FFF2-40B4-BE49-F238E27FC236}">
                <a16:creationId xmlns:a16="http://schemas.microsoft.com/office/drawing/2014/main" id="{22065214-DE69-2246-B1F9-8B166D25671B}"/>
              </a:ext>
            </a:extLst>
          </p:cNvPr>
          <p:cNvSpPr>
            <a:spLocks noGrp="1"/>
          </p:cNvSpPr>
          <p:nvPr>
            <p:ph sz="quarter" idx="18"/>
          </p:nvPr>
        </p:nvSpPr>
        <p:spPr>
          <a:xfrm>
            <a:off x="304800" y="1447800"/>
            <a:ext cx="3657600" cy="4607954"/>
          </a:xfrm>
          <a:prstGeom prst="rect">
            <a:avLst/>
          </a:prstGeo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a:extLst>
              <a:ext uri="{FF2B5EF4-FFF2-40B4-BE49-F238E27FC236}">
                <a16:creationId xmlns:a16="http://schemas.microsoft.com/office/drawing/2014/main" id="{DE333DB3-CD71-1F4D-8ECF-51D4B490DCCC}"/>
              </a:ext>
            </a:extLst>
          </p:cNvPr>
          <p:cNvSpPr>
            <a:spLocks noGrp="1"/>
          </p:cNvSpPr>
          <p:nvPr>
            <p:ph sz="quarter" idx="19"/>
          </p:nvPr>
        </p:nvSpPr>
        <p:spPr>
          <a:xfrm>
            <a:off x="4267201" y="1447800"/>
            <a:ext cx="3657600" cy="4607954"/>
          </a:xfrm>
          <a:prstGeom prst="rect">
            <a:avLst/>
          </a:prstGeo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3">
            <a:extLst>
              <a:ext uri="{FF2B5EF4-FFF2-40B4-BE49-F238E27FC236}">
                <a16:creationId xmlns:a16="http://schemas.microsoft.com/office/drawing/2014/main" id="{8514F710-85FB-F040-B3B5-8573DB7FE6FE}"/>
              </a:ext>
            </a:extLst>
          </p:cNvPr>
          <p:cNvSpPr>
            <a:spLocks noGrp="1"/>
          </p:cNvSpPr>
          <p:nvPr>
            <p:ph sz="quarter" idx="21"/>
          </p:nvPr>
        </p:nvSpPr>
        <p:spPr>
          <a:xfrm>
            <a:off x="8229594" y="1447800"/>
            <a:ext cx="3657603" cy="4607954"/>
          </a:xfrm>
          <a:prstGeom prst="rect">
            <a:avLst/>
          </a:prstGeo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05838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_Title (No Content)">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FCD351-FB49-4649-BD51-7F2228F8A180}"/>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7" name="Takeaway Placeholder">
            <a:extLst>
              <a:ext uri="{FF2B5EF4-FFF2-40B4-BE49-F238E27FC236}">
                <a16:creationId xmlns:a16="http://schemas.microsoft.com/office/drawing/2014/main" id="{C1053C4D-3245-41E9-BC79-2133D6EFE62D}"/>
              </a:ext>
            </a:extLst>
          </p:cNvPr>
          <p:cNvSpPr>
            <a:spLocks noGrp="1"/>
          </p:cNvSpPr>
          <p:nvPr>
            <p:ph type="body" sz="quarter" idx="12" hasCustomPrompt="1"/>
          </p:nvPr>
        </p:nvSpPr>
        <p:spPr>
          <a:xfrm>
            <a:off x="304797" y="6055756"/>
            <a:ext cx="11586976" cy="489204"/>
          </a:xfrm>
          <a:prstGeom prst="parallelogram">
            <a:avLst/>
          </a:prstGeom>
          <a:solidFill>
            <a:schemeClr val="tx2"/>
          </a:solidFill>
        </p:spPr>
        <p:txBody>
          <a:bodyPr wrap="none" lIns="91440" rIns="91440" anchor="ctr" anchorCtr="1">
            <a:noAutofit/>
          </a:bodyPr>
          <a:lstStyle>
            <a:lvl1pPr marL="0" indent="0">
              <a:lnSpc>
                <a:spcPct val="100000"/>
              </a:lnSpc>
              <a:spcBef>
                <a:spcPts val="0"/>
              </a:spcBef>
              <a:buNone/>
              <a:defRPr sz="2000" b="1">
                <a:solidFill>
                  <a:schemeClr val="bg1"/>
                </a:solidFill>
              </a:defRPr>
            </a:lvl1pPr>
          </a:lstStyle>
          <a:p>
            <a:pPr lvl="0"/>
            <a:r>
              <a:rPr lang="en-US"/>
              <a:t>takeaway option</a:t>
            </a:r>
          </a:p>
        </p:txBody>
      </p:sp>
      <p:sp>
        <p:nvSpPr>
          <p:cNvPr id="6" name="Text Placeholder 7">
            <a:extLst>
              <a:ext uri="{FF2B5EF4-FFF2-40B4-BE49-F238E27FC236}">
                <a16:creationId xmlns:a16="http://schemas.microsoft.com/office/drawing/2014/main" id="{AC6D37E8-5E1B-4025-9CB6-9AADD0B2F568}"/>
              </a:ext>
            </a:extLst>
          </p:cNvPr>
          <p:cNvSpPr>
            <a:spLocks noGrp="1"/>
          </p:cNvSpPr>
          <p:nvPr>
            <p:ph type="body" sz="quarter" idx="11" hasCustomPrompt="1"/>
          </p:nvPr>
        </p:nvSpPr>
        <p:spPr>
          <a:xfrm>
            <a:off x="300226" y="893063"/>
            <a:ext cx="11591547" cy="381001"/>
          </a:xfrm>
          <a:prstGeom prst="rect">
            <a:avLst/>
          </a:prstGeom>
        </p:spPr>
        <p:txBody>
          <a:bodyPr lIns="0" tIns="0" rIns="0" bIns="0" anchor="t">
            <a:noAutofit/>
          </a:bodyPr>
          <a:lstStyle>
            <a:lvl1pPr marL="0" indent="0">
              <a:buNone/>
              <a:defRPr sz="2000">
                <a:solidFill>
                  <a:schemeClr val="tx1"/>
                </a:solidFill>
              </a:defRPr>
            </a:lvl1pPr>
          </a:lstStyle>
          <a:p>
            <a:pPr lvl="0"/>
            <a:r>
              <a:rPr lang="en-US"/>
              <a:t>Click to add </a:t>
            </a:r>
            <a:r>
              <a:rPr lang="en-US" err="1"/>
              <a:t>subheader</a:t>
            </a:r>
            <a:endParaRPr lang="en-US"/>
          </a:p>
        </p:txBody>
      </p:sp>
      <p:sp>
        <p:nvSpPr>
          <p:cNvPr id="8" name="Slide Number Placeholder 11">
            <a:extLst>
              <a:ext uri="{FF2B5EF4-FFF2-40B4-BE49-F238E27FC236}">
                <a16:creationId xmlns:a16="http://schemas.microsoft.com/office/drawing/2014/main" id="{43FDEDB6-CE04-F84B-AAD3-991730DCA9C0}"/>
              </a:ext>
            </a:extLst>
          </p:cNvPr>
          <p:cNvSpPr>
            <a:spLocks noGrp="1"/>
          </p:cNvSpPr>
          <p:nvPr>
            <p:ph type="sldNum" sz="quarter" idx="10"/>
          </p:nvPr>
        </p:nvSpPr>
        <p:spPr>
          <a:xfrm>
            <a:off x="1" y="6553200"/>
            <a:ext cx="304799" cy="304799"/>
          </a:xfrm>
        </p:spPr>
        <p:txBody>
          <a:bodyPr lIns="0" tIns="0" rIns="0" bIns="0"/>
          <a:lstStyle/>
          <a:p>
            <a:fld id="{89006F1E-66CD-4A4B-9370-B4A3080F0E6C}" type="slidenum">
              <a:rPr lang="en-US" smtClean="0"/>
              <a:pPr/>
              <a:t>‹#›</a:t>
            </a:fld>
            <a:endParaRPr lang="en-US"/>
          </a:p>
        </p:txBody>
      </p:sp>
      <p:sp>
        <p:nvSpPr>
          <p:cNvPr id="9" name="Footer Placeholder 1">
            <a:extLst>
              <a:ext uri="{FF2B5EF4-FFF2-40B4-BE49-F238E27FC236}">
                <a16:creationId xmlns:a16="http://schemas.microsoft.com/office/drawing/2014/main" id="{D91B50C1-7025-B243-9430-602CDE810AAB}"/>
              </a:ext>
            </a:extLst>
          </p:cNvPr>
          <p:cNvSpPr>
            <a:spLocks noGrp="1"/>
          </p:cNvSpPr>
          <p:nvPr>
            <p:ph type="ftr" sz="quarter" idx="13"/>
          </p:nvPr>
        </p:nvSpPr>
        <p:spPr>
          <a:xfrm>
            <a:off x="304799" y="6553201"/>
            <a:ext cx="5791201" cy="304800"/>
          </a:xfrm>
          <a:prstGeom prst="rect">
            <a:avLst/>
          </a:prstGeom>
        </p:spPr>
        <p:txBody>
          <a:bodyPr/>
          <a:lstStyle>
            <a:lvl1pPr>
              <a:defRPr>
                <a:solidFill>
                  <a:schemeClr val="accent5"/>
                </a:solidFill>
              </a:defRPr>
            </a:lvl1pPr>
          </a:lstStyle>
          <a:p>
            <a:r>
              <a:rPr lang="en-US">
                <a:ea typeface="MS PGothic" panose="020B0600070205080204" pitchFamily="34" charset="-128"/>
              </a:rPr>
              <a:t>Proprietary &amp; Confidential |  authoremail@thermofisher.com | 12-April-2021</a:t>
            </a:r>
          </a:p>
        </p:txBody>
      </p:sp>
    </p:spTree>
    <p:extLst>
      <p:ext uri="{BB962C8B-B14F-4D97-AF65-F5344CB8AC3E}">
        <p14:creationId xmlns:p14="http://schemas.microsoft.com/office/powerpoint/2010/main" val="1485440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744">
          <p15:clr>
            <a:srgbClr val="FBAE40"/>
          </p15:clr>
        </p15:guide>
        <p15:guide id="3" pos="3936">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_Title (No Content)">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FCD351-FB49-4649-BD51-7F2228F8A180}"/>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6" name="Text Placeholder 7">
            <a:extLst>
              <a:ext uri="{FF2B5EF4-FFF2-40B4-BE49-F238E27FC236}">
                <a16:creationId xmlns:a16="http://schemas.microsoft.com/office/drawing/2014/main" id="{AC6D37E8-5E1B-4025-9CB6-9AADD0B2F568}"/>
              </a:ext>
            </a:extLst>
          </p:cNvPr>
          <p:cNvSpPr>
            <a:spLocks noGrp="1"/>
          </p:cNvSpPr>
          <p:nvPr>
            <p:ph type="body" sz="quarter" idx="11" hasCustomPrompt="1"/>
          </p:nvPr>
        </p:nvSpPr>
        <p:spPr>
          <a:xfrm>
            <a:off x="300226" y="893063"/>
            <a:ext cx="11591547" cy="381001"/>
          </a:xfrm>
          <a:prstGeom prst="rect">
            <a:avLst/>
          </a:prstGeom>
        </p:spPr>
        <p:txBody>
          <a:bodyPr lIns="0" tIns="0" rIns="0" bIns="0" anchor="t">
            <a:noAutofit/>
          </a:bodyPr>
          <a:lstStyle>
            <a:lvl1pPr marL="0" indent="0">
              <a:buNone/>
              <a:defRPr sz="2000">
                <a:solidFill>
                  <a:schemeClr val="tx1"/>
                </a:solidFill>
              </a:defRPr>
            </a:lvl1pPr>
          </a:lstStyle>
          <a:p>
            <a:pPr lvl="0"/>
            <a:r>
              <a:rPr lang="en-US"/>
              <a:t>Click to add </a:t>
            </a:r>
            <a:r>
              <a:rPr lang="en-US" err="1"/>
              <a:t>subheader</a:t>
            </a:r>
            <a:endParaRPr lang="en-US"/>
          </a:p>
        </p:txBody>
      </p:sp>
      <p:sp>
        <p:nvSpPr>
          <p:cNvPr id="8" name="Slide Number Placeholder 11">
            <a:extLst>
              <a:ext uri="{FF2B5EF4-FFF2-40B4-BE49-F238E27FC236}">
                <a16:creationId xmlns:a16="http://schemas.microsoft.com/office/drawing/2014/main" id="{43FDEDB6-CE04-F84B-AAD3-991730DCA9C0}"/>
              </a:ext>
            </a:extLst>
          </p:cNvPr>
          <p:cNvSpPr>
            <a:spLocks noGrp="1"/>
          </p:cNvSpPr>
          <p:nvPr>
            <p:ph type="sldNum" sz="quarter" idx="10"/>
          </p:nvPr>
        </p:nvSpPr>
        <p:spPr>
          <a:xfrm>
            <a:off x="1" y="6553200"/>
            <a:ext cx="304799" cy="304799"/>
          </a:xfrm>
        </p:spPr>
        <p:txBody>
          <a:bodyPr lIns="0" tIns="0" rIns="0" bIns="0"/>
          <a:lstStyle/>
          <a:p>
            <a:fld id="{89006F1E-66CD-4A4B-9370-B4A3080F0E6C}" type="slidenum">
              <a:rPr lang="en-US" smtClean="0"/>
              <a:pPr/>
              <a:t>‹#›</a:t>
            </a:fld>
            <a:endParaRPr lang="en-US"/>
          </a:p>
        </p:txBody>
      </p:sp>
      <p:sp>
        <p:nvSpPr>
          <p:cNvPr id="9" name="Footer Placeholder 1">
            <a:extLst>
              <a:ext uri="{FF2B5EF4-FFF2-40B4-BE49-F238E27FC236}">
                <a16:creationId xmlns:a16="http://schemas.microsoft.com/office/drawing/2014/main" id="{D91B50C1-7025-B243-9430-602CDE810AAB}"/>
              </a:ext>
            </a:extLst>
          </p:cNvPr>
          <p:cNvSpPr>
            <a:spLocks noGrp="1"/>
          </p:cNvSpPr>
          <p:nvPr>
            <p:ph type="ftr" sz="quarter" idx="13"/>
          </p:nvPr>
        </p:nvSpPr>
        <p:spPr>
          <a:xfrm>
            <a:off x="304799" y="6553201"/>
            <a:ext cx="5791201" cy="304800"/>
          </a:xfrm>
          <a:prstGeom prst="rect">
            <a:avLst/>
          </a:prstGeom>
        </p:spPr>
        <p:txBody>
          <a:bodyPr/>
          <a:lstStyle>
            <a:lvl1pPr>
              <a:defRPr>
                <a:solidFill>
                  <a:schemeClr val="accent5"/>
                </a:solidFill>
              </a:defRPr>
            </a:lvl1pPr>
          </a:lstStyle>
          <a:p>
            <a:r>
              <a:rPr lang="en-US">
                <a:ea typeface="MS PGothic" panose="020B0600070205080204" pitchFamily="34" charset="-128"/>
              </a:rPr>
              <a:t>Proprietary &amp; Confidential |  authoremail@thermofisher.com | 12-April-2021</a:t>
            </a:r>
          </a:p>
        </p:txBody>
      </p:sp>
      <p:sp>
        <p:nvSpPr>
          <p:cNvPr id="10" name="Rectangle 9">
            <a:extLst>
              <a:ext uri="{FF2B5EF4-FFF2-40B4-BE49-F238E27FC236}">
                <a16:creationId xmlns:a16="http://schemas.microsoft.com/office/drawing/2014/main" id="{F1B5D930-3612-BD45-B62C-7ED6FAB6CF51}"/>
              </a:ext>
            </a:extLst>
          </p:cNvPr>
          <p:cNvSpPr/>
          <p:nvPr userDrawn="1"/>
        </p:nvSpPr>
        <p:spPr bwMode="auto">
          <a:xfrm>
            <a:off x="496389" y="2919718"/>
            <a:ext cx="2130824" cy="2425377"/>
          </a:xfrm>
          <a:prstGeom prst="rect">
            <a:avLst/>
          </a:prstGeom>
          <a:solidFill>
            <a:schemeClr val="tx2"/>
          </a:solidFill>
          <a:ln w="38100" cap="flat" cmpd="sng" algn="ctr">
            <a:noFill/>
            <a:prstDash val="solid"/>
            <a:round/>
            <a:headEnd type="none" w="med" len="med"/>
            <a:tailEnd type="none" w="med" len="med"/>
          </a:ln>
          <a:effectLst>
            <a:outerShdw blurRad="88900" dist="76200" dir="2820000" algn="ctr" rotWithShape="0">
              <a:srgbClr val="000000">
                <a:alpha val="15000"/>
              </a:srgb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US" sz="1800">
              <a:latin typeface="Arial" pitchFamily="124" charset="0"/>
            </a:endParaRPr>
          </a:p>
        </p:txBody>
      </p:sp>
      <p:sp>
        <p:nvSpPr>
          <p:cNvPr id="11" name="Rectangle 10">
            <a:extLst>
              <a:ext uri="{FF2B5EF4-FFF2-40B4-BE49-F238E27FC236}">
                <a16:creationId xmlns:a16="http://schemas.microsoft.com/office/drawing/2014/main" id="{117FCB4F-B423-8E4D-B607-5CEA8C60DC8A}"/>
              </a:ext>
            </a:extLst>
          </p:cNvPr>
          <p:cNvSpPr/>
          <p:nvPr userDrawn="1"/>
        </p:nvSpPr>
        <p:spPr bwMode="auto">
          <a:xfrm>
            <a:off x="2763488" y="2919718"/>
            <a:ext cx="2130824" cy="2425377"/>
          </a:xfrm>
          <a:prstGeom prst="rect">
            <a:avLst/>
          </a:prstGeom>
          <a:solidFill>
            <a:schemeClr val="accent1"/>
          </a:solidFill>
          <a:ln w="38100" cap="flat" cmpd="sng" algn="ctr">
            <a:noFill/>
            <a:prstDash val="solid"/>
            <a:round/>
            <a:headEnd type="none" w="med" len="med"/>
            <a:tailEnd type="none" w="med" len="med"/>
          </a:ln>
          <a:effectLst>
            <a:outerShdw blurRad="88900" dist="76200" dir="2820000" algn="ctr" rotWithShape="0">
              <a:srgbClr val="000000">
                <a:alpha val="15000"/>
              </a:srgb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US" sz="1800">
              <a:latin typeface="Arial" pitchFamily="124" charset="0"/>
            </a:endParaRPr>
          </a:p>
        </p:txBody>
      </p:sp>
      <p:sp>
        <p:nvSpPr>
          <p:cNvPr id="12" name="Rectangle 11">
            <a:extLst>
              <a:ext uri="{FF2B5EF4-FFF2-40B4-BE49-F238E27FC236}">
                <a16:creationId xmlns:a16="http://schemas.microsoft.com/office/drawing/2014/main" id="{A576DF9A-D9D3-6043-8ED7-8EDFFF3ECF00}"/>
              </a:ext>
            </a:extLst>
          </p:cNvPr>
          <p:cNvSpPr/>
          <p:nvPr userDrawn="1"/>
        </p:nvSpPr>
        <p:spPr bwMode="auto">
          <a:xfrm>
            <a:off x="5030588" y="2919718"/>
            <a:ext cx="2130824" cy="2425377"/>
          </a:xfrm>
          <a:prstGeom prst="rect">
            <a:avLst/>
          </a:prstGeom>
          <a:solidFill>
            <a:schemeClr val="accent2"/>
          </a:solidFill>
          <a:ln w="38100" cap="flat" cmpd="sng" algn="ctr">
            <a:noFill/>
            <a:prstDash val="solid"/>
            <a:round/>
            <a:headEnd type="none" w="med" len="med"/>
            <a:tailEnd type="none" w="med" len="med"/>
          </a:ln>
          <a:effectLst>
            <a:outerShdw blurRad="88900" dist="76200" dir="2820000" algn="ctr" rotWithShape="0">
              <a:srgbClr val="000000">
                <a:alpha val="15000"/>
              </a:srgb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US" sz="1800">
              <a:latin typeface="Arial" pitchFamily="124" charset="0"/>
            </a:endParaRPr>
          </a:p>
        </p:txBody>
      </p:sp>
      <p:sp>
        <p:nvSpPr>
          <p:cNvPr id="13" name="Rectangle 12">
            <a:extLst>
              <a:ext uri="{FF2B5EF4-FFF2-40B4-BE49-F238E27FC236}">
                <a16:creationId xmlns:a16="http://schemas.microsoft.com/office/drawing/2014/main" id="{92C6A6FD-B06D-F64A-8339-2078C74AC0A2}"/>
              </a:ext>
            </a:extLst>
          </p:cNvPr>
          <p:cNvSpPr/>
          <p:nvPr userDrawn="1"/>
        </p:nvSpPr>
        <p:spPr bwMode="auto">
          <a:xfrm>
            <a:off x="7297688" y="2919718"/>
            <a:ext cx="2130824" cy="2425377"/>
          </a:xfrm>
          <a:prstGeom prst="rect">
            <a:avLst/>
          </a:prstGeom>
          <a:solidFill>
            <a:schemeClr val="accent4"/>
          </a:solidFill>
          <a:ln w="38100" cap="flat" cmpd="sng" algn="ctr">
            <a:noFill/>
            <a:prstDash val="solid"/>
            <a:round/>
            <a:headEnd type="none" w="med" len="med"/>
            <a:tailEnd type="none" w="med" len="med"/>
          </a:ln>
          <a:effectLst>
            <a:outerShdw blurRad="88900" dist="76200" dir="2820000" algn="ctr" rotWithShape="0">
              <a:srgbClr val="000000">
                <a:alpha val="15000"/>
              </a:srgb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US" sz="1800">
              <a:latin typeface="Arial" pitchFamily="124" charset="0"/>
            </a:endParaRPr>
          </a:p>
        </p:txBody>
      </p:sp>
      <p:sp>
        <p:nvSpPr>
          <p:cNvPr id="14" name="Rectangle 13">
            <a:extLst>
              <a:ext uri="{FF2B5EF4-FFF2-40B4-BE49-F238E27FC236}">
                <a16:creationId xmlns:a16="http://schemas.microsoft.com/office/drawing/2014/main" id="{4C074A88-88DB-6D47-9664-ACE898699570}"/>
              </a:ext>
            </a:extLst>
          </p:cNvPr>
          <p:cNvSpPr/>
          <p:nvPr userDrawn="1"/>
        </p:nvSpPr>
        <p:spPr bwMode="auto">
          <a:xfrm>
            <a:off x="9564787" y="2919718"/>
            <a:ext cx="2130824" cy="2425377"/>
          </a:xfrm>
          <a:prstGeom prst="rect">
            <a:avLst/>
          </a:prstGeom>
          <a:solidFill>
            <a:schemeClr val="accent6"/>
          </a:solidFill>
          <a:ln w="38100" cap="flat" cmpd="sng" algn="ctr">
            <a:noFill/>
            <a:prstDash val="solid"/>
            <a:round/>
            <a:headEnd type="none" w="med" len="med"/>
            <a:tailEnd type="none" w="med" len="med"/>
          </a:ln>
          <a:effectLst>
            <a:outerShdw blurRad="88900" dist="76200" dir="2820000" algn="ctr" rotWithShape="0">
              <a:srgbClr val="000000">
                <a:alpha val="15000"/>
              </a:srgb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US" sz="1800">
              <a:latin typeface="Arial" pitchFamily="124" charset="0"/>
            </a:endParaRPr>
          </a:p>
        </p:txBody>
      </p:sp>
      <p:sp>
        <p:nvSpPr>
          <p:cNvPr id="20" name="Oval 19">
            <a:extLst>
              <a:ext uri="{FF2B5EF4-FFF2-40B4-BE49-F238E27FC236}">
                <a16:creationId xmlns:a16="http://schemas.microsoft.com/office/drawing/2014/main" id="{260033AB-CE0E-C447-8B86-AB7C52A3E666}"/>
              </a:ext>
            </a:extLst>
          </p:cNvPr>
          <p:cNvSpPr/>
          <p:nvPr userDrawn="1"/>
        </p:nvSpPr>
        <p:spPr bwMode="auto">
          <a:xfrm>
            <a:off x="3148119" y="2196952"/>
            <a:ext cx="1371600" cy="1371600"/>
          </a:xfrm>
          <a:prstGeom prst="ellipse">
            <a:avLst/>
          </a:prstGeom>
          <a:solidFill>
            <a:schemeClr val="bg1"/>
          </a:solidFill>
          <a:ln w="9525" cap="flat" cmpd="sng" algn="ctr">
            <a:noFill/>
            <a:prstDash val="solid"/>
            <a:round/>
            <a:headEnd type="none" w="med" len="med"/>
            <a:tailEnd type="none" w="med" len="med"/>
          </a:ln>
          <a:effectLst>
            <a:outerShdw blurRad="88900" dist="76200" dir="2820000" algn="ctr" rotWithShape="0">
              <a:srgbClr val="000000">
                <a:alpha val="15000"/>
              </a:srgb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US" sz="1800">
              <a:latin typeface="Arial" pitchFamily="124" charset="0"/>
            </a:endParaRPr>
          </a:p>
        </p:txBody>
      </p:sp>
      <p:sp>
        <p:nvSpPr>
          <p:cNvPr id="21" name="Oval 20">
            <a:extLst>
              <a:ext uri="{FF2B5EF4-FFF2-40B4-BE49-F238E27FC236}">
                <a16:creationId xmlns:a16="http://schemas.microsoft.com/office/drawing/2014/main" id="{150DEADF-01AC-8148-BD53-727C5E262E0E}"/>
              </a:ext>
            </a:extLst>
          </p:cNvPr>
          <p:cNvSpPr/>
          <p:nvPr userDrawn="1"/>
        </p:nvSpPr>
        <p:spPr bwMode="auto">
          <a:xfrm>
            <a:off x="3247546" y="2299695"/>
            <a:ext cx="1172746" cy="1172746"/>
          </a:xfrm>
          <a:prstGeom prst="ellipse">
            <a:avLst/>
          </a:prstGeom>
          <a:noFill/>
          <a:ln w="44450" cap="flat" cmpd="sng" algn="ctr">
            <a:solidFill>
              <a:schemeClr val="accent1"/>
            </a:solidFill>
            <a:prstDash val="solid"/>
            <a:round/>
            <a:headEnd type="none" w="med" len="med"/>
            <a:tailEnd type="none" w="med" len="med"/>
          </a:ln>
          <a:effectLst>
            <a:outerShdw blurRad="88900" dist="76200" dir="2820000" algn="ctr" rotWithShape="0">
              <a:srgbClr val="000000">
                <a:alpha val="15000"/>
              </a:srgb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US" sz="1800">
              <a:latin typeface="Arial" pitchFamily="124" charset="0"/>
            </a:endParaRPr>
          </a:p>
        </p:txBody>
      </p:sp>
      <p:sp>
        <p:nvSpPr>
          <p:cNvPr id="22" name="Oval 21">
            <a:extLst>
              <a:ext uri="{FF2B5EF4-FFF2-40B4-BE49-F238E27FC236}">
                <a16:creationId xmlns:a16="http://schemas.microsoft.com/office/drawing/2014/main" id="{F9DD5BD5-1FE2-0B44-84F3-529BB82CD0E5}"/>
              </a:ext>
            </a:extLst>
          </p:cNvPr>
          <p:cNvSpPr/>
          <p:nvPr userDrawn="1"/>
        </p:nvSpPr>
        <p:spPr bwMode="auto">
          <a:xfrm>
            <a:off x="5415218" y="2196952"/>
            <a:ext cx="1371600" cy="1371600"/>
          </a:xfrm>
          <a:prstGeom prst="ellipse">
            <a:avLst/>
          </a:prstGeom>
          <a:solidFill>
            <a:schemeClr val="bg1"/>
          </a:solidFill>
          <a:ln w="9525" cap="flat" cmpd="sng" algn="ctr">
            <a:noFill/>
            <a:prstDash val="solid"/>
            <a:round/>
            <a:headEnd type="none" w="med" len="med"/>
            <a:tailEnd type="none" w="med" len="med"/>
          </a:ln>
          <a:effectLst>
            <a:outerShdw blurRad="88900" dist="76200" dir="2820000" algn="ctr" rotWithShape="0">
              <a:srgbClr val="000000">
                <a:alpha val="15000"/>
              </a:srgb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US" sz="1800">
              <a:latin typeface="Arial" pitchFamily="124" charset="0"/>
            </a:endParaRPr>
          </a:p>
        </p:txBody>
      </p:sp>
      <p:sp>
        <p:nvSpPr>
          <p:cNvPr id="23" name="Oval 22">
            <a:extLst>
              <a:ext uri="{FF2B5EF4-FFF2-40B4-BE49-F238E27FC236}">
                <a16:creationId xmlns:a16="http://schemas.microsoft.com/office/drawing/2014/main" id="{E70CF25A-5E1C-3D42-8BD0-7EFF61838770}"/>
              </a:ext>
            </a:extLst>
          </p:cNvPr>
          <p:cNvSpPr/>
          <p:nvPr userDrawn="1"/>
        </p:nvSpPr>
        <p:spPr bwMode="auto">
          <a:xfrm>
            <a:off x="5521190" y="2299695"/>
            <a:ext cx="1172746" cy="1172746"/>
          </a:xfrm>
          <a:prstGeom prst="ellipse">
            <a:avLst/>
          </a:prstGeom>
          <a:noFill/>
          <a:ln w="44450" cap="flat" cmpd="sng" algn="ctr">
            <a:solidFill>
              <a:schemeClr val="accent2"/>
            </a:solidFill>
            <a:prstDash val="solid"/>
            <a:round/>
            <a:headEnd type="none" w="med" len="med"/>
            <a:tailEnd type="none" w="med" len="med"/>
          </a:ln>
          <a:effectLst>
            <a:outerShdw blurRad="88900" dist="76200" dir="2820000" algn="ctr" rotWithShape="0">
              <a:srgbClr val="000000">
                <a:alpha val="15000"/>
              </a:srgb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US" sz="1800">
              <a:latin typeface="Arial" pitchFamily="124" charset="0"/>
            </a:endParaRPr>
          </a:p>
        </p:txBody>
      </p:sp>
      <p:sp>
        <p:nvSpPr>
          <p:cNvPr id="24" name="Oval 23">
            <a:extLst>
              <a:ext uri="{FF2B5EF4-FFF2-40B4-BE49-F238E27FC236}">
                <a16:creationId xmlns:a16="http://schemas.microsoft.com/office/drawing/2014/main" id="{110A8B8C-77C1-3D4E-939E-1DEFA45CB4C2}"/>
              </a:ext>
            </a:extLst>
          </p:cNvPr>
          <p:cNvSpPr/>
          <p:nvPr userDrawn="1"/>
        </p:nvSpPr>
        <p:spPr bwMode="auto">
          <a:xfrm>
            <a:off x="7700178" y="2219437"/>
            <a:ext cx="1371600" cy="1371600"/>
          </a:xfrm>
          <a:prstGeom prst="ellipse">
            <a:avLst/>
          </a:prstGeom>
          <a:solidFill>
            <a:schemeClr val="bg1"/>
          </a:solidFill>
          <a:ln w="9525" cap="flat" cmpd="sng" algn="ctr">
            <a:noFill/>
            <a:prstDash val="solid"/>
            <a:round/>
            <a:headEnd type="none" w="med" len="med"/>
            <a:tailEnd type="none" w="med" len="med"/>
          </a:ln>
          <a:effectLst>
            <a:outerShdw blurRad="88900" dist="76200" dir="2820000" algn="ctr" rotWithShape="0">
              <a:srgbClr val="000000">
                <a:alpha val="15000"/>
              </a:srgb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US" sz="1800">
              <a:latin typeface="Arial" pitchFamily="124" charset="0"/>
            </a:endParaRPr>
          </a:p>
        </p:txBody>
      </p:sp>
      <p:sp>
        <p:nvSpPr>
          <p:cNvPr id="25" name="Oval 24">
            <a:extLst>
              <a:ext uri="{FF2B5EF4-FFF2-40B4-BE49-F238E27FC236}">
                <a16:creationId xmlns:a16="http://schemas.microsoft.com/office/drawing/2014/main" id="{9CCC2C92-A135-084A-9797-27FEB83AAFF1}"/>
              </a:ext>
            </a:extLst>
          </p:cNvPr>
          <p:cNvSpPr/>
          <p:nvPr userDrawn="1"/>
        </p:nvSpPr>
        <p:spPr bwMode="auto">
          <a:xfrm>
            <a:off x="7797773" y="2322180"/>
            <a:ext cx="1172746" cy="1172746"/>
          </a:xfrm>
          <a:prstGeom prst="ellipse">
            <a:avLst/>
          </a:prstGeom>
          <a:noFill/>
          <a:ln w="44450" cap="flat" cmpd="sng" algn="ctr">
            <a:solidFill>
              <a:schemeClr val="accent4"/>
            </a:solidFill>
            <a:prstDash val="solid"/>
            <a:round/>
            <a:headEnd type="none" w="med" len="med"/>
            <a:tailEnd type="none" w="med" len="med"/>
          </a:ln>
          <a:effectLst>
            <a:outerShdw blurRad="88900" dist="76200" dir="2820000" algn="ctr" rotWithShape="0">
              <a:srgbClr val="000000">
                <a:alpha val="15000"/>
              </a:srgb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US" sz="1800">
              <a:latin typeface="Arial" pitchFamily="124" charset="0"/>
            </a:endParaRPr>
          </a:p>
        </p:txBody>
      </p:sp>
      <p:sp>
        <p:nvSpPr>
          <p:cNvPr id="26" name="Oval 25">
            <a:extLst>
              <a:ext uri="{FF2B5EF4-FFF2-40B4-BE49-F238E27FC236}">
                <a16:creationId xmlns:a16="http://schemas.microsoft.com/office/drawing/2014/main" id="{A8892C01-A020-D74F-84A5-66EFB4C84523}"/>
              </a:ext>
            </a:extLst>
          </p:cNvPr>
          <p:cNvSpPr/>
          <p:nvPr userDrawn="1"/>
        </p:nvSpPr>
        <p:spPr bwMode="auto">
          <a:xfrm>
            <a:off x="9949860" y="2215781"/>
            <a:ext cx="1371600" cy="1371600"/>
          </a:xfrm>
          <a:prstGeom prst="ellipse">
            <a:avLst/>
          </a:prstGeom>
          <a:solidFill>
            <a:schemeClr val="bg1"/>
          </a:solidFill>
          <a:ln w="9525" cap="flat" cmpd="sng" algn="ctr">
            <a:noFill/>
            <a:prstDash val="solid"/>
            <a:round/>
            <a:headEnd type="none" w="med" len="med"/>
            <a:tailEnd type="none" w="med" len="med"/>
          </a:ln>
          <a:effectLst>
            <a:outerShdw blurRad="88900" dist="76200" dir="2820000" algn="ctr" rotWithShape="0">
              <a:srgbClr val="000000">
                <a:alpha val="15000"/>
              </a:srgb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US" sz="1800">
              <a:latin typeface="Arial" pitchFamily="124" charset="0"/>
            </a:endParaRPr>
          </a:p>
        </p:txBody>
      </p:sp>
      <p:sp>
        <p:nvSpPr>
          <p:cNvPr id="27" name="Oval 26">
            <a:extLst>
              <a:ext uri="{FF2B5EF4-FFF2-40B4-BE49-F238E27FC236}">
                <a16:creationId xmlns:a16="http://schemas.microsoft.com/office/drawing/2014/main" id="{6C6A5D1B-7AEA-D34E-BB12-7A3BB2D1B30C}"/>
              </a:ext>
            </a:extLst>
          </p:cNvPr>
          <p:cNvSpPr/>
          <p:nvPr userDrawn="1"/>
        </p:nvSpPr>
        <p:spPr bwMode="auto">
          <a:xfrm>
            <a:off x="10047455" y="2318524"/>
            <a:ext cx="1172746" cy="1172746"/>
          </a:xfrm>
          <a:prstGeom prst="ellipse">
            <a:avLst/>
          </a:prstGeom>
          <a:noFill/>
          <a:ln w="44450" cap="flat" cmpd="sng" algn="ctr">
            <a:solidFill>
              <a:schemeClr val="accent6"/>
            </a:solidFill>
            <a:prstDash val="solid"/>
            <a:round/>
            <a:headEnd type="none" w="med" len="med"/>
            <a:tailEnd type="none" w="med" len="med"/>
          </a:ln>
          <a:effectLst>
            <a:outerShdw blurRad="88900" dist="76200" dir="2820000" algn="ctr" rotWithShape="0">
              <a:srgbClr val="000000">
                <a:alpha val="15000"/>
              </a:srgb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US" sz="1800">
              <a:latin typeface="Arial" pitchFamily="124" charset="0"/>
            </a:endParaRPr>
          </a:p>
        </p:txBody>
      </p:sp>
      <p:grpSp>
        <p:nvGrpSpPr>
          <p:cNvPr id="28" name="Group 27">
            <a:extLst>
              <a:ext uri="{FF2B5EF4-FFF2-40B4-BE49-F238E27FC236}">
                <a16:creationId xmlns:a16="http://schemas.microsoft.com/office/drawing/2014/main" id="{919A6013-7488-524B-BFED-5767BF73DCBA}"/>
              </a:ext>
            </a:extLst>
          </p:cNvPr>
          <p:cNvGrpSpPr/>
          <p:nvPr userDrawn="1"/>
        </p:nvGrpSpPr>
        <p:grpSpPr>
          <a:xfrm>
            <a:off x="884710" y="2196952"/>
            <a:ext cx="1371600" cy="1371600"/>
            <a:chOff x="884710" y="1569631"/>
            <a:chExt cx="1371600" cy="1371600"/>
          </a:xfrm>
        </p:grpSpPr>
        <p:sp>
          <p:nvSpPr>
            <p:cNvPr id="29" name="Oval 28">
              <a:extLst>
                <a:ext uri="{FF2B5EF4-FFF2-40B4-BE49-F238E27FC236}">
                  <a16:creationId xmlns:a16="http://schemas.microsoft.com/office/drawing/2014/main" id="{0ED5BDFE-1138-CE40-872E-1839FA529F14}"/>
                </a:ext>
              </a:extLst>
            </p:cNvPr>
            <p:cNvSpPr/>
            <p:nvPr/>
          </p:nvSpPr>
          <p:spPr bwMode="auto">
            <a:xfrm>
              <a:off x="884710" y="1569631"/>
              <a:ext cx="1371600" cy="1371600"/>
            </a:xfrm>
            <a:prstGeom prst="ellipse">
              <a:avLst/>
            </a:prstGeom>
            <a:solidFill>
              <a:schemeClr val="bg1"/>
            </a:solidFill>
            <a:ln w="9525" cap="flat" cmpd="sng" algn="ctr">
              <a:noFill/>
              <a:prstDash val="solid"/>
              <a:round/>
              <a:headEnd type="none" w="med" len="med"/>
              <a:tailEnd type="none" w="med" len="med"/>
            </a:ln>
            <a:effectLst>
              <a:outerShdw blurRad="88900" dist="76200" dir="2820000" algn="ctr" rotWithShape="0">
                <a:srgbClr val="000000">
                  <a:alpha val="15000"/>
                </a:srgb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US" sz="1800">
                <a:latin typeface="Arial" pitchFamily="124" charset="0"/>
              </a:endParaRPr>
            </a:p>
          </p:txBody>
        </p:sp>
        <p:sp>
          <p:nvSpPr>
            <p:cNvPr id="30" name="Oval 29">
              <a:extLst>
                <a:ext uri="{FF2B5EF4-FFF2-40B4-BE49-F238E27FC236}">
                  <a16:creationId xmlns:a16="http://schemas.microsoft.com/office/drawing/2014/main" id="{691179E1-A3CB-354F-8D00-EB1087F593D2}"/>
                </a:ext>
              </a:extLst>
            </p:cNvPr>
            <p:cNvSpPr/>
            <p:nvPr/>
          </p:nvSpPr>
          <p:spPr bwMode="auto">
            <a:xfrm>
              <a:off x="986715" y="1671777"/>
              <a:ext cx="1172746" cy="1172746"/>
            </a:xfrm>
            <a:prstGeom prst="ellipse">
              <a:avLst/>
            </a:prstGeom>
            <a:noFill/>
            <a:ln w="44450" cap="flat" cmpd="sng" algn="ctr">
              <a:solidFill>
                <a:schemeClr val="tx2"/>
              </a:solidFill>
              <a:prstDash val="solid"/>
              <a:round/>
              <a:headEnd type="none" w="med" len="med"/>
              <a:tailEnd type="none" w="med" len="med"/>
            </a:ln>
            <a:effectLst>
              <a:outerShdw blurRad="88900" dist="76200" dir="2820000" algn="ctr" rotWithShape="0">
                <a:srgbClr val="000000">
                  <a:alpha val="15000"/>
                </a:srgb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US" sz="1800">
                <a:latin typeface="Arial" pitchFamily="124" charset="0"/>
              </a:endParaRPr>
            </a:p>
          </p:txBody>
        </p:sp>
      </p:grpSp>
      <p:pic>
        <p:nvPicPr>
          <p:cNvPr id="4" name="Graphic 3">
            <a:extLst>
              <a:ext uri="{FF2B5EF4-FFF2-40B4-BE49-F238E27FC236}">
                <a16:creationId xmlns:a16="http://schemas.microsoft.com/office/drawing/2014/main" id="{365C63F0-5A21-6342-8CB9-AC1E5EFA84CD}"/>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77114" y="2476057"/>
            <a:ext cx="800100" cy="800100"/>
          </a:xfrm>
          <a:prstGeom prst="rect">
            <a:avLst/>
          </a:prstGeom>
        </p:spPr>
      </p:pic>
      <p:pic>
        <p:nvPicPr>
          <p:cNvPr id="36" name="Graphic 35">
            <a:extLst>
              <a:ext uri="{FF2B5EF4-FFF2-40B4-BE49-F238E27FC236}">
                <a16:creationId xmlns:a16="http://schemas.microsoft.com/office/drawing/2014/main" id="{B73EC07C-5AE3-AA40-8FB0-7C861F0A9744}"/>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378052" y="2415362"/>
            <a:ext cx="889147" cy="889147"/>
          </a:xfrm>
          <a:prstGeom prst="rect">
            <a:avLst/>
          </a:prstGeom>
        </p:spPr>
      </p:pic>
      <p:pic>
        <p:nvPicPr>
          <p:cNvPr id="38" name="Graphic 37">
            <a:extLst>
              <a:ext uri="{FF2B5EF4-FFF2-40B4-BE49-F238E27FC236}">
                <a16:creationId xmlns:a16="http://schemas.microsoft.com/office/drawing/2014/main" id="{E9A937D6-B2A9-724C-A11C-390DA9449899}"/>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610668" y="2404729"/>
            <a:ext cx="991929" cy="991929"/>
          </a:xfrm>
          <a:prstGeom prst="rect">
            <a:avLst/>
          </a:prstGeom>
        </p:spPr>
      </p:pic>
      <p:pic>
        <p:nvPicPr>
          <p:cNvPr id="40" name="Graphic 39">
            <a:extLst>
              <a:ext uri="{FF2B5EF4-FFF2-40B4-BE49-F238E27FC236}">
                <a16:creationId xmlns:a16="http://schemas.microsoft.com/office/drawing/2014/main" id="{B3659129-6CCB-E343-85E4-0D5A30B874CA}"/>
              </a:ext>
            </a:extLst>
          </p:cNvPr>
          <p:cNvPicPr>
            <a:picLocks noChangeAspect="1"/>
          </p:cNvPicPr>
          <p:nvPr userDrawn="1"/>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14167" y="2407832"/>
            <a:ext cx="878958" cy="878958"/>
          </a:xfrm>
          <a:prstGeom prst="rect">
            <a:avLst/>
          </a:prstGeom>
        </p:spPr>
      </p:pic>
      <p:pic>
        <p:nvPicPr>
          <p:cNvPr id="44" name="Graphic 43">
            <a:extLst>
              <a:ext uri="{FF2B5EF4-FFF2-40B4-BE49-F238E27FC236}">
                <a16:creationId xmlns:a16="http://schemas.microsoft.com/office/drawing/2014/main" id="{5872C796-854B-984E-BFE4-DEB6FB62E188}"/>
              </a:ext>
            </a:extLst>
          </p:cNvPr>
          <p:cNvPicPr>
            <a:picLocks noChangeAspect="1"/>
          </p:cNvPicPr>
          <p:nvPr userDrawn="1"/>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0236052" y="2507954"/>
            <a:ext cx="800100" cy="800100"/>
          </a:xfrm>
          <a:prstGeom prst="rect">
            <a:avLst/>
          </a:prstGeom>
        </p:spPr>
      </p:pic>
    </p:spTree>
    <p:extLst>
      <p:ext uri="{BB962C8B-B14F-4D97-AF65-F5344CB8AC3E}">
        <p14:creationId xmlns:p14="http://schemas.microsoft.com/office/powerpoint/2010/main" val="1496326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744">
          <p15:clr>
            <a:srgbClr val="FBAE40"/>
          </p15:clr>
        </p15:guide>
        <p15:guide id="3" pos="393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19" name="Picture 1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266513" y="542294"/>
            <a:ext cx="7925487" cy="5773412"/>
          </a:xfrm>
          <a:prstGeom prst="rect">
            <a:avLst/>
          </a:prstGeom>
        </p:spPr>
      </p:pic>
      <p:sp>
        <p:nvSpPr>
          <p:cNvPr id="10" name="Line 18"/>
          <p:cNvSpPr>
            <a:spLocks noChangeShapeType="1"/>
          </p:cNvSpPr>
          <p:nvPr userDrawn="1"/>
        </p:nvSpPr>
        <p:spPr bwMode="auto">
          <a:xfrm>
            <a:off x="-10584" y="6311900"/>
            <a:ext cx="12202584" cy="0"/>
          </a:xfrm>
          <a:prstGeom prst="line">
            <a:avLst/>
          </a:prstGeom>
          <a:noFill/>
          <a:ln w="28575">
            <a:solidFill>
              <a:schemeClr val="accent5"/>
            </a:solidFill>
            <a:round/>
            <a:headEnd/>
            <a:tailEnd/>
          </a:ln>
        </p:spPr>
        <p:txBody>
          <a:bodyPr wrap="none" anchor="ctr"/>
          <a:lstStyle/>
          <a:p>
            <a:pPr>
              <a:defRPr/>
            </a:pPr>
            <a:endParaRPr lang="en-US" sz="1800">
              <a:latin typeface="Arial" pitchFamily="124" charset="0"/>
              <a:ea typeface="+mn-ea"/>
            </a:endParaRPr>
          </a:p>
        </p:txBody>
      </p:sp>
      <p:sp>
        <p:nvSpPr>
          <p:cNvPr id="3" name="Title 2"/>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0" hasCustomPrompt="1"/>
          </p:nvPr>
        </p:nvSpPr>
        <p:spPr>
          <a:xfrm>
            <a:off x="800100" y="1604963"/>
            <a:ext cx="5702300" cy="431800"/>
          </a:xfrm>
        </p:spPr>
        <p:txBody>
          <a:bodyPr/>
          <a:lstStyle>
            <a:lvl1pPr marL="0" indent="0">
              <a:buNone/>
              <a:defRPr/>
            </a:lvl1pPr>
          </a:lstStyle>
          <a:p>
            <a:pPr lvl="0"/>
            <a:r>
              <a:rPr lang="en-US"/>
              <a:t>Click to edit text</a:t>
            </a:r>
          </a:p>
        </p:txBody>
      </p:sp>
    </p:spTree>
    <p:extLst>
      <p:ext uri="{BB962C8B-B14F-4D97-AF65-F5344CB8AC3E}">
        <p14:creationId xmlns:p14="http://schemas.microsoft.com/office/powerpoint/2010/main" val="3864819497"/>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Content">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CA18E620-2723-4E5B-A0C9-63DC1A0A57A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898000" y="6026038"/>
            <a:ext cx="989200" cy="548639"/>
          </a:xfrm>
          <a:prstGeom prst="rect">
            <a:avLst/>
          </a:prstGeom>
        </p:spPr>
      </p:pic>
      <p:sp>
        <p:nvSpPr>
          <p:cNvPr id="2" name="Title 1">
            <a:extLst>
              <a:ext uri="{FF2B5EF4-FFF2-40B4-BE49-F238E27FC236}">
                <a16:creationId xmlns:a16="http://schemas.microsoft.com/office/drawing/2014/main" id="{AAA42EC3-BB61-5A42-8BF1-1D2972BB044D}"/>
              </a:ext>
            </a:extLst>
          </p:cNvPr>
          <p:cNvSpPr>
            <a:spLocks noGrp="1"/>
          </p:cNvSpPr>
          <p:nvPr>
            <p:ph type="title"/>
          </p:nvPr>
        </p:nvSpPr>
        <p:spPr/>
        <p:txBody>
          <a:bodyPr/>
          <a:lstStyle/>
          <a:p>
            <a:r>
              <a:rPr lang="en-US"/>
              <a:t>Click to edit Master title style</a:t>
            </a:r>
          </a:p>
        </p:txBody>
      </p:sp>
      <p:sp>
        <p:nvSpPr>
          <p:cNvPr id="5" name="Slide Number Placeholder 11">
            <a:extLst>
              <a:ext uri="{FF2B5EF4-FFF2-40B4-BE49-F238E27FC236}">
                <a16:creationId xmlns:a16="http://schemas.microsoft.com/office/drawing/2014/main" id="{0D25D28A-A5EB-C240-A997-149159566C62}"/>
              </a:ext>
            </a:extLst>
          </p:cNvPr>
          <p:cNvSpPr>
            <a:spLocks noGrp="1"/>
          </p:cNvSpPr>
          <p:nvPr>
            <p:ph type="sldNum" sz="quarter" idx="10"/>
          </p:nvPr>
        </p:nvSpPr>
        <p:spPr>
          <a:xfrm>
            <a:off x="1" y="6553200"/>
            <a:ext cx="304799" cy="304799"/>
          </a:xfrm>
        </p:spPr>
        <p:txBody>
          <a:bodyPr lIns="0" tIns="0" rIns="0" bIns="0"/>
          <a:lstStyle/>
          <a:p>
            <a:fld id="{89006F1E-66CD-4A4B-9370-B4A3080F0E6C}" type="slidenum">
              <a:rPr lang="en-US" smtClean="0"/>
              <a:pPr/>
              <a:t>‹#›</a:t>
            </a:fld>
            <a:endParaRPr lang="en-US"/>
          </a:p>
        </p:txBody>
      </p:sp>
      <p:sp>
        <p:nvSpPr>
          <p:cNvPr id="6" name="Footer Placeholder 1">
            <a:extLst>
              <a:ext uri="{FF2B5EF4-FFF2-40B4-BE49-F238E27FC236}">
                <a16:creationId xmlns:a16="http://schemas.microsoft.com/office/drawing/2014/main" id="{EF39BEC2-E111-4A4B-836F-3D8401524587}"/>
              </a:ext>
            </a:extLst>
          </p:cNvPr>
          <p:cNvSpPr>
            <a:spLocks noGrp="1"/>
          </p:cNvSpPr>
          <p:nvPr>
            <p:ph type="ftr" sz="quarter" idx="12"/>
          </p:nvPr>
        </p:nvSpPr>
        <p:spPr>
          <a:xfrm>
            <a:off x="304799" y="6553201"/>
            <a:ext cx="5791201" cy="304800"/>
          </a:xfrm>
          <a:prstGeom prst="rect">
            <a:avLst/>
          </a:prstGeom>
        </p:spPr>
        <p:txBody>
          <a:bodyPr/>
          <a:lstStyle>
            <a:lvl1pPr>
              <a:defRPr>
                <a:solidFill>
                  <a:schemeClr val="accent5"/>
                </a:solidFill>
              </a:defRPr>
            </a:lvl1pPr>
          </a:lstStyle>
          <a:p>
            <a:r>
              <a:rPr lang="en-US">
                <a:ea typeface="MS PGothic" panose="020B0600070205080204" pitchFamily="34" charset="-128"/>
              </a:rPr>
              <a:t>Proprietary &amp; Confidential |  authoremail@thermofisher.com | 12-April-2021</a:t>
            </a:r>
          </a:p>
        </p:txBody>
      </p:sp>
      <p:sp>
        <p:nvSpPr>
          <p:cNvPr id="8" name="Text Placeholder 7">
            <a:extLst>
              <a:ext uri="{FF2B5EF4-FFF2-40B4-BE49-F238E27FC236}">
                <a16:creationId xmlns:a16="http://schemas.microsoft.com/office/drawing/2014/main" id="{2A4CF7CB-ACF9-2E40-8360-1F09EA0AC0AC}"/>
              </a:ext>
            </a:extLst>
          </p:cNvPr>
          <p:cNvSpPr>
            <a:spLocks noGrp="1"/>
          </p:cNvSpPr>
          <p:nvPr>
            <p:ph type="body" sz="quarter" idx="11" hasCustomPrompt="1"/>
          </p:nvPr>
        </p:nvSpPr>
        <p:spPr>
          <a:xfrm>
            <a:off x="300226" y="893063"/>
            <a:ext cx="11591547" cy="381001"/>
          </a:xfrm>
          <a:prstGeom prst="rect">
            <a:avLst/>
          </a:prstGeom>
        </p:spPr>
        <p:txBody>
          <a:bodyPr lIns="0" tIns="0" rIns="0" bIns="0" anchor="t">
            <a:noAutofit/>
          </a:bodyPr>
          <a:lstStyle>
            <a:lvl1pPr marL="0" indent="0">
              <a:buNone/>
              <a:defRPr sz="2000">
                <a:solidFill>
                  <a:schemeClr val="tx1"/>
                </a:solidFill>
              </a:defRPr>
            </a:lvl1pPr>
          </a:lstStyle>
          <a:p>
            <a:pPr lvl="0"/>
            <a:r>
              <a:rPr lang="en-US"/>
              <a:t>Click to add </a:t>
            </a:r>
            <a:r>
              <a:rPr lang="en-US" err="1"/>
              <a:t>subheader</a:t>
            </a:r>
            <a:endParaRPr lang="en-US"/>
          </a:p>
        </p:txBody>
      </p:sp>
      <p:sp>
        <p:nvSpPr>
          <p:cNvPr id="10" name="Text Placeholder 7">
            <a:extLst>
              <a:ext uri="{FF2B5EF4-FFF2-40B4-BE49-F238E27FC236}">
                <a16:creationId xmlns:a16="http://schemas.microsoft.com/office/drawing/2014/main" id="{EE5F834C-5A08-DA4E-82E7-AC5A7A2CC796}"/>
              </a:ext>
            </a:extLst>
          </p:cNvPr>
          <p:cNvSpPr>
            <a:spLocks noGrp="1"/>
          </p:cNvSpPr>
          <p:nvPr>
            <p:ph type="body" sz="quarter" idx="13" hasCustomPrompt="1"/>
          </p:nvPr>
        </p:nvSpPr>
        <p:spPr>
          <a:xfrm>
            <a:off x="304797" y="6055756"/>
            <a:ext cx="11582401" cy="489204"/>
          </a:xfrm>
          <a:prstGeom prst="rect">
            <a:avLst/>
          </a:prstGeom>
        </p:spPr>
        <p:txBody>
          <a:bodyPr anchor="b">
            <a:normAutofit/>
          </a:bodyPr>
          <a:lstStyle>
            <a:lvl1pPr marL="0" indent="0">
              <a:spcBef>
                <a:spcPts val="100"/>
              </a:spcBef>
              <a:buNone/>
              <a:defRPr sz="1000">
                <a:solidFill>
                  <a:schemeClr val="accent5"/>
                </a:solidFill>
              </a:defRPr>
            </a:lvl1pPr>
          </a:lstStyle>
          <a:p>
            <a:pPr lvl="0"/>
            <a:r>
              <a:rPr lang="en-US"/>
              <a:t>Source notes</a:t>
            </a:r>
          </a:p>
        </p:txBody>
      </p:sp>
      <p:sp>
        <p:nvSpPr>
          <p:cNvPr id="7" name="Content Placeholder 6">
            <a:extLst>
              <a:ext uri="{FF2B5EF4-FFF2-40B4-BE49-F238E27FC236}">
                <a16:creationId xmlns:a16="http://schemas.microsoft.com/office/drawing/2014/main" id="{AFD7366D-1388-3D45-9C8A-11D05A5A4315}"/>
              </a:ext>
            </a:extLst>
          </p:cNvPr>
          <p:cNvSpPr>
            <a:spLocks noGrp="1"/>
          </p:cNvSpPr>
          <p:nvPr>
            <p:ph sz="quarter" idx="14"/>
          </p:nvPr>
        </p:nvSpPr>
        <p:spPr>
          <a:xfrm>
            <a:off x="300038" y="1447800"/>
            <a:ext cx="11587162" cy="46085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996725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2 column">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1E66883C-BB83-48F1-998B-C2D783B1054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898000" y="6026038"/>
            <a:ext cx="989200" cy="548639"/>
          </a:xfrm>
          <a:prstGeom prst="rect">
            <a:avLst/>
          </a:prstGeom>
        </p:spPr>
      </p:pic>
      <p:sp>
        <p:nvSpPr>
          <p:cNvPr id="2" name="Title 1">
            <a:extLst>
              <a:ext uri="{FF2B5EF4-FFF2-40B4-BE49-F238E27FC236}">
                <a16:creationId xmlns:a16="http://schemas.microsoft.com/office/drawing/2014/main" id="{AAA42EC3-BB61-5A42-8BF1-1D2972BB044D}"/>
              </a:ext>
            </a:extLst>
          </p:cNvPr>
          <p:cNvSpPr>
            <a:spLocks noGrp="1"/>
          </p:cNvSpPr>
          <p:nvPr>
            <p:ph type="title"/>
          </p:nvPr>
        </p:nvSpPr>
        <p:spPr/>
        <p:txBody>
          <a:bodyPr/>
          <a:lstStyle/>
          <a:p>
            <a:r>
              <a:rPr lang="en-US"/>
              <a:t>Click to edit Master title style</a:t>
            </a:r>
          </a:p>
        </p:txBody>
      </p:sp>
      <p:sp>
        <p:nvSpPr>
          <p:cNvPr id="6" name="Slide Number Placeholder 11">
            <a:extLst>
              <a:ext uri="{FF2B5EF4-FFF2-40B4-BE49-F238E27FC236}">
                <a16:creationId xmlns:a16="http://schemas.microsoft.com/office/drawing/2014/main" id="{CA35970F-C7C4-F346-8F9C-43C9A251063B}"/>
              </a:ext>
            </a:extLst>
          </p:cNvPr>
          <p:cNvSpPr>
            <a:spLocks noGrp="1"/>
          </p:cNvSpPr>
          <p:nvPr>
            <p:ph type="sldNum" sz="quarter" idx="10"/>
          </p:nvPr>
        </p:nvSpPr>
        <p:spPr>
          <a:xfrm>
            <a:off x="1" y="6553200"/>
            <a:ext cx="304799" cy="304799"/>
          </a:xfrm>
        </p:spPr>
        <p:txBody>
          <a:bodyPr lIns="0" tIns="0" rIns="0" bIns="0"/>
          <a:lstStyle/>
          <a:p>
            <a:fld id="{89006F1E-66CD-4A4B-9370-B4A3080F0E6C}" type="slidenum">
              <a:rPr lang="en-US" smtClean="0"/>
              <a:pPr/>
              <a:t>‹#›</a:t>
            </a:fld>
            <a:endParaRPr lang="en-US"/>
          </a:p>
        </p:txBody>
      </p:sp>
      <p:sp>
        <p:nvSpPr>
          <p:cNvPr id="7" name="Footer Placeholder 1">
            <a:extLst>
              <a:ext uri="{FF2B5EF4-FFF2-40B4-BE49-F238E27FC236}">
                <a16:creationId xmlns:a16="http://schemas.microsoft.com/office/drawing/2014/main" id="{CE9EC605-3413-1E4D-96BF-ECCB56711FD5}"/>
              </a:ext>
            </a:extLst>
          </p:cNvPr>
          <p:cNvSpPr>
            <a:spLocks noGrp="1"/>
          </p:cNvSpPr>
          <p:nvPr>
            <p:ph type="ftr" sz="quarter" idx="13"/>
          </p:nvPr>
        </p:nvSpPr>
        <p:spPr>
          <a:xfrm>
            <a:off x="304799" y="6553201"/>
            <a:ext cx="5791201" cy="304800"/>
          </a:xfrm>
          <a:prstGeom prst="rect">
            <a:avLst/>
          </a:prstGeom>
        </p:spPr>
        <p:txBody>
          <a:bodyPr/>
          <a:lstStyle>
            <a:lvl1pPr>
              <a:defRPr>
                <a:solidFill>
                  <a:schemeClr val="accent5"/>
                </a:solidFill>
              </a:defRPr>
            </a:lvl1pPr>
          </a:lstStyle>
          <a:p>
            <a:r>
              <a:rPr lang="en-US">
                <a:ea typeface="MS PGothic" panose="020B0600070205080204" pitchFamily="34" charset="-128"/>
              </a:rPr>
              <a:t>Proprietary &amp; Confidential |  authoremail@thermofisher.com | 12-April-2021</a:t>
            </a:r>
          </a:p>
        </p:txBody>
      </p:sp>
      <p:sp>
        <p:nvSpPr>
          <p:cNvPr id="8" name="Text Placeholder 7">
            <a:extLst>
              <a:ext uri="{FF2B5EF4-FFF2-40B4-BE49-F238E27FC236}">
                <a16:creationId xmlns:a16="http://schemas.microsoft.com/office/drawing/2014/main" id="{FE813D60-49DC-CC4E-8912-23F1B67BB019}"/>
              </a:ext>
            </a:extLst>
          </p:cNvPr>
          <p:cNvSpPr>
            <a:spLocks noGrp="1"/>
          </p:cNvSpPr>
          <p:nvPr>
            <p:ph type="body" sz="quarter" idx="14" hasCustomPrompt="1"/>
          </p:nvPr>
        </p:nvSpPr>
        <p:spPr>
          <a:xfrm>
            <a:off x="304797" y="6055756"/>
            <a:ext cx="11582400" cy="489204"/>
          </a:xfrm>
          <a:prstGeom prst="rect">
            <a:avLst/>
          </a:prstGeom>
        </p:spPr>
        <p:txBody>
          <a:bodyPr anchor="b">
            <a:normAutofit/>
          </a:bodyPr>
          <a:lstStyle>
            <a:lvl1pPr marL="0" indent="0">
              <a:spcBef>
                <a:spcPts val="100"/>
              </a:spcBef>
              <a:buNone/>
              <a:defRPr sz="1000">
                <a:solidFill>
                  <a:schemeClr val="accent5"/>
                </a:solidFill>
              </a:defRPr>
            </a:lvl1pPr>
          </a:lstStyle>
          <a:p>
            <a:pPr lvl="0"/>
            <a:r>
              <a:rPr lang="en-US"/>
              <a:t>Source notes</a:t>
            </a:r>
          </a:p>
        </p:txBody>
      </p:sp>
      <p:sp>
        <p:nvSpPr>
          <p:cNvPr id="12" name="Content Placeholder 3">
            <a:extLst>
              <a:ext uri="{FF2B5EF4-FFF2-40B4-BE49-F238E27FC236}">
                <a16:creationId xmlns:a16="http://schemas.microsoft.com/office/drawing/2014/main" id="{D38D7C33-9A72-7247-9B25-82BE39794E09}"/>
              </a:ext>
            </a:extLst>
          </p:cNvPr>
          <p:cNvSpPr>
            <a:spLocks noGrp="1"/>
          </p:cNvSpPr>
          <p:nvPr>
            <p:ph sz="quarter" idx="16"/>
          </p:nvPr>
        </p:nvSpPr>
        <p:spPr>
          <a:xfrm>
            <a:off x="304800" y="1447800"/>
            <a:ext cx="5638796" cy="4607954"/>
          </a:xfrm>
          <a:prstGeom prst="rect">
            <a:avLst/>
          </a:prstGeom>
        </p:spPr>
        <p:txBody>
          <a:bodyPr vert="horz" lIns="0" tIns="0" rIns="0" bIns="0" rtlCol="0">
            <a:noAutofit/>
          </a:bodyPr>
          <a:lstStyle>
            <a:lvl1pPr marL="342900" indent="-342900">
              <a:buFont typeface="Arial" panose="020B0604020202020204" pitchFamily="34" charset="0"/>
              <a:buChar cha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4109D056-DC1B-0D4A-8CCD-D716570C884F}"/>
              </a:ext>
            </a:extLst>
          </p:cNvPr>
          <p:cNvSpPr>
            <a:spLocks noGrp="1"/>
          </p:cNvSpPr>
          <p:nvPr>
            <p:ph sz="quarter" idx="17"/>
          </p:nvPr>
        </p:nvSpPr>
        <p:spPr>
          <a:xfrm>
            <a:off x="6248398" y="1447800"/>
            <a:ext cx="5638799" cy="4607954"/>
          </a:xfrm>
          <a:prstGeom prst="rect">
            <a:avLst/>
          </a:prstGeo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7">
            <a:extLst>
              <a:ext uri="{FF2B5EF4-FFF2-40B4-BE49-F238E27FC236}">
                <a16:creationId xmlns:a16="http://schemas.microsoft.com/office/drawing/2014/main" id="{95884C43-267B-8949-85E3-D9171D3F9D13}"/>
              </a:ext>
            </a:extLst>
          </p:cNvPr>
          <p:cNvSpPr>
            <a:spLocks noGrp="1"/>
          </p:cNvSpPr>
          <p:nvPr>
            <p:ph type="body" sz="quarter" idx="11" hasCustomPrompt="1"/>
          </p:nvPr>
        </p:nvSpPr>
        <p:spPr>
          <a:xfrm>
            <a:off x="300226" y="893063"/>
            <a:ext cx="11591547" cy="381001"/>
          </a:xfrm>
          <a:prstGeom prst="rect">
            <a:avLst/>
          </a:prstGeom>
        </p:spPr>
        <p:txBody>
          <a:bodyPr lIns="0" tIns="0" rIns="0" bIns="0" anchor="t">
            <a:noAutofit/>
          </a:bodyPr>
          <a:lstStyle>
            <a:lvl1pPr marL="0" indent="0">
              <a:buNone/>
              <a:defRPr sz="2000">
                <a:solidFill>
                  <a:schemeClr val="tx1"/>
                </a:solidFill>
              </a:defRPr>
            </a:lvl1pPr>
          </a:lstStyle>
          <a:p>
            <a:pPr lvl="0"/>
            <a:r>
              <a:rPr lang="en-US"/>
              <a:t>Click to add </a:t>
            </a:r>
            <a:r>
              <a:rPr lang="en-US" err="1"/>
              <a:t>subheader</a:t>
            </a:r>
            <a:endParaRPr lang="en-US"/>
          </a:p>
        </p:txBody>
      </p:sp>
    </p:spTree>
    <p:extLst>
      <p:ext uri="{BB962C8B-B14F-4D97-AF65-F5344CB8AC3E}">
        <p14:creationId xmlns:p14="http://schemas.microsoft.com/office/powerpoint/2010/main" val="295054717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3 column with images">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42EC3-BB61-5A42-8BF1-1D2972BB044D}"/>
              </a:ext>
            </a:extLst>
          </p:cNvPr>
          <p:cNvSpPr>
            <a:spLocks noGrp="1"/>
          </p:cNvSpPr>
          <p:nvPr>
            <p:ph type="title"/>
          </p:nvPr>
        </p:nvSpPr>
        <p:spPr/>
        <p:txBody>
          <a:bodyPr/>
          <a:lstStyle/>
          <a:p>
            <a:r>
              <a:rPr lang="en-US"/>
              <a:t>Click to edit Master title style</a:t>
            </a:r>
          </a:p>
        </p:txBody>
      </p:sp>
      <p:sp>
        <p:nvSpPr>
          <p:cNvPr id="7" name="Slide Number Placeholder 11">
            <a:extLst>
              <a:ext uri="{FF2B5EF4-FFF2-40B4-BE49-F238E27FC236}">
                <a16:creationId xmlns:a16="http://schemas.microsoft.com/office/drawing/2014/main" id="{F81445D8-D3A2-A446-B35B-0A1E9B448962}"/>
              </a:ext>
            </a:extLst>
          </p:cNvPr>
          <p:cNvSpPr>
            <a:spLocks noGrp="1"/>
          </p:cNvSpPr>
          <p:nvPr>
            <p:ph type="sldNum" sz="quarter" idx="10"/>
          </p:nvPr>
        </p:nvSpPr>
        <p:spPr>
          <a:xfrm>
            <a:off x="1" y="6553200"/>
            <a:ext cx="304799" cy="304799"/>
          </a:xfrm>
        </p:spPr>
        <p:txBody>
          <a:bodyPr lIns="0" tIns="0" rIns="0" bIns="0"/>
          <a:lstStyle/>
          <a:p>
            <a:fld id="{89006F1E-66CD-4A4B-9370-B4A3080F0E6C}" type="slidenum">
              <a:rPr lang="en-US" smtClean="0"/>
              <a:pPr/>
              <a:t>‹#›</a:t>
            </a:fld>
            <a:endParaRPr lang="en-US"/>
          </a:p>
        </p:txBody>
      </p:sp>
      <p:sp>
        <p:nvSpPr>
          <p:cNvPr id="8" name="Footer Placeholder 1">
            <a:extLst>
              <a:ext uri="{FF2B5EF4-FFF2-40B4-BE49-F238E27FC236}">
                <a16:creationId xmlns:a16="http://schemas.microsoft.com/office/drawing/2014/main" id="{31F7B133-5860-D54B-A498-14C05567C68D}"/>
              </a:ext>
            </a:extLst>
          </p:cNvPr>
          <p:cNvSpPr>
            <a:spLocks noGrp="1"/>
          </p:cNvSpPr>
          <p:nvPr>
            <p:ph type="ftr" sz="quarter" idx="14"/>
          </p:nvPr>
        </p:nvSpPr>
        <p:spPr>
          <a:xfrm>
            <a:off x="304799" y="6553201"/>
            <a:ext cx="5791201" cy="304800"/>
          </a:xfrm>
          <a:prstGeom prst="rect">
            <a:avLst/>
          </a:prstGeom>
        </p:spPr>
        <p:txBody>
          <a:bodyPr/>
          <a:lstStyle>
            <a:lvl1pPr>
              <a:defRPr>
                <a:solidFill>
                  <a:schemeClr val="accent5"/>
                </a:solidFill>
              </a:defRPr>
            </a:lvl1pPr>
          </a:lstStyle>
          <a:p>
            <a:r>
              <a:rPr lang="en-US">
                <a:ea typeface="MS PGothic" panose="020B0600070205080204" pitchFamily="34" charset="-128"/>
              </a:rPr>
              <a:t>Proprietary &amp; Confidential |  authoremail@thermofisher.com | 12-April-2021</a:t>
            </a:r>
          </a:p>
        </p:txBody>
      </p:sp>
      <p:sp>
        <p:nvSpPr>
          <p:cNvPr id="9" name="Text Placeholder 7">
            <a:extLst>
              <a:ext uri="{FF2B5EF4-FFF2-40B4-BE49-F238E27FC236}">
                <a16:creationId xmlns:a16="http://schemas.microsoft.com/office/drawing/2014/main" id="{7F606DC1-8556-AC4B-B621-1C8A6F92D688}"/>
              </a:ext>
            </a:extLst>
          </p:cNvPr>
          <p:cNvSpPr>
            <a:spLocks noGrp="1"/>
          </p:cNvSpPr>
          <p:nvPr>
            <p:ph type="body" sz="quarter" idx="15" hasCustomPrompt="1"/>
          </p:nvPr>
        </p:nvSpPr>
        <p:spPr>
          <a:xfrm>
            <a:off x="304797" y="6055756"/>
            <a:ext cx="11591542" cy="489204"/>
          </a:xfrm>
          <a:prstGeom prst="rect">
            <a:avLst/>
          </a:prstGeom>
        </p:spPr>
        <p:txBody>
          <a:bodyPr anchor="b">
            <a:normAutofit/>
          </a:bodyPr>
          <a:lstStyle>
            <a:lvl1pPr marL="0" indent="0">
              <a:spcBef>
                <a:spcPts val="100"/>
              </a:spcBef>
              <a:buNone/>
              <a:defRPr sz="1000">
                <a:solidFill>
                  <a:schemeClr val="accent5"/>
                </a:solidFill>
              </a:defRPr>
            </a:lvl1pPr>
          </a:lstStyle>
          <a:p>
            <a:pPr lvl="0"/>
            <a:r>
              <a:rPr lang="en-US"/>
              <a:t>Source notes</a:t>
            </a:r>
          </a:p>
        </p:txBody>
      </p:sp>
      <p:sp>
        <p:nvSpPr>
          <p:cNvPr id="17" name="Text Placeholder 7">
            <a:extLst>
              <a:ext uri="{FF2B5EF4-FFF2-40B4-BE49-F238E27FC236}">
                <a16:creationId xmlns:a16="http://schemas.microsoft.com/office/drawing/2014/main" id="{C194A5C4-4D4E-424D-8DC1-C1FCDF1A8FC5}"/>
              </a:ext>
            </a:extLst>
          </p:cNvPr>
          <p:cNvSpPr>
            <a:spLocks noGrp="1"/>
          </p:cNvSpPr>
          <p:nvPr>
            <p:ph type="body" sz="quarter" idx="11" hasCustomPrompt="1"/>
          </p:nvPr>
        </p:nvSpPr>
        <p:spPr>
          <a:xfrm>
            <a:off x="300226" y="893063"/>
            <a:ext cx="11591547" cy="381001"/>
          </a:xfrm>
          <a:prstGeom prst="rect">
            <a:avLst/>
          </a:prstGeom>
        </p:spPr>
        <p:txBody>
          <a:bodyPr lIns="0" tIns="0" rIns="0" bIns="0" anchor="t">
            <a:noAutofit/>
          </a:bodyPr>
          <a:lstStyle>
            <a:lvl1pPr marL="0" indent="0">
              <a:buNone/>
              <a:defRPr sz="2000">
                <a:solidFill>
                  <a:schemeClr val="tx1"/>
                </a:solidFill>
              </a:defRPr>
            </a:lvl1pPr>
          </a:lstStyle>
          <a:p>
            <a:pPr lvl="0"/>
            <a:r>
              <a:rPr lang="en-US"/>
              <a:t>Click to add </a:t>
            </a:r>
            <a:r>
              <a:rPr lang="en-US" err="1"/>
              <a:t>subheader</a:t>
            </a:r>
            <a:endParaRPr lang="en-US"/>
          </a:p>
        </p:txBody>
      </p:sp>
      <p:sp>
        <p:nvSpPr>
          <p:cNvPr id="18" name="Content Placeholder 3">
            <a:extLst>
              <a:ext uri="{FF2B5EF4-FFF2-40B4-BE49-F238E27FC236}">
                <a16:creationId xmlns:a16="http://schemas.microsoft.com/office/drawing/2014/main" id="{22065214-DE69-2246-B1F9-8B166D25671B}"/>
              </a:ext>
            </a:extLst>
          </p:cNvPr>
          <p:cNvSpPr>
            <a:spLocks noGrp="1"/>
          </p:cNvSpPr>
          <p:nvPr>
            <p:ph sz="quarter" idx="18"/>
          </p:nvPr>
        </p:nvSpPr>
        <p:spPr>
          <a:xfrm>
            <a:off x="304800" y="3512047"/>
            <a:ext cx="3657600" cy="2528783"/>
          </a:xfrm>
          <a:prstGeom prst="rect">
            <a:avLst/>
          </a:prstGeo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a:extLst>
              <a:ext uri="{FF2B5EF4-FFF2-40B4-BE49-F238E27FC236}">
                <a16:creationId xmlns:a16="http://schemas.microsoft.com/office/drawing/2014/main" id="{DE333DB3-CD71-1F4D-8ECF-51D4B490DCCC}"/>
              </a:ext>
            </a:extLst>
          </p:cNvPr>
          <p:cNvSpPr>
            <a:spLocks noGrp="1"/>
          </p:cNvSpPr>
          <p:nvPr>
            <p:ph sz="quarter" idx="19"/>
          </p:nvPr>
        </p:nvSpPr>
        <p:spPr>
          <a:xfrm>
            <a:off x="4267201" y="3512047"/>
            <a:ext cx="3657600" cy="2528783"/>
          </a:xfrm>
          <a:prstGeom prst="rect">
            <a:avLst/>
          </a:prstGeo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3">
            <a:extLst>
              <a:ext uri="{FF2B5EF4-FFF2-40B4-BE49-F238E27FC236}">
                <a16:creationId xmlns:a16="http://schemas.microsoft.com/office/drawing/2014/main" id="{8514F710-85FB-F040-B3B5-8573DB7FE6FE}"/>
              </a:ext>
            </a:extLst>
          </p:cNvPr>
          <p:cNvSpPr>
            <a:spLocks noGrp="1"/>
          </p:cNvSpPr>
          <p:nvPr>
            <p:ph sz="quarter" idx="21"/>
          </p:nvPr>
        </p:nvSpPr>
        <p:spPr>
          <a:xfrm>
            <a:off x="8229594" y="3512047"/>
            <a:ext cx="3657603" cy="2528783"/>
          </a:xfrm>
          <a:prstGeom prst="rect">
            <a:avLst/>
          </a:prstGeo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3">
            <a:extLst>
              <a:ext uri="{FF2B5EF4-FFF2-40B4-BE49-F238E27FC236}">
                <a16:creationId xmlns:a16="http://schemas.microsoft.com/office/drawing/2014/main" id="{21A45530-6C50-AD46-A233-590ADD356A0F}"/>
              </a:ext>
            </a:extLst>
          </p:cNvPr>
          <p:cNvSpPr>
            <a:spLocks noGrp="1"/>
          </p:cNvSpPr>
          <p:nvPr>
            <p:ph type="pic" sz="quarter" idx="22" hasCustomPrompt="1"/>
          </p:nvPr>
        </p:nvSpPr>
        <p:spPr>
          <a:xfrm>
            <a:off x="300226" y="1466405"/>
            <a:ext cx="3662174" cy="1947672"/>
          </a:xfrm>
          <a:prstGeom prst="rect">
            <a:avLst/>
          </a:prstGeom>
          <a:pattFill prst="pct5">
            <a:fgClr>
              <a:schemeClr val="bg1"/>
            </a:fgClr>
            <a:bgClr>
              <a:schemeClr val="bg2"/>
            </a:bgClr>
          </a:pattFill>
        </p:spPr>
        <p:txBody>
          <a:bodyPr anchor="ctr"/>
          <a:lstStyle>
            <a:lvl1pPr marL="0" indent="0" algn="ctr">
              <a:buNone/>
              <a:defRPr/>
            </a:lvl1pPr>
          </a:lstStyle>
          <a:p>
            <a:r>
              <a:rPr lang="en-US"/>
              <a:t>Add photo</a:t>
            </a:r>
          </a:p>
        </p:txBody>
      </p:sp>
      <p:sp>
        <p:nvSpPr>
          <p:cNvPr id="14" name="Picture Placeholder 3">
            <a:extLst>
              <a:ext uri="{FF2B5EF4-FFF2-40B4-BE49-F238E27FC236}">
                <a16:creationId xmlns:a16="http://schemas.microsoft.com/office/drawing/2014/main" id="{93FDE34D-91F9-6E47-BC02-8A5F8FCC0810}"/>
              </a:ext>
            </a:extLst>
          </p:cNvPr>
          <p:cNvSpPr>
            <a:spLocks noGrp="1"/>
          </p:cNvSpPr>
          <p:nvPr>
            <p:ph type="pic" sz="quarter" idx="23" hasCustomPrompt="1"/>
          </p:nvPr>
        </p:nvSpPr>
        <p:spPr>
          <a:xfrm>
            <a:off x="4262626" y="1459723"/>
            <a:ext cx="3662174" cy="1947672"/>
          </a:xfrm>
          <a:prstGeom prst="rect">
            <a:avLst/>
          </a:prstGeom>
          <a:pattFill prst="pct5">
            <a:fgClr>
              <a:schemeClr val="bg1"/>
            </a:fgClr>
            <a:bgClr>
              <a:schemeClr val="bg2"/>
            </a:bgClr>
          </a:pattFill>
        </p:spPr>
        <p:txBody>
          <a:bodyPr anchor="ctr"/>
          <a:lstStyle>
            <a:lvl1pPr marL="0" indent="0" algn="ctr">
              <a:buNone/>
              <a:defRPr/>
            </a:lvl1pPr>
          </a:lstStyle>
          <a:p>
            <a:r>
              <a:rPr lang="en-US"/>
              <a:t>Add photo</a:t>
            </a:r>
          </a:p>
        </p:txBody>
      </p:sp>
      <p:sp>
        <p:nvSpPr>
          <p:cNvPr id="15" name="Picture Placeholder 3">
            <a:extLst>
              <a:ext uri="{FF2B5EF4-FFF2-40B4-BE49-F238E27FC236}">
                <a16:creationId xmlns:a16="http://schemas.microsoft.com/office/drawing/2014/main" id="{918389EF-8958-AA48-B23D-A8082E0D8EAF}"/>
              </a:ext>
            </a:extLst>
          </p:cNvPr>
          <p:cNvSpPr>
            <a:spLocks noGrp="1"/>
          </p:cNvSpPr>
          <p:nvPr>
            <p:ph type="pic" sz="quarter" idx="24" hasCustomPrompt="1"/>
          </p:nvPr>
        </p:nvSpPr>
        <p:spPr>
          <a:xfrm>
            <a:off x="8227308" y="1466404"/>
            <a:ext cx="3662174" cy="1947672"/>
          </a:xfrm>
          <a:prstGeom prst="rect">
            <a:avLst/>
          </a:prstGeom>
          <a:pattFill prst="pct5">
            <a:fgClr>
              <a:schemeClr val="bg1"/>
            </a:fgClr>
            <a:bgClr>
              <a:schemeClr val="bg2"/>
            </a:bgClr>
          </a:pattFill>
        </p:spPr>
        <p:txBody>
          <a:bodyPr anchor="ctr"/>
          <a:lstStyle>
            <a:lvl1pPr marL="0" indent="0" algn="ctr">
              <a:buNone/>
              <a:defRPr/>
            </a:lvl1pPr>
          </a:lstStyle>
          <a:p>
            <a:r>
              <a:rPr lang="en-US"/>
              <a:t>Add photo</a:t>
            </a:r>
          </a:p>
        </p:txBody>
      </p:sp>
      <p:grpSp>
        <p:nvGrpSpPr>
          <p:cNvPr id="16" name="Group 15">
            <a:extLst>
              <a:ext uri="{FF2B5EF4-FFF2-40B4-BE49-F238E27FC236}">
                <a16:creationId xmlns:a16="http://schemas.microsoft.com/office/drawing/2014/main" id="{954AA7D1-4A71-E04D-B394-33DE0DAB98E5}"/>
              </a:ext>
            </a:extLst>
          </p:cNvPr>
          <p:cNvGrpSpPr/>
          <p:nvPr/>
        </p:nvGrpSpPr>
        <p:grpSpPr>
          <a:xfrm>
            <a:off x="4114800" y="1474646"/>
            <a:ext cx="3968496" cy="4581107"/>
            <a:chOff x="4105421" y="1377388"/>
            <a:chExt cx="3964795" cy="2233914"/>
          </a:xfrm>
        </p:grpSpPr>
        <p:cxnSp>
          <p:nvCxnSpPr>
            <p:cNvPr id="20" name="Straight Connector 19">
              <a:extLst>
                <a:ext uri="{FF2B5EF4-FFF2-40B4-BE49-F238E27FC236}">
                  <a16:creationId xmlns:a16="http://schemas.microsoft.com/office/drawing/2014/main" id="{D653AB18-4CCB-094A-BBCE-63E28B9E9480}"/>
                </a:ext>
              </a:extLst>
            </p:cNvPr>
            <p:cNvCxnSpPr>
              <a:cxnSpLocks/>
            </p:cNvCxnSpPr>
            <p:nvPr/>
          </p:nvCxnSpPr>
          <p:spPr>
            <a:xfrm>
              <a:off x="4105421" y="1377388"/>
              <a:ext cx="0" cy="2233914"/>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629B770-7DAA-DE43-8441-3B367C83F5D4}"/>
                </a:ext>
              </a:extLst>
            </p:cNvPr>
            <p:cNvCxnSpPr>
              <a:cxnSpLocks/>
            </p:cNvCxnSpPr>
            <p:nvPr/>
          </p:nvCxnSpPr>
          <p:spPr>
            <a:xfrm>
              <a:off x="8070216" y="1377388"/>
              <a:ext cx="0" cy="2233914"/>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7741502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3 column with full width image">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558D3FC8-B671-4D4F-A345-B5E3B9CB827C}"/>
              </a:ext>
            </a:extLst>
          </p:cNvPr>
          <p:cNvSpPr>
            <a:spLocks noGrp="1"/>
          </p:cNvSpPr>
          <p:nvPr>
            <p:ph type="pic" sz="quarter" idx="13" hasCustomPrompt="1"/>
          </p:nvPr>
        </p:nvSpPr>
        <p:spPr>
          <a:xfrm>
            <a:off x="-1" y="4083050"/>
            <a:ext cx="12191999" cy="2774950"/>
          </a:xfrm>
          <a:prstGeom prst="rect">
            <a:avLst/>
          </a:prstGeom>
          <a:pattFill prst="pct5">
            <a:fgClr>
              <a:schemeClr val="bg1"/>
            </a:fgClr>
            <a:bgClr>
              <a:schemeClr val="bg2"/>
            </a:bgClr>
          </a:pattFill>
        </p:spPr>
        <p:txBody>
          <a:bodyPr vert="horz" wrap="square" lIns="0" tIns="0" rIns="0" bIns="0" rtlCol="0" anchor="ctr">
            <a:noAutofit/>
          </a:bodyPr>
          <a:lstStyle>
            <a:lvl1pPr marL="0" marR="0" indent="0" algn="ctr" defTabSz="914400" rtl="0" eaLnBrk="1" fontAlgn="auto" latinLnBrk="0" hangingPunct="1">
              <a:lnSpc>
                <a:spcPct val="120000"/>
              </a:lnSpc>
              <a:spcBef>
                <a:spcPts val="600"/>
              </a:spcBef>
              <a:spcAft>
                <a:spcPts val="0"/>
              </a:spcAft>
              <a:buClrTx/>
              <a:buSzTx/>
              <a:buFontTx/>
              <a:buNone/>
              <a:tabLst/>
              <a:defRPr lang="en-US" sz="1400">
                <a:solidFill>
                  <a:schemeClr val="tx1"/>
                </a:solidFill>
              </a:defRPr>
            </a:lvl1pPr>
          </a:lstStyle>
          <a:p>
            <a:pPr marL="411480" marR="0" lvl="0" indent="-411480" algn="ctr" defTabSz="914400" rtl="0" eaLnBrk="1" fontAlgn="auto" latinLnBrk="0" hangingPunct="1">
              <a:lnSpc>
                <a:spcPct val="120000"/>
              </a:lnSpc>
              <a:spcBef>
                <a:spcPts val="600"/>
              </a:spcBef>
              <a:spcAft>
                <a:spcPts val="0"/>
              </a:spcAft>
              <a:buClrTx/>
              <a:buSzTx/>
              <a:buFontTx/>
              <a:buNone/>
              <a:tabLst/>
              <a:defRPr/>
            </a:pPr>
            <a:r>
              <a:rPr lang="en-US"/>
              <a:t>Add photo</a:t>
            </a:r>
          </a:p>
        </p:txBody>
      </p:sp>
      <p:sp>
        <p:nvSpPr>
          <p:cNvPr id="11" name="Title 10">
            <a:extLst>
              <a:ext uri="{FF2B5EF4-FFF2-40B4-BE49-F238E27FC236}">
                <a16:creationId xmlns:a16="http://schemas.microsoft.com/office/drawing/2014/main" id="{06EA3E0F-6952-8B44-89C5-3A7230D81F97}"/>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6" name="Slide Number Placeholder 2">
            <a:extLst>
              <a:ext uri="{FF2B5EF4-FFF2-40B4-BE49-F238E27FC236}">
                <a16:creationId xmlns:a16="http://schemas.microsoft.com/office/drawing/2014/main" id="{5DFF6035-90FF-3D47-AC34-F7AD5C37C983}"/>
              </a:ext>
            </a:extLst>
          </p:cNvPr>
          <p:cNvSpPr>
            <a:spLocks noGrp="1"/>
          </p:cNvSpPr>
          <p:nvPr>
            <p:ph type="sldNum" sz="quarter" idx="10"/>
          </p:nvPr>
        </p:nvSpPr>
        <p:spPr>
          <a:xfrm>
            <a:off x="1" y="6553200"/>
            <a:ext cx="304799" cy="304799"/>
          </a:xfrm>
        </p:spPr>
        <p:txBody>
          <a:bodyPr/>
          <a:lstStyle>
            <a:lvl1pPr>
              <a:defRPr>
                <a:solidFill>
                  <a:schemeClr val="bg1"/>
                </a:solidFill>
              </a:defRPr>
            </a:lvl1pPr>
          </a:lstStyle>
          <a:p>
            <a:fld id="{89006F1E-66CD-4A4B-9370-B4A3080F0E6C}" type="slidenum">
              <a:rPr lang="en-US" smtClean="0"/>
              <a:pPr/>
              <a:t>‹#›</a:t>
            </a:fld>
            <a:endParaRPr lang="en-US"/>
          </a:p>
        </p:txBody>
      </p:sp>
      <p:sp>
        <p:nvSpPr>
          <p:cNvPr id="7" name="Footer Placeholder 1">
            <a:extLst>
              <a:ext uri="{FF2B5EF4-FFF2-40B4-BE49-F238E27FC236}">
                <a16:creationId xmlns:a16="http://schemas.microsoft.com/office/drawing/2014/main" id="{9089E539-E9D2-AE4B-B72F-91FBD9A90964}"/>
              </a:ext>
            </a:extLst>
          </p:cNvPr>
          <p:cNvSpPr>
            <a:spLocks noGrp="1"/>
          </p:cNvSpPr>
          <p:nvPr>
            <p:ph type="ftr" sz="quarter" idx="14"/>
          </p:nvPr>
        </p:nvSpPr>
        <p:spPr>
          <a:xfrm>
            <a:off x="304799" y="6553201"/>
            <a:ext cx="5791201" cy="304800"/>
          </a:xfrm>
          <a:prstGeom prst="rect">
            <a:avLst/>
          </a:prstGeom>
        </p:spPr>
        <p:txBody>
          <a:bodyPr/>
          <a:lstStyle>
            <a:lvl1pPr>
              <a:defRPr>
                <a:solidFill>
                  <a:schemeClr val="bg1"/>
                </a:solidFill>
              </a:defRPr>
            </a:lvl1pPr>
          </a:lstStyle>
          <a:p>
            <a:r>
              <a:rPr lang="en-US">
                <a:ea typeface="MS PGothic" panose="020B0600070205080204" pitchFamily="34" charset="-128"/>
              </a:rPr>
              <a:t>Proprietary &amp; Confidential |  authoremail@thermofisher.com | 12-April-2021</a:t>
            </a:r>
          </a:p>
        </p:txBody>
      </p:sp>
      <p:sp>
        <p:nvSpPr>
          <p:cNvPr id="8" name="Text Placeholder 7">
            <a:extLst>
              <a:ext uri="{FF2B5EF4-FFF2-40B4-BE49-F238E27FC236}">
                <a16:creationId xmlns:a16="http://schemas.microsoft.com/office/drawing/2014/main" id="{E5AA936C-79E4-0048-8C63-B027C15A3EF6}"/>
              </a:ext>
            </a:extLst>
          </p:cNvPr>
          <p:cNvSpPr>
            <a:spLocks noGrp="1"/>
          </p:cNvSpPr>
          <p:nvPr>
            <p:ph type="body" sz="quarter" idx="11" hasCustomPrompt="1"/>
          </p:nvPr>
        </p:nvSpPr>
        <p:spPr>
          <a:xfrm>
            <a:off x="300226" y="893063"/>
            <a:ext cx="11591547" cy="381001"/>
          </a:xfrm>
          <a:prstGeom prst="rect">
            <a:avLst/>
          </a:prstGeom>
        </p:spPr>
        <p:txBody>
          <a:bodyPr lIns="0" tIns="0" rIns="0" bIns="0" anchor="t">
            <a:noAutofit/>
          </a:bodyPr>
          <a:lstStyle>
            <a:lvl1pPr marL="0" indent="0">
              <a:buNone/>
              <a:defRPr sz="2000">
                <a:solidFill>
                  <a:schemeClr val="tx1"/>
                </a:solidFill>
              </a:defRPr>
            </a:lvl1pPr>
          </a:lstStyle>
          <a:p>
            <a:pPr lvl="0"/>
            <a:r>
              <a:rPr lang="en-US"/>
              <a:t>Click to add </a:t>
            </a:r>
            <a:r>
              <a:rPr lang="en-US" err="1"/>
              <a:t>subheader</a:t>
            </a:r>
            <a:endParaRPr lang="en-US"/>
          </a:p>
        </p:txBody>
      </p:sp>
      <p:sp>
        <p:nvSpPr>
          <p:cNvPr id="9" name="Content Placeholder 3">
            <a:extLst>
              <a:ext uri="{FF2B5EF4-FFF2-40B4-BE49-F238E27FC236}">
                <a16:creationId xmlns:a16="http://schemas.microsoft.com/office/drawing/2014/main" id="{EFA71095-3F77-7F45-9E43-E80587323ACE}"/>
              </a:ext>
            </a:extLst>
          </p:cNvPr>
          <p:cNvSpPr>
            <a:spLocks noGrp="1"/>
          </p:cNvSpPr>
          <p:nvPr>
            <p:ph sz="quarter" idx="18"/>
          </p:nvPr>
        </p:nvSpPr>
        <p:spPr>
          <a:xfrm>
            <a:off x="304800" y="1447800"/>
            <a:ext cx="3657600" cy="2334768"/>
          </a:xfrm>
          <a:prstGeom prst="rect">
            <a:avLst/>
          </a:prstGeo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a:extLst>
              <a:ext uri="{FF2B5EF4-FFF2-40B4-BE49-F238E27FC236}">
                <a16:creationId xmlns:a16="http://schemas.microsoft.com/office/drawing/2014/main" id="{B8762543-398C-384C-8B6E-8572E8FDC8D3}"/>
              </a:ext>
            </a:extLst>
          </p:cNvPr>
          <p:cNvSpPr>
            <a:spLocks noGrp="1"/>
          </p:cNvSpPr>
          <p:nvPr>
            <p:ph sz="quarter" idx="19"/>
          </p:nvPr>
        </p:nvSpPr>
        <p:spPr>
          <a:xfrm>
            <a:off x="4267201" y="1447800"/>
            <a:ext cx="3657600" cy="2334768"/>
          </a:xfrm>
          <a:prstGeom prst="rect">
            <a:avLst/>
          </a:prstGeo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a:extLst>
              <a:ext uri="{FF2B5EF4-FFF2-40B4-BE49-F238E27FC236}">
                <a16:creationId xmlns:a16="http://schemas.microsoft.com/office/drawing/2014/main" id="{C8CD3A37-ECA5-0F43-995E-663D6AC132E5}"/>
              </a:ext>
            </a:extLst>
          </p:cNvPr>
          <p:cNvSpPr>
            <a:spLocks noGrp="1"/>
          </p:cNvSpPr>
          <p:nvPr>
            <p:ph sz="quarter" idx="21"/>
          </p:nvPr>
        </p:nvSpPr>
        <p:spPr>
          <a:xfrm>
            <a:off x="8229594" y="1447800"/>
            <a:ext cx="3657603" cy="2334768"/>
          </a:xfrm>
          <a:prstGeom prst="rect">
            <a:avLst/>
          </a:prstGeo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980188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Section divider with photo">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FE7B338-1383-7843-9E8D-F295A0DFF59D}"/>
              </a:ext>
            </a:extLst>
          </p:cNvPr>
          <p:cNvSpPr>
            <a:spLocks noGrp="1"/>
          </p:cNvSpPr>
          <p:nvPr>
            <p:ph type="pic" sz="quarter" idx="13" hasCustomPrompt="1"/>
          </p:nvPr>
        </p:nvSpPr>
        <p:spPr>
          <a:xfrm>
            <a:off x="-1" y="0"/>
            <a:ext cx="12191999" cy="6858000"/>
          </a:xfrm>
          <a:custGeom>
            <a:avLst/>
            <a:gdLst>
              <a:gd name="connsiteX0" fmla="*/ 0 w 12191999"/>
              <a:gd name="connsiteY0" fmla="*/ 0 h 6858000"/>
              <a:gd name="connsiteX1" fmla="*/ 10321761 w 12191999"/>
              <a:gd name="connsiteY1" fmla="*/ 0 h 6858000"/>
              <a:gd name="connsiteX2" fmla="*/ 10321761 w 12191999"/>
              <a:gd name="connsiteY2" fmla="*/ 673804 h 6858000"/>
              <a:gd name="connsiteX3" fmla="*/ 11887200 w 12191999"/>
              <a:gd name="connsiteY3" fmla="*/ 673804 h 6858000"/>
              <a:gd name="connsiteX4" fmla="*/ 11887200 w 12191999"/>
              <a:gd name="connsiteY4" fmla="*/ 0 h 6858000"/>
              <a:gd name="connsiteX5" fmla="*/ 12191999 w 12191999"/>
              <a:gd name="connsiteY5" fmla="*/ 0 h 6858000"/>
              <a:gd name="connsiteX6" fmla="*/ 12191999 w 12191999"/>
              <a:gd name="connsiteY6" fmla="*/ 6858000 h 6858000"/>
              <a:gd name="connsiteX7" fmla="*/ 0 w 12191999"/>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1999" h="6858000">
                <a:moveTo>
                  <a:pt x="0" y="0"/>
                </a:moveTo>
                <a:lnTo>
                  <a:pt x="10321761" y="0"/>
                </a:lnTo>
                <a:lnTo>
                  <a:pt x="10321761" y="673804"/>
                </a:lnTo>
                <a:lnTo>
                  <a:pt x="11887200" y="673804"/>
                </a:lnTo>
                <a:lnTo>
                  <a:pt x="11887200" y="0"/>
                </a:lnTo>
                <a:lnTo>
                  <a:pt x="12191999" y="0"/>
                </a:lnTo>
                <a:lnTo>
                  <a:pt x="12191999" y="6858000"/>
                </a:lnTo>
                <a:lnTo>
                  <a:pt x="0" y="6858000"/>
                </a:lnTo>
                <a:close/>
              </a:path>
            </a:pathLst>
          </a:custGeom>
          <a:pattFill prst="pct5">
            <a:fgClr>
              <a:schemeClr val="bg1"/>
            </a:fgClr>
            <a:bgClr>
              <a:schemeClr val="bg2"/>
            </a:bgClr>
          </a:pattFill>
        </p:spPr>
        <p:txBody>
          <a:bodyPr vert="horz" wrap="square" lIns="0" tIns="0" rIns="0" bIns="0" rtlCol="0" anchor="ctr">
            <a:noAutofit/>
          </a:bodyPr>
          <a:lstStyle>
            <a:lvl1pPr marL="0" indent="0" algn="ctr">
              <a:buFontTx/>
              <a:buNone/>
              <a:defRPr lang="en-US" sz="1400">
                <a:solidFill>
                  <a:schemeClr val="tx1"/>
                </a:solidFill>
              </a:defRPr>
            </a:lvl1pPr>
          </a:lstStyle>
          <a:p>
            <a:pPr lvl="0" algn="ctr">
              <a:buNone/>
            </a:pPr>
            <a:r>
              <a:rPr lang="en-US"/>
              <a:t>Add photo</a:t>
            </a:r>
          </a:p>
        </p:txBody>
      </p:sp>
      <p:sp>
        <p:nvSpPr>
          <p:cNvPr id="5" name="Slide Number Placeholder 2">
            <a:extLst>
              <a:ext uri="{FF2B5EF4-FFF2-40B4-BE49-F238E27FC236}">
                <a16:creationId xmlns:a16="http://schemas.microsoft.com/office/drawing/2014/main" id="{A634E9F6-D24E-5141-81EF-69349B9658EA}"/>
              </a:ext>
            </a:extLst>
          </p:cNvPr>
          <p:cNvSpPr>
            <a:spLocks noGrp="1"/>
          </p:cNvSpPr>
          <p:nvPr>
            <p:ph type="sldNum" sz="quarter" idx="10"/>
          </p:nvPr>
        </p:nvSpPr>
        <p:spPr>
          <a:xfrm>
            <a:off x="1" y="6553200"/>
            <a:ext cx="304799" cy="304799"/>
          </a:xfrm>
        </p:spPr>
        <p:txBody>
          <a:bodyPr/>
          <a:lstStyle>
            <a:lvl1pPr>
              <a:defRPr>
                <a:solidFill>
                  <a:schemeClr val="bg1"/>
                </a:solidFill>
              </a:defRPr>
            </a:lvl1pPr>
          </a:lstStyle>
          <a:p>
            <a:fld id="{89006F1E-66CD-4A4B-9370-B4A3080F0E6C}" type="slidenum">
              <a:rPr lang="en-US" smtClean="0"/>
              <a:pPr/>
              <a:t>‹#›</a:t>
            </a:fld>
            <a:endParaRPr lang="en-US"/>
          </a:p>
        </p:txBody>
      </p:sp>
      <p:sp>
        <p:nvSpPr>
          <p:cNvPr id="6" name="Footer Placeholder 1">
            <a:extLst>
              <a:ext uri="{FF2B5EF4-FFF2-40B4-BE49-F238E27FC236}">
                <a16:creationId xmlns:a16="http://schemas.microsoft.com/office/drawing/2014/main" id="{B41A9DDB-F5FB-5046-B179-F07475B09908}"/>
              </a:ext>
            </a:extLst>
          </p:cNvPr>
          <p:cNvSpPr>
            <a:spLocks noGrp="1"/>
          </p:cNvSpPr>
          <p:nvPr>
            <p:ph type="ftr" sz="quarter" idx="14"/>
          </p:nvPr>
        </p:nvSpPr>
        <p:spPr>
          <a:xfrm>
            <a:off x="304799" y="6553201"/>
            <a:ext cx="5791201" cy="304800"/>
          </a:xfrm>
          <a:prstGeom prst="rect">
            <a:avLst/>
          </a:prstGeom>
        </p:spPr>
        <p:txBody>
          <a:bodyPr/>
          <a:lstStyle>
            <a:lvl1pPr>
              <a:defRPr>
                <a:solidFill>
                  <a:schemeClr val="bg1"/>
                </a:solidFill>
              </a:defRPr>
            </a:lvl1pPr>
          </a:lstStyle>
          <a:p>
            <a:r>
              <a:rPr lang="en-US">
                <a:ea typeface="MS PGothic" panose="020B0600070205080204" pitchFamily="34" charset="-128"/>
              </a:rPr>
              <a:t>Proprietary &amp; Confidential |  authoremail@thermofisher.com | 12-April-2021</a:t>
            </a:r>
          </a:p>
        </p:txBody>
      </p:sp>
      <p:sp>
        <p:nvSpPr>
          <p:cNvPr id="8" name="Content Placeholder 2">
            <a:extLst>
              <a:ext uri="{FF2B5EF4-FFF2-40B4-BE49-F238E27FC236}">
                <a16:creationId xmlns:a16="http://schemas.microsoft.com/office/drawing/2014/main" id="{5DC4D9F1-5E1A-DD4A-946F-32414E026F44}"/>
              </a:ext>
            </a:extLst>
          </p:cNvPr>
          <p:cNvSpPr>
            <a:spLocks noGrp="1"/>
          </p:cNvSpPr>
          <p:nvPr>
            <p:ph sz="quarter" idx="15" hasCustomPrompt="1"/>
          </p:nvPr>
        </p:nvSpPr>
        <p:spPr>
          <a:xfrm>
            <a:off x="0" y="3742192"/>
            <a:ext cx="6096000" cy="1071062"/>
          </a:xfrm>
          <a:solidFill>
            <a:schemeClr val="bg1"/>
          </a:solidFill>
        </p:spPr>
        <p:txBody>
          <a:bodyPr wrap="square" lIns="292608" tIns="201168" rIns="292608" bIns="91440" anchor="b">
            <a:spAutoFit/>
          </a:bodyPr>
          <a:lstStyle>
            <a:lvl1pPr marL="0" indent="0">
              <a:lnSpc>
                <a:spcPct val="90000"/>
              </a:lnSpc>
              <a:buNone/>
              <a:defRPr sz="2800" b="1">
                <a:solidFill>
                  <a:schemeClr val="tx2"/>
                </a:solidFill>
              </a:defRPr>
            </a:lvl1pPr>
          </a:lstStyle>
          <a:p>
            <a:pPr lvl="0"/>
            <a:r>
              <a:rPr lang="en-US"/>
              <a:t>Section title with full photo background</a:t>
            </a:r>
          </a:p>
        </p:txBody>
      </p:sp>
      <p:sp>
        <p:nvSpPr>
          <p:cNvPr id="10" name="Content Placeholder 2">
            <a:extLst>
              <a:ext uri="{FF2B5EF4-FFF2-40B4-BE49-F238E27FC236}">
                <a16:creationId xmlns:a16="http://schemas.microsoft.com/office/drawing/2014/main" id="{15406226-911A-D441-8417-8C4961D7AEF2}"/>
              </a:ext>
            </a:extLst>
          </p:cNvPr>
          <p:cNvSpPr>
            <a:spLocks noGrp="1"/>
          </p:cNvSpPr>
          <p:nvPr>
            <p:ph sz="quarter" idx="16" hasCustomPrompt="1"/>
          </p:nvPr>
        </p:nvSpPr>
        <p:spPr>
          <a:xfrm>
            <a:off x="0" y="4813254"/>
            <a:ext cx="6096000" cy="630814"/>
          </a:xfrm>
          <a:solidFill>
            <a:schemeClr val="bg1"/>
          </a:solidFill>
        </p:spPr>
        <p:txBody>
          <a:bodyPr wrap="square" lIns="292608" tIns="91440" rIns="292608" bIns="201168" anchor="t">
            <a:spAutoFit/>
          </a:bodyPr>
          <a:lstStyle>
            <a:lvl1pPr marL="0" marR="0" indent="0" algn="l" defTabSz="914400" rtl="0" eaLnBrk="1" fontAlgn="auto" latinLnBrk="0" hangingPunct="1">
              <a:lnSpc>
                <a:spcPct val="100000"/>
              </a:lnSpc>
              <a:spcBef>
                <a:spcPts val="200"/>
              </a:spcBef>
              <a:spcAft>
                <a:spcPts val="0"/>
              </a:spcAft>
              <a:buClr>
                <a:schemeClr val="tx2"/>
              </a:buClr>
              <a:buSzPct val="100000"/>
              <a:buFont typeface="Arial" panose="020B0604020202020204" pitchFamily="34" charset="0"/>
              <a:buNone/>
              <a:tabLst/>
              <a:defRPr lang="en-US" sz="2000" b="0" kern="1200" dirty="0">
                <a:solidFill>
                  <a:schemeClr val="tx1"/>
                </a:solidFill>
                <a:latin typeface="+mn-lt"/>
                <a:ea typeface="+mn-ea"/>
                <a:cs typeface="+mn-cs"/>
              </a:defRPr>
            </a:lvl1pPr>
          </a:lstStyle>
          <a:p>
            <a:pPr marL="0" marR="0" lvl="0" indent="0" algn="l" defTabSz="914400" rtl="0" eaLnBrk="1" fontAlgn="auto" latinLnBrk="0" hangingPunct="1">
              <a:lnSpc>
                <a:spcPct val="120000"/>
              </a:lnSpc>
              <a:spcBef>
                <a:spcPts val="200"/>
              </a:spcBef>
              <a:spcAft>
                <a:spcPts val="0"/>
              </a:spcAft>
              <a:buClr>
                <a:schemeClr val="tx2"/>
              </a:buClr>
              <a:buSzPct val="100000"/>
              <a:buFont typeface="Arial" panose="020B0604020202020204" pitchFamily="34" charset="0"/>
              <a:buNone/>
              <a:tabLst/>
              <a:defRPr/>
            </a:pPr>
            <a:r>
              <a:rPr lang="en-US"/>
              <a:t>Sub title and or description of next section</a:t>
            </a:r>
          </a:p>
        </p:txBody>
      </p:sp>
    </p:spTree>
    <p:extLst>
      <p:ext uri="{BB962C8B-B14F-4D97-AF65-F5344CB8AC3E}">
        <p14:creationId xmlns:p14="http://schemas.microsoft.com/office/powerpoint/2010/main" val="337177457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1_Red background">
    <p:bg>
      <p:bgPr>
        <a:gradFill flip="none" rotWithShape="1">
          <a:gsLst>
            <a:gs pos="0">
              <a:schemeClr val="tx2"/>
            </a:gs>
            <a:gs pos="45000">
              <a:schemeClr val="tx2"/>
            </a:gs>
            <a:gs pos="100000">
              <a:schemeClr val="tx2">
                <a:lumMod val="50000"/>
              </a:schemeClr>
            </a:gs>
          </a:gsLst>
          <a:lin ang="1080000" scaled="0"/>
          <a:tileRect/>
        </a:gra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A3C5929-7108-4B12-9D63-303E19B8EFA5}"/>
              </a:ext>
            </a:extLst>
          </p:cNvPr>
          <p:cNvPicPr>
            <a:picLocks noChangeAspect="1"/>
          </p:cNvPicPr>
          <p:nvPr userDrawn="1"/>
        </p:nvPicPr>
        <p:blipFill>
          <a:blip r:embed="rId2">
            <a:alphaModFix amt="50000"/>
          </a:blip>
          <a:stretch>
            <a:fillRect/>
          </a:stretch>
        </p:blipFill>
        <p:spPr>
          <a:xfrm>
            <a:off x="7514466" y="2791642"/>
            <a:ext cx="4377307" cy="3761558"/>
          </a:xfrm>
          <a:prstGeom prst="rect">
            <a:avLst/>
          </a:prstGeom>
        </p:spPr>
      </p:pic>
      <p:sp>
        <p:nvSpPr>
          <p:cNvPr id="11" name="Title 10">
            <a:extLst>
              <a:ext uri="{FF2B5EF4-FFF2-40B4-BE49-F238E27FC236}">
                <a16:creationId xmlns:a16="http://schemas.microsoft.com/office/drawing/2014/main" id="{0BD60394-6B49-3F40-ACB2-84420DAC9383}"/>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Slide Number Placeholder 2">
            <a:extLst>
              <a:ext uri="{FF2B5EF4-FFF2-40B4-BE49-F238E27FC236}">
                <a16:creationId xmlns:a16="http://schemas.microsoft.com/office/drawing/2014/main" id="{6D3BC3C2-2A41-544F-A0F8-7CFF39CCFFAC}"/>
              </a:ext>
            </a:extLst>
          </p:cNvPr>
          <p:cNvSpPr>
            <a:spLocks noGrp="1"/>
          </p:cNvSpPr>
          <p:nvPr>
            <p:ph type="sldNum" sz="quarter" idx="10"/>
          </p:nvPr>
        </p:nvSpPr>
        <p:spPr>
          <a:xfrm>
            <a:off x="1" y="6553200"/>
            <a:ext cx="304799" cy="304799"/>
          </a:xfrm>
        </p:spPr>
        <p:txBody>
          <a:bodyPr/>
          <a:lstStyle>
            <a:lvl1pPr>
              <a:defRPr>
                <a:solidFill>
                  <a:schemeClr val="bg1"/>
                </a:solidFill>
              </a:defRPr>
            </a:lvl1pPr>
          </a:lstStyle>
          <a:p>
            <a:fld id="{89006F1E-66CD-4A4B-9370-B4A3080F0E6C}" type="slidenum">
              <a:rPr lang="en-US" smtClean="0"/>
              <a:pPr/>
              <a:t>‹#›</a:t>
            </a:fld>
            <a:endParaRPr lang="en-US"/>
          </a:p>
        </p:txBody>
      </p:sp>
      <p:sp>
        <p:nvSpPr>
          <p:cNvPr id="5" name="Footer Placeholder 1">
            <a:extLst>
              <a:ext uri="{FF2B5EF4-FFF2-40B4-BE49-F238E27FC236}">
                <a16:creationId xmlns:a16="http://schemas.microsoft.com/office/drawing/2014/main" id="{9BCE1F3E-3D84-364B-BB1F-921E4AA1B217}"/>
              </a:ext>
            </a:extLst>
          </p:cNvPr>
          <p:cNvSpPr>
            <a:spLocks noGrp="1"/>
          </p:cNvSpPr>
          <p:nvPr>
            <p:ph type="ftr" sz="quarter" idx="14"/>
          </p:nvPr>
        </p:nvSpPr>
        <p:spPr>
          <a:xfrm>
            <a:off x="304799" y="6553201"/>
            <a:ext cx="5791201" cy="304800"/>
          </a:xfrm>
          <a:prstGeom prst="rect">
            <a:avLst/>
          </a:prstGeom>
        </p:spPr>
        <p:txBody>
          <a:bodyPr/>
          <a:lstStyle>
            <a:lvl1pPr>
              <a:defRPr>
                <a:solidFill>
                  <a:schemeClr val="bg1"/>
                </a:solidFill>
              </a:defRPr>
            </a:lvl1pPr>
          </a:lstStyle>
          <a:p>
            <a:r>
              <a:rPr lang="en-US">
                <a:ea typeface="MS PGothic" panose="020B0600070205080204" pitchFamily="34" charset="-128"/>
              </a:rPr>
              <a:t>Proprietary &amp; Confidential |  authoremail@thermofisher.com | 12-April-2021</a:t>
            </a:r>
          </a:p>
        </p:txBody>
      </p:sp>
      <p:sp>
        <p:nvSpPr>
          <p:cNvPr id="6" name="Text Placeholder 7">
            <a:extLst>
              <a:ext uri="{FF2B5EF4-FFF2-40B4-BE49-F238E27FC236}">
                <a16:creationId xmlns:a16="http://schemas.microsoft.com/office/drawing/2014/main" id="{94199484-7909-9044-9003-EFED90CAC053}"/>
              </a:ext>
            </a:extLst>
          </p:cNvPr>
          <p:cNvSpPr>
            <a:spLocks noGrp="1"/>
          </p:cNvSpPr>
          <p:nvPr>
            <p:ph type="body" sz="quarter" idx="11" hasCustomPrompt="1"/>
          </p:nvPr>
        </p:nvSpPr>
        <p:spPr>
          <a:xfrm>
            <a:off x="300226" y="893063"/>
            <a:ext cx="11591547" cy="381001"/>
          </a:xfrm>
          <a:prstGeom prst="rect">
            <a:avLst/>
          </a:prstGeom>
        </p:spPr>
        <p:txBody>
          <a:bodyPr lIns="0" tIns="0" rIns="0" bIns="0" anchor="t">
            <a:noAutofit/>
          </a:bodyPr>
          <a:lstStyle>
            <a:lvl1pPr marL="0" indent="0">
              <a:buNone/>
              <a:defRPr sz="2000">
                <a:solidFill>
                  <a:schemeClr val="bg1"/>
                </a:solidFill>
              </a:defRPr>
            </a:lvl1pPr>
          </a:lstStyle>
          <a:p>
            <a:pPr lvl="0"/>
            <a:r>
              <a:rPr lang="en-US"/>
              <a:t>Click to add </a:t>
            </a:r>
            <a:r>
              <a:rPr lang="en-US" err="1"/>
              <a:t>subheader</a:t>
            </a:r>
            <a:endParaRPr lang="en-US"/>
          </a:p>
        </p:txBody>
      </p:sp>
    </p:spTree>
    <p:extLst>
      <p:ext uri="{BB962C8B-B14F-4D97-AF65-F5344CB8AC3E}">
        <p14:creationId xmlns:p14="http://schemas.microsoft.com/office/powerpoint/2010/main" val="199243257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Welcome">
    <p:bg>
      <p:bgPr>
        <a:gradFill flip="none" rotWithShape="1">
          <a:gsLst>
            <a:gs pos="0">
              <a:schemeClr val="tx2"/>
            </a:gs>
            <a:gs pos="45000">
              <a:schemeClr val="tx2"/>
            </a:gs>
            <a:gs pos="100000">
              <a:schemeClr val="tx2">
                <a:lumMod val="50000"/>
              </a:schemeClr>
            </a:gs>
          </a:gsLst>
          <a:lin ang="1080000" scaled="0"/>
          <a:tileRect/>
        </a:gra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C7297DA-0943-4F9D-B4DC-D89E3C56E268}"/>
              </a:ext>
            </a:extLst>
          </p:cNvPr>
          <p:cNvSpPr/>
          <p:nvPr/>
        </p:nvSpPr>
        <p:spPr>
          <a:xfrm>
            <a:off x="251012" y="3890360"/>
            <a:ext cx="8912866" cy="1569660"/>
          </a:xfrm>
          <a:prstGeom prst="rect">
            <a:avLst/>
          </a:prstGeom>
        </p:spPr>
        <p:txBody>
          <a:bodyPr wrap="square">
            <a:spAutoFit/>
          </a:bodyPr>
          <a:lstStyle/>
          <a:p>
            <a:r>
              <a:rPr lang="en-US" sz="9600" b="1">
                <a:solidFill>
                  <a:schemeClr val="bg1"/>
                </a:solidFill>
              </a:rPr>
              <a:t>Welcome</a:t>
            </a:r>
          </a:p>
        </p:txBody>
      </p:sp>
      <p:grpSp>
        <p:nvGrpSpPr>
          <p:cNvPr id="9" name="Group 8" hidden="1">
            <a:extLst>
              <a:ext uri="{FF2B5EF4-FFF2-40B4-BE49-F238E27FC236}">
                <a16:creationId xmlns:a16="http://schemas.microsoft.com/office/drawing/2014/main" id="{1B3035E9-1E30-4A65-87BF-D87723B7387D}"/>
              </a:ext>
            </a:extLst>
          </p:cNvPr>
          <p:cNvGrpSpPr/>
          <p:nvPr/>
        </p:nvGrpSpPr>
        <p:grpSpPr>
          <a:xfrm>
            <a:off x="9662260" y="818784"/>
            <a:ext cx="2529740" cy="6039216"/>
            <a:chOff x="9662260" y="818784"/>
            <a:chExt cx="2529740" cy="6039216"/>
          </a:xfrm>
        </p:grpSpPr>
        <p:pic>
          <p:nvPicPr>
            <p:cNvPr id="10" name="Picture 9">
              <a:extLst>
                <a:ext uri="{FF2B5EF4-FFF2-40B4-BE49-F238E27FC236}">
                  <a16:creationId xmlns:a16="http://schemas.microsoft.com/office/drawing/2014/main" id="{9DFE8F35-3478-4D36-AE61-9902FA9E571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662260" y="1471202"/>
              <a:ext cx="2529740" cy="5386798"/>
            </a:xfrm>
            <a:prstGeom prst="rect">
              <a:avLst/>
            </a:prstGeom>
          </p:spPr>
        </p:pic>
        <p:pic>
          <p:nvPicPr>
            <p:cNvPr id="12" name="Picture 11">
              <a:extLst>
                <a:ext uri="{FF2B5EF4-FFF2-40B4-BE49-F238E27FC236}">
                  <a16:creationId xmlns:a16="http://schemas.microsoft.com/office/drawing/2014/main" id="{A63CB1BA-AEDB-454F-BBF3-A9613807210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0539851" y="4300794"/>
              <a:ext cx="1652148" cy="2095226"/>
            </a:xfrm>
            <a:prstGeom prst="rect">
              <a:avLst/>
            </a:prstGeom>
          </p:spPr>
        </p:pic>
        <p:pic>
          <p:nvPicPr>
            <p:cNvPr id="13" name="Picture 12">
              <a:extLst>
                <a:ext uri="{FF2B5EF4-FFF2-40B4-BE49-F238E27FC236}">
                  <a16:creationId xmlns:a16="http://schemas.microsoft.com/office/drawing/2014/main" id="{28BB9361-2245-45C7-85B1-98F75F74B97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20585276">
              <a:off x="10888776" y="3404437"/>
              <a:ext cx="841085" cy="888470"/>
            </a:xfrm>
            <a:prstGeom prst="rect">
              <a:avLst/>
            </a:prstGeom>
          </p:spPr>
        </p:pic>
        <p:pic>
          <p:nvPicPr>
            <p:cNvPr id="14" name="Picture 13">
              <a:extLst>
                <a:ext uri="{FF2B5EF4-FFF2-40B4-BE49-F238E27FC236}">
                  <a16:creationId xmlns:a16="http://schemas.microsoft.com/office/drawing/2014/main" id="{266621D9-C1BE-4A88-B2E8-40BCC4E56DF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839843" y="4683251"/>
              <a:ext cx="608076" cy="626643"/>
            </a:xfrm>
            <a:prstGeom prst="rect">
              <a:avLst/>
            </a:prstGeom>
          </p:spPr>
        </p:pic>
        <p:pic>
          <p:nvPicPr>
            <p:cNvPr id="15" name="Picture 14">
              <a:extLst>
                <a:ext uri="{FF2B5EF4-FFF2-40B4-BE49-F238E27FC236}">
                  <a16:creationId xmlns:a16="http://schemas.microsoft.com/office/drawing/2014/main" id="{98F6AB9F-8570-461E-BBA2-E013A3DA14E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rot="19848158">
              <a:off x="10621861" y="5789703"/>
              <a:ext cx="593846" cy="634660"/>
            </a:xfrm>
            <a:prstGeom prst="rect">
              <a:avLst/>
            </a:prstGeom>
          </p:spPr>
        </p:pic>
        <p:pic>
          <p:nvPicPr>
            <p:cNvPr id="16" name="Picture 15">
              <a:extLst>
                <a:ext uri="{FF2B5EF4-FFF2-40B4-BE49-F238E27FC236}">
                  <a16:creationId xmlns:a16="http://schemas.microsoft.com/office/drawing/2014/main" id="{1EE6F465-A690-4861-87C0-E7A6A65E3377}"/>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1037236" y="818784"/>
              <a:ext cx="1154763" cy="1703758"/>
            </a:xfrm>
            <a:prstGeom prst="rect">
              <a:avLst/>
            </a:prstGeom>
          </p:spPr>
        </p:pic>
      </p:grpSp>
      <p:sp>
        <p:nvSpPr>
          <p:cNvPr id="17" name="Slide Number Placeholder 2">
            <a:extLst>
              <a:ext uri="{FF2B5EF4-FFF2-40B4-BE49-F238E27FC236}">
                <a16:creationId xmlns:a16="http://schemas.microsoft.com/office/drawing/2014/main" id="{8EE24E27-68F9-E941-9584-DF35AA5AA788}"/>
              </a:ext>
            </a:extLst>
          </p:cNvPr>
          <p:cNvSpPr>
            <a:spLocks noGrp="1"/>
          </p:cNvSpPr>
          <p:nvPr>
            <p:ph type="sldNum" sz="quarter" idx="10"/>
          </p:nvPr>
        </p:nvSpPr>
        <p:spPr>
          <a:xfrm>
            <a:off x="1" y="6553200"/>
            <a:ext cx="304799" cy="304799"/>
          </a:xfrm>
        </p:spPr>
        <p:txBody>
          <a:bodyPr/>
          <a:lstStyle>
            <a:lvl1pPr>
              <a:defRPr>
                <a:solidFill>
                  <a:schemeClr val="bg1"/>
                </a:solidFill>
              </a:defRPr>
            </a:lvl1pPr>
          </a:lstStyle>
          <a:p>
            <a:fld id="{89006F1E-66CD-4A4B-9370-B4A3080F0E6C}" type="slidenum">
              <a:rPr lang="en-US" smtClean="0"/>
              <a:pPr/>
              <a:t>‹#›</a:t>
            </a:fld>
            <a:endParaRPr lang="en-US"/>
          </a:p>
        </p:txBody>
      </p:sp>
      <p:sp>
        <p:nvSpPr>
          <p:cNvPr id="18" name="Footer Placeholder 1">
            <a:extLst>
              <a:ext uri="{FF2B5EF4-FFF2-40B4-BE49-F238E27FC236}">
                <a16:creationId xmlns:a16="http://schemas.microsoft.com/office/drawing/2014/main" id="{6380E455-E213-C44A-A7FC-3A9E06997A4C}"/>
              </a:ext>
            </a:extLst>
          </p:cNvPr>
          <p:cNvSpPr>
            <a:spLocks noGrp="1"/>
          </p:cNvSpPr>
          <p:nvPr>
            <p:ph type="ftr" sz="quarter" idx="14"/>
          </p:nvPr>
        </p:nvSpPr>
        <p:spPr>
          <a:xfrm>
            <a:off x="304799" y="6553201"/>
            <a:ext cx="5791201" cy="304800"/>
          </a:xfrm>
          <a:prstGeom prst="rect">
            <a:avLst/>
          </a:prstGeom>
        </p:spPr>
        <p:txBody>
          <a:bodyPr/>
          <a:lstStyle>
            <a:lvl1pPr>
              <a:defRPr>
                <a:solidFill>
                  <a:schemeClr val="bg1"/>
                </a:solidFill>
              </a:defRPr>
            </a:lvl1pPr>
          </a:lstStyle>
          <a:p>
            <a:r>
              <a:rPr lang="en-US">
                <a:ea typeface="MS PGothic" panose="020B0600070205080204" pitchFamily="34" charset="-128"/>
              </a:rPr>
              <a:t>Proprietary &amp; Confidential |  authoremail@thermofisher.com | 12-April-2021</a:t>
            </a:r>
          </a:p>
        </p:txBody>
      </p:sp>
      <p:sp>
        <p:nvSpPr>
          <p:cNvPr id="5" name="Content Placeholder 4">
            <a:extLst>
              <a:ext uri="{FF2B5EF4-FFF2-40B4-BE49-F238E27FC236}">
                <a16:creationId xmlns:a16="http://schemas.microsoft.com/office/drawing/2014/main" id="{B2D62B08-7542-0949-BFA0-4B9D35DAAFBF}"/>
              </a:ext>
            </a:extLst>
          </p:cNvPr>
          <p:cNvSpPr>
            <a:spLocks noGrp="1"/>
          </p:cNvSpPr>
          <p:nvPr>
            <p:ph sz="quarter" idx="16" hasCustomPrompt="1"/>
          </p:nvPr>
        </p:nvSpPr>
        <p:spPr>
          <a:xfrm>
            <a:off x="348472" y="5268999"/>
            <a:ext cx="6612501" cy="489250"/>
          </a:xfrm>
        </p:spPr>
        <p:txBody>
          <a:bodyPr/>
          <a:lstStyle>
            <a:lvl1pPr marL="0" marR="0" indent="0" algn="l" defTabSz="914400" rtl="0" eaLnBrk="1" fontAlgn="auto" latinLnBrk="0" hangingPunct="1">
              <a:lnSpc>
                <a:spcPct val="120000"/>
              </a:lnSpc>
              <a:spcBef>
                <a:spcPts val="200"/>
              </a:spcBef>
              <a:spcAft>
                <a:spcPts val="0"/>
              </a:spcAft>
              <a:buClr>
                <a:schemeClr val="tx2"/>
              </a:buClr>
              <a:buSzPct val="100000"/>
              <a:buFont typeface="Arial" panose="020B0604020202020204" pitchFamily="34" charset="0"/>
              <a:buNone/>
              <a:tabLst/>
              <a:defRPr>
                <a:solidFill>
                  <a:schemeClr val="bg1"/>
                </a:solidFill>
              </a:defRPr>
            </a:lvl1pPr>
          </a:lstStyle>
          <a:p>
            <a:pPr marL="0" marR="0" lvl="0" indent="0" algn="l" defTabSz="914400" rtl="0" eaLnBrk="1" fontAlgn="auto" latinLnBrk="0" hangingPunct="1">
              <a:lnSpc>
                <a:spcPct val="120000"/>
              </a:lnSpc>
              <a:spcBef>
                <a:spcPts val="200"/>
              </a:spcBef>
              <a:spcAft>
                <a:spcPts val="0"/>
              </a:spcAft>
              <a:buClr>
                <a:schemeClr val="tx2"/>
              </a:buClr>
              <a:buSzPct val="100000"/>
              <a:buFont typeface="Arial" panose="020B0604020202020204" pitchFamily="34" charset="0"/>
              <a:buNone/>
              <a:tabLst/>
              <a:defRPr/>
            </a:pPr>
            <a:r>
              <a:rPr lang="en-US" sz="2000" b="0">
                <a:solidFill>
                  <a:schemeClr val="bg1"/>
                </a:solidFill>
              </a:rPr>
              <a:t>Custom message. The presentation will start shortly.</a:t>
            </a:r>
            <a:endParaRPr lang="en-US" sz="2000">
              <a:solidFill>
                <a:schemeClr val="bg1"/>
              </a:solidFill>
            </a:endParaRPr>
          </a:p>
        </p:txBody>
      </p:sp>
      <p:pic>
        <p:nvPicPr>
          <p:cNvPr id="3" name="Picture 2">
            <a:extLst>
              <a:ext uri="{FF2B5EF4-FFF2-40B4-BE49-F238E27FC236}">
                <a16:creationId xmlns:a16="http://schemas.microsoft.com/office/drawing/2014/main" id="{B7DEB31B-2FF0-43F6-BECF-57655E08F3BC}"/>
              </a:ext>
            </a:extLst>
          </p:cNvPr>
          <p:cNvPicPr>
            <a:picLocks noChangeAspect="1"/>
          </p:cNvPicPr>
          <p:nvPr userDrawn="1"/>
        </p:nvPicPr>
        <p:blipFill>
          <a:blip r:embed="rId8"/>
          <a:stretch>
            <a:fillRect/>
          </a:stretch>
        </p:blipFill>
        <p:spPr>
          <a:xfrm>
            <a:off x="5678428" y="2791642"/>
            <a:ext cx="4377307" cy="3761558"/>
          </a:xfrm>
          <a:prstGeom prst="rect">
            <a:avLst/>
          </a:prstGeom>
        </p:spPr>
      </p:pic>
    </p:spTree>
    <p:extLst>
      <p:ext uri="{BB962C8B-B14F-4D97-AF65-F5344CB8AC3E}">
        <p14:creationId xmlns:p14="http://schemas.microsoft.com/office/powerpoint/2010/main" val="701130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1_Thank you">
    <p:bg>
      <p:bgPr>
        <a:gradFill flip="none" rotWithShape="1">
          <a:gsLst>
            <a:gs pos="0">
              <a:schemeClr val="tx2"/>
            </a:gs>
            <a:gs pos="45000">
              <a:schemeClr val="tx2"/>
            </a:gs>
            <a:gs pos="100000">
              <a:schemeClr val="tx2">
                <a:lumMod val="50000"/>
              </a:schemeClr>
            </a:gs>
          </a:gsLst>
          <a:lin ang="1080000" scaled="0"/>
          <a:tileRect/>
        </a:gra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C7297DA-0943-4F9D-B4DC-D89E3C56E268}"/>
              </a:ext>
            </a:extLst>
          </p:cNvPr>
          <p:cNvSpPr/>
          <p:nvPr/>
        </p:nvSpPr>
        <p:spPr>
          <a:xfrm>
            <a:off x="251012" y="3890360"/>
            <a:ext cx="8912866" cy="1569660"/>
          </a:xfrm>
          <a:prstGeom prst="rect">
            <a:avLst/>
          </a:prstGeom>
        </p:spPr>
        <p:txBody>
          <a:bodyPr wrap="square">
            <a:spAutoFit/>
          </a:bodyPr>
          <a:lstStyle/>
          <a:p>
            <a:r>
              <a:rPr lang="en-US" sz="9600" b="1">
                <a:solidFill>
                  <a:schemeClr val="bg1"/>
                </a:solidFill>
              </a:rPr>
              <a:t>Thank you</a:t>
            </a:r>
            <a:endParaRPr lang="en-US" sz="2400">
              <a:solidFill>
                <a:schemeClr val="bg1"/>
              </a:solidFill>
            </a:endParaRPr>
          </a:p>
        </p:txBody>
      </p:sp>
      <p:grpSp>
        <p:nvGrpSpPr>
          <p:cNvPr id="9" name="Group 8" hidden="1">
            <a:extLst>
              <a:ext uri="{FF2B5EF4-FFF2-40B4-BE49-F238E27FC236}">
                <a16:creationId xmlns:a16="http://schemas.microsoft.com/office/drawing/2014/main" id="{1B3035E9-1E30-4A65-87BF-D87723B7387D}"/>
              </a:ext>
            </a:extLst>
          </p:cNvPr>
          <p:cNvGrpSpPr/>
          <p:nvPr/>
        </p:nvGrpSpPr>
        <p:grpSpPr>
          <a:xfrm>
            <a:off x="9662260" y="818784"/>
            <a:ext cx="2529740" cy="6039216"/>
            <a:chOff x="9662260" y="818784"/>
            <a:chExt cx="2529740" cy="6039216"/>
          </a:xfrm>
        </p:grpSpPr>
        <p:pic>
          <p:nvPicPr>
            <p:cNvPr id="10" name="Picture 9">
              <a:extLst>
                <a:ext uri="{FF2B5EF4-FFF2-40B4-BE49-F238E27FC236}">
                  <a16:creationId xmlns:a16="http://schemas.microsoft.com/office/drawing/2014/main" id="{9DFE8F35-3478-4D36-AE61-9902FA9E571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662260" y="1471202"/>
              <a:ext cx="2529740" cy="5386798"/>
            </a:xfrm>
            <a:prstGeom prst="rect">
              <a:avLst/>
            </a:prstGeom>
          </p:spPr>
        </p:pic>
        <p:pic>
          <p:nvPicPr>
            <p:cNvPr id="12" name="Picture 11">
              <a:extLst>
                <a:ext uri="{FF2B5EF4-FFF2-40B4-BE49-F238E27FC236}">
                  <a16:creationId xmlns:a16="http://schemas.microsoft.com/office/drawing/2014/main" id="{A63CB1BA-AEDB-454F-BBF3-A9613807210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0539851" y="4300794"/>
              <a:ext cx="1652148" cy="2095226"/>
            </a:xfrm>
            <a:prstGeom prst="rect">
              <a:avLst/>
            </a:prstGeom>
          </p:spPr>
        </p:pic>
        <p:pic>
          <p:nvPicPr>
            <p:cNvPr id="13" name="Picture 12">
              <a:extLst>
                <a:ext uri="{FF2B5EF4-FFF2-40B4-BE49-F238E27FC236}">
                  <a16:creationId xmlns:a16="http://schemas.microsoft.com/office/drawing/2014/main" id="{28BB9361-2245-45C7-85B1-98F75F74B97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20585276">
              <a:off x="10888776" y="3404437"/>
              <a:ext cx="841085" cy="888470"/>
            </a:xfrm>
            <a:prstGeom prst="rect">
              <a:avLst/>
            </a:prstGeom>
          </p:spPr>
        </p:pic>
        <p:pic>
          <p:nvPicPr>
            <p:cNvPr id="14" name="Picture 13">
              <a:extLst>
                <a:ext uri="{FF2B5EF4-FFF2-40B4-BE49-F238E27FC236}">
                  <a16:creationId xmlns:a16="http://schemas.microsoft.com/office/drawing/2014/main" id="{266621D9-C1BE-4A88-B2E8-40BCC4E56DF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839843" y="4683251"/>
              <a:ext cx="608076" cy="626643"/>
            </a:xfrm>
            <a:prstGeom prst="rect">
              <a:avLst/>
            </a:prstGeom>
          </p:spPr>
        </p:pic>
        <p:pic>
          <p:nvPicPr>
            <p:cNvPr id="15" name="Picture 14">
              <a:extLst>
                <a:ext uri="{FF2B5EF4-FFF2-40B4-BE49-F238E27FC236}">
                  <a16:creationId xmlns:a16="http://schemas.microsoft.com/office/drawing/2014/main" id="{98F6AB9F-8570-461E-BBA2-E013A3DA14E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rot="19848158">
              <a:off x="10621861" y="5789703"/>
              <a:ext cx="593846" cy="634660"/>
            </a:xfrm>
            <a:prstGeom prst="rect">
              <a:avLst/>
            </a:prstGeom>
          </p:spPr>
        </p:pic>
        <p:pic>
          <p:nvPicPr>
            <p:cNvPr id="16" name="Picture 15">
              <a:extLst>
                <a:ext uri="{FF2B5EF4-FFF2-40B4-BE49-F238E27FC236}">
                  <a16:creationId xmlns:a16="http://schemas.microsoft.com/office/drawing/2014/main" id="{1EE6F465-A690-4861-87C0-E7A6A65E3377}"/>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1037236" y="818784"/>
              <a:ext cx="1154763" cy="1703758"/>
            </a:xfrm>
            <a:prstGeom prst="rect">
              <a:avLst/>
            </a:prstGeom>
          </p:spPr>
        </p:pic>
      </p:grpSp>
      <p:sp>
        <p:nvSpPr>
          <p:cNvPr id="17" name="Slide Number Placeholder 2">
            <a:extLst>
              <a:ext uri="{FF2B5EF4-FFF2-40B4-BE49-F238E27FC236}">
                <a16:creationId xmlns:a16="http://schemas.microsoft.com/office/drawing/2014/main" id="{8EE24E27-68F9-E941-9584-DF35AA5AA788}"/>
              </a:ext>
            </a:extLst>
          </p:cNvPr>
          <p:cNvSpPr>
            <a:spLocks noGrp="1"/>
          </p:cNvSpPr>
          <p:nvPr>
            <p:ph type="sldNum" sz="quarter" idx="10"/>
          </p:nvPr>
        </p:nvSpPr>
        <p:spPr>
          <a:xfrm>
            <a:off x="1" y="6553200"/>
            <a:ext cx="304799" cy="304799"/>
          </a:xfrm>
        </p:spPr>
        <p:txBody>
          <a:bodyPr/>
          <a:lstStyle>
            <a:lvl1pPr>
              <a:defRPr>
                <a:solidFill>
                  <a:schemeClr val="bg1"/>
                </a:solidFill>
              </a:defRPr>
            </a:lvl1pPr>
          </a:lstStyle>
          <a:p>
            <a:fld id="{89006F1E-66CD-4A4B-9370-B4A3080F0E6C}" type="slidenum">
              <a:rPr lang="en-US" smtClean="0"/>
              <a:pPr/>
              <a:t>‹#›</a:t>
            </a:fld>
            <a:endParaRPr lang="en-US"/>
          </a:p>
        </p:txBody>
      </p:sp>
      <p:sp>
        <p:nvSpPr>
          <p:cNvPr id="18" name="Footer Placeholder 1">
            <a:extLst>
              <a:ext uri="{FF2B5EF4-FFF2-40B4-BE49-F238E27FC236}">
                <a16:creationId xmlns:a16="http://schemas.microsoft.com/office/drawing/2014/main" id="{6380E455-E213-C44A-A7FC-3A9E06997A4C}"/>
              </a:ext>
            </a:extLst>
          </p:cNvPr>
          <p:cNvSpPr>
            <a:spLocks noGrp="1"/>
          </p:cNvSpPr>
          <p:nvPr>
            <p:ph type="ftr" sz="quarter" idx="14"/>
          </p:nvPr>
        </p:nvSpPr>
        <p:spPr>
          <a:xfrm>
            <a:off x="304799" y="6553201"/>
            <a:ext cx="5791201" cy="304800"/>
          </a:xfrm>
          <a:prstGeom prst="rect">
            <a:avLst/>
          </a:prstGeom>
        </p:spPr>
        <p:txBody>
          <a:bodyPr/>
          <a:lstStyle>
            <a:lvl1pPr>
              <a:defRPr>
                <a:solidFill>
                  <a:schemeClr val="bg1"/>
                </a:solidFill>
              </a:defRPr>
            </a:lvl1pPr>
          </a:lstStyle>
          <a:p>
            <a:r>
              <a:rPr lang="en-US">
                <a:ea typeface="MS PGothic" panose="020B0600070205080204" pitchFamily="34" charset="-128"/>
              </a:rPr>
              <a:t>Proprietary &amp; Confidential |  authoremail@thermofisher.com | 12-April-2021</a:t>
            </a:r>
          </a:p>
        </p:txBody>
      </p:sp>
      <p:sp>
        <p:nvSpPr>
          <p:cNvPr id="20" name="Content Placeholder 4">
            <a:extLst>
              <a:ext uri="{FF2B5EF4-FFF2-40B4-BE49-F238E27FC236}">
                <a16:creationId xmlns:a16="http://schemas.microsoft.com/office/drawing/2014/main" id="{550E2B40-32DB-334B-95D1-E74B9D7847DA}"/>
              </a:ext>
            </a:extLst>
          </p:cNvPr>
          <p:cNvSpPr>
            <a:spLocks noGrp="1"/>
          </p:cNvSpPr>
          <p:nvPr>
            <p:ph sz="quarter" idx="16" hasCustomPrompt="1"/>
          </p:nvPr>
        </p:nvSpPr>
        <p:spPr>
          <a:xfrm>
            <a:off x="348473" y="5268999"/>
            <a:ext cx="7691658" cy="489250"/>
          </a:xfrm>
        </p:spPr>
        <p:txBody>
          <a:bodyPr/>
          <a:lstStyle>
            <a:lvl1pPr marL="0" marR="0" indent="0" algn="l" defTabSz="914400" rtl="0" eaLnBrk="1" fontAlgn="auto" latinLnBrk="0" hangingPunct="1">
              <a:lnSpc>
                <a:spcPct val="120000"/>
              </a:lnSpc>
              <a:spcBef>
                <a:spcPts val="200"/>
              </a:spcBef>
              <a:spcAft>
                <a:spcPts val="0"/>
              </a:spcAft>
              <a:buClr>
                <a:schemeClr val="tx2"/>
              </a:buClr>
              <a:buSzPct val="100000"/>
              <a:buFont typeface="Arial" panose="020B0604020202020204" pitchFamily="34" charset="0"/>
              <a:buNone/>
              <a:tabLst/>
              <a:defRPr>
                <a:solidFill>
                  <a:schemeClr val="bg1"/>
                </a:solidFill>
              </a:defRPr>
            </a:lvl1pPr>
          </a:lstStyle>
          <a:p>
            <a:pPr marL="0" marR="0" lvl="0" indent="0" algn="l" defTabSz="914400" rtl="0" eaLnBrk="1" fontAlgn="auto" latinLnBrk="0" hangingPunct="1">
              <a:lnSpc>
                <a:spcPct val="120000"/>
              </a:lnSpc>
              <a:spcBef>
                <a:spcPts val="200"/>
              </a:spcBef>
              <a:spcAft>
                <a:spcPts val="0"/>
              </a:spcAft>
              <a:buClr>
                <a:schemeClr val="tx2"/>
              </a:buClr>
              <a:buSzPct val="100000"/>
              <a:buFont typeface="Arial" panose="020B0604020202020204" pitchFamily="34" charset="0"/>
              <a:buNone/>
              <a:tabLst/>
              <a:defRPr/>
            </a:pPr>
            <a:r>
              <a:rPr lang="en-US" sz="2000" b="0">
                <a:solidFill>
                  <a:schemeClr val="bg1"/>
                </a:solidFill>
              </a:rPr>
              <a:t>Custom message…</a:t>
            </a:r>
            <a:endParaRPr lang="en-US" sz="2000">
              <a:solidFill>
                <a:schemeClr val="bg1"/>
              </a:solidFill>
            </a:endParaRPr>
          </a:p>
        </p:txBody>
      </p:sp>
      <p:sp>
        <p:nvSpPr>
          <p:cNvPr id="6" name="Text Placeholder 5">
            <a:extLst>
              <a:ext uri="{FF2B5EF4-FFF2-40B4-BE49-F238E27FC236}">
                <a16:creationId xmlns:a16="http://schemas.microsoft.com/office/drawing/2014/main" id="{FDF94BF9-AA4B-7348-B3AF-D5B86D50554B}"/>
              </a:ext>
            </a:extLst>
          </p:cNvPr>
          <p:cNvSpPr>
            <a:spLocks noGrp="1"/>
          </p:cNvSpPr>
          <p:nvPr>
            <p:ph type="body" sz="quarter" idx="17" hasCustomPrompt="1"/>
          </p:nvPr>
        </p:nvSpPr>
        <p:spPr>
          <a:xfrm>
            <a:off x="8229600" y="6553200"/>
            <a:ext cx="1609725" cy="304800"/>
          </a:xfrm>
        </p:spPr>
        <p:txBody>
          <a:bodyPr anchor="ctr">
            <a:normAutofit/>
          </a:bodyPr>
          <a:lstStyle>
            <a:lvl1pPr marL="0" indent="0">
              <a:buNone/>
              <a:defRPr sz="800">
                <a:solidFill>
                  <a:schemeClr val="bg1"/>
                </a:solidFill>
              </a:defRPr>
            </a:lvl1pPr>
          </a:lstStyle>
          <a:p>
            <a:pPr lvl="0"/>
            <a:r>
              <a:rPr lang="en-US"/>
              <a:t>Copyright 2020</a:t>
            </a:r>
          </a:p>
        </p:txBody>
      </p:sp>
      <p:pic>
        <p:nvPicPr>
          <p:cNvPr id="45" name="Picture 44">
            <a:extLst>
              <a:ext uri="{FF2B5EF4-FFF2-40B4-BE49-F238E27FC236}">
                <a16:creationId xmlns:a16="http://schemas.microsoft.com/office/drawing/2014/main" id="{37B21A71-AFDE-419D-A647-2496EF9326E9}"/>
              </a:ext>
            </a:extLst>
          </p:cNvPr>
          <p:cNvPicPr>
            <a:picLocks noChangeAspect="1"/>
          </p:cNvPicPr>
          <p:nvPr userDrawn="1"/>
        </p:nvPicPr>
        <p:blipFill>
          <a:blip r:embed="rId8"/>
          <a:stretch>
            <a:fillRect/>
          </a:stretch>
        </p:blipFill>
        <p:spPr>
          <a:xfrm>
            <a:off x="5678428" y="2791642"/>
            <a:ext cx="4377307" cy="3761558"/>
          </a:xfrm>
          <a:prstGeom prst="rect">
            <a:avLst/>
          </a:prstGeom>
        </p:spPr>
      </p:pic>
    </p:spTree>
    <p:extLst>
      <p:ext uri="{BB962C8B-B14F-4D97-AF65-F5344CB8AC3E}">
        <p14:creationId xmlns:p14="http://schemas.microsoft.com/office/powerpoint/2010/main" val="3860492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2_Thank you">
    <p:bg>
      <p:bgPr>
        <a:gradFill flip="none" rotWithShape="1">
          <a:gsLst>
            <a:gs pos="0">
              <a:schemeClr val="tx2"/>
            </a:gs>
            <a:gs pos="45000">
              <a:schemeClr val="tx2"/>
            </a:gs>
            <a:gs pos="100000">
              <a:schemeClr val="tx2">
                <a:lumMod val="50000"/>
              </a:schemeClr>
            </a:gs>
          </a:gsLst>
          <a:lin ang="1080000" scaled="0"/>
          <a:tileRect/>
        </a:gra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C7297DA-0943-4F9D-B4DC-D89E3C56E268}"/>
              </a:ext>
            </a:extLst>
          </p:cNvPr>
          <p:cNvSpPr/>
          <p:nvPr/>
        </p:nvSpPr>
        <p:spPr>
          <a:xfrm>
            <a:off x="251012" y="3890360"/>
            <a:ext cx="8912866" cy="1569660"/>
          </a:xfrm>
          <a:prstGeom prst="rect">
            <a:avLst/>
          </a:prstGeom>
        </p:spPr>
        <p:txBody>
          <a:bodyPr wrap="square">
            <a:spAutoFit/>
          </a:bodyPr>
          <a:lstStyle/>
          <a:p>
            <a:r>
              <a:rPr lang="en-US" sz="9600" b="1">
                <a:solidFill>
                  <a:schemeClr val="bg1"/>
                </a:solidFill>
              </a:rPr>
              <a:t>Questions</a:t>
            </a:r>
            <a:endParaRPr lang="en-US" sz="2400">
              <a:solidFill>
                <a:schemeClr val="bg1"/>
              </a:solidFill>
            </a:endParaRPr>
          </a:p>
        </p:txBody>
      </p:sp>
      <p:grpSp>
        <p:nvGrpSpPr>
          <p:cNvPr id="9" name="Group 8" hidden="1">
            <a:extLst>
              <a:ext uri="{FF2B5EF4-FFF2-40B4-BE49-F238E27FC236}">
                <a16:creationId xmlns:a16="http://schemas.microsoft.com/office/drawing/2014/main" id="{1B3035E9-1E30-4A65-87BF-D87723B7387D}"/>
              </a:ext>
            </a:extLst>
          </p:cNvPr>
          <p:cNvGrpSpPr/>
          <p:nvPr/>
        </p:nvGrpSpPr>
        <p:grpSpPr>
          <a:xfrm>
            <a:off x="9662260" y="818784"/>
            <a:ext cx="2529740" cy="6039216"/>
            <a:chOff x="9662260" y="818784"/>
            <a:chExt cx="2529740" cy="6039216"/>
          </a:xfrm>
        </p:grpSpPr>
        <p:pic>
          <p:nvPicPr>
            <p:cNvPr id="10" name="Picture 9">
              <a:extLst>
                <a:ext uri="{FF2B5EF4-FFF2-40B4-BE49-F238E27FC236}">
                  <a16:creationId xmlns:a16="http://schemas.microsoft.com/office/drawing/2014/main" id="{9DFE8F35-3478-4D36-AE61-9902FA9E571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662260" y="1471202"/>
              <a:ext cx="2529740" cy="5386798"/>
            </a:xfrm>
            <a:prstGeom prst="rect">
              <a:avLst/>
            </a:prstGeom>
          </p:spPr>
        </p:pic>
        <p:pic>
          <p:nvPicPr>
            <p:cNvPr id="12" name="Picture 11">
              <a:extLst>
                <a:ext uri="{FF2B5EF4-FFF2-40B4-BE49-F238E27FC236}">
                  <a16:creationId xmlns:a16="http://schemas.microsoft.com/office/drawing/2014/main" id="{A63CB1BA-AEDB-454F-BBF3-A9613807210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0539851" y="4300794"/>
              <a:ext cx="1652148" cy="2095226"/>
            </a:xfrm>
            <a:prstGeom prst="rect">
              <a:avLst/>
            </a:prstGeom>
          </p:spPr>
        </p:pic>
        <p:pic>
          <p:nvPicPr>
            <p:cNvPr id="13" name="Picture 12">
              <a:extLst>
                <a:ext uri="{FF2B5EF4-FFF2-40B4-BE49-F238E27FC236}">
                  <a16:creationId xmlns:a16="http://schemas.microsoft.com/office/drawing/2014/main" id="{28BB9361-2245-45C7-85B1-98F75F74B97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20585276">
              <a:off x="10888776" y="3404437"/>
              <a:ext cx="841085" cy="888470"/>
            </a:xfrm>
            <a:prstGeom prst="rect">
              <a:avLst/>
            </a:prstGeom>
          </p:spPr>
        </p:pic>
        <p:pic>
          <p:nvPicPr>
            <p:cNvPr id="14" name="Picture 13">
              <a:extLst>
                <a:ext uri="{FF2B5EF4-FFF2-40B4-BE49-F238E27FC236}">
                  <a16:creationId xmlns:a16="http://schemas.microsoft.com/office/drawing/2014/main" id="{266621D9-C1BE-4A88-B2E8-40BCC4E56DF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839843" y="4683251"/>
              <a:ext cx="608076" cy="626643"/>
            </a:xfrm>
            <a:prstGeom prst="rect">
              <a:avLst/>
            </a:prstGeom>
          </p:spPr>
        </p:pic>
        <p:pic>
          <p:nvPicPr>
            <p:cNvPr id="15" name="Picture 14">
              <a:extLst>
                <a:ext uri="{FF2B5EF4-FFF2-40B4-BE49-F238E27FC236}">
                  <a16:creationId xmlns:a16="http://schemas.microsoft.com/office/drawing/2014/main" id="{98F6AB9F-8570-461E-BBA2-E013A3DA14E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rot="19848158">
              <a:off x="10621861" y="5789703"/>
              <a:ext cx="593846" cy="634660"/>
            </a:xfrm>
            <a:prstGeom prst="rect">
              <a:avLst/>
            </a:prstGeom>
          </p:spPr>
        </p:pic>
        <p:pic>
          <p:nvPicPr>
            <p:cNvPr id="16" name="Picture 15">
              <a:extLst>
                <a:ext uri="{FF2B5EF4-FFF2-40B4-BE49-F238E27FC236}">
                  <a16:creationId xmlns:a16="http://schemas.microsoft.com/office/drawing/2014/main" id="{1EE6F465-A690-4861-87C0-E7A6A65E3377}"/>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1037236" y="818784"/>
              <a:ext cx="1154763" cy="1703758"/>
            </a:xfrm>
            <a:prstGeom prst="rect">
              <a:avLst/>
            </a:prstGeom>
          </p:spPr>
        </p:pic>
      </p:grpSp>
      <p:sp>
        <p:nvSpPr>
          <p:cNvPr id="17" name="Slide Number Placeholder 2">
            <a:extLst>
              <a:ext uri="{FF2B5EF4-FFF2-40B4-BE49-F238E27FC236}">
                <a16:creationId xmlns:a16="http://schemas.microsoft.com/office/drawing/2014/main" id="{8EE24E27-68F9-E941-9584-DF35AA5AA788}"/>
              </a:ext>
            </a:extLst>
          </p:cNvPr>
          <p:cNvSpPr>
            <a:spLocks noGrp="1"/>
          </p:cNvSpPr>
          <p:nvPr>
            <p:ph type="sldNum" sz="quarter" idx="10"/>
          </p:nvPr>
        </p:nvSpPr>
        <p:spPr>
          <a:xfrm>
            <a:off x="1" y="6553200"/>
            <a:ext cx="304799" cy="304799"/>
          </a:xfrm>
        </p:spPr>
        <p:txBody>
          <a:bodyPr/>
          <a:lstStyle>
            <a:lvl1pPr>
              <a:defRPr>
                <a:solidFill>
                  <a:schemeClr val="bg1"/>
                </a:solidFill>
              </a:defRPr>
            </a:lvl1pPr>
          </a:lstStyle>
          <a:p>
            <a:fld id="{89006F1E-66CD-4A4B-9370-B4A3080F0E6C}" type="slidenum">
              <a:rPr lang="en-US" smtClean="0"/>
              <a:pPr/>
              <a:t>‹#›</a:t>
            </a:fld>
            <a:endParaRPr lang="en-US"/>
          </a:p>
        </p:txBody>
      </p:sp>
      <p:sp>
        <p:nvSpPr>
          <p:cNvPr id="18" name="Footer Placeholder 1">
            <a:extLst>
              <a:ext uri="{FF2B5EF4-FFF2-40B4-BE49-F238E27FC236}">
                <a16:creationId xmlns:a16="http://schemas.microsoft.com/office/drawing/2014/main" id="{6380E455-E213-C44A-A7FC-3A9E06997A4C}"/>
              </a:ext>
            </a:extLst>
          </p:cNvPr>
          <p:cNvSpPr>
            <a:spLocks noGrp="1"/>
          </p:cNvSpPr>
          <p:nvPr>
            <p:ph type="ftr" sz="quarter" idx="14"/>
          </p:nvPr>
        </p:nvSpPr>
        <p:spPr>
          <a:xfrm>
            <a:off x="304799" y="6553201"/>
            <a:ext cx="5791201" cy="304800"/>
          </a:xfrm>
          <a:prstGeom prst="rect">
            <a:avLst/>
          </a:prstGeom>
        </p:spPr>
        <p:txBody>
          <a:bodyPr/>
          <a:lstStyle>
            <a:lvl1pPr>
              <a:defRPr>
                <a:solidFill>
                  <a:schemeClr val="bg1"/>
                </a:solidFill>
              </a:defRPr>
            </a:lvl1pPr>
          </a:lstStyle>
          <a:p>
            <a:r>
              <a:rPr lang="en-US">
                <a:ea typeface="MS PGothic" panose="020B0600070205080204" pitchFamily="34" charset="-128"/>
              </a:rPr>
              <a:t>Proprietary &amp; Confidential |  authoremail@thermofisher.com | 12-April-2021</a:t>
            </a:r>
          </a:p>
        </p:txBody>
      </p:sp>
      <p:sp>
        <p:nvSpPr>
          <p:cNvPr id="20" name="Content Placeholder 4">
            <a:extLst>
              <a:ext uri="{FF2B5EF4-FFF2-40B4-BE49-F238E27FC236}">
                <a16:creationId xmlns:a16="http://schemas.microsoft.com/office/drawing/2014/main" id="{550E2B40-32DB-334B-95D1-E74B9D7847DA}"/>
              </a:ext>
            </a:extLst>
          </p:cNvPr>
          <p:cNvSpPr>
            <a:spLocks noGrp="1"/>
          </p:cNvSpPr>
          <p:nvPr>
            <p:ph sz="quarter" idx="16" hasCustomPrompt="1"/>
          </p:nvPr>
        </p:nvSpPr>
        <p:spPr>
          <a:xfrm>
            <a:off x="348473" y="5268999"/>
            <a:ext cx="7691658" cy="489250"/>
          </a:xfrm>
        </p:spPr>
        <p:txBody>
          <a:bodyPr/>
          <a:lstStyle>
            <a:lvl1pPr marL="0" marR="0" indent="0" algn="l" defTabSz="914400" rtl="0" eaLnBrk="1" fontAlgn="auto" latinLnBrk="0" hangingPunct="1">
              <a:lnSpc>
                <a:spcPct val="120000"/>
              </a:lnSpc>
              <a:spcBef>
                <a:spcPts val="200"/>
              </a:spcBef>
              <a:spcAft>
                <a:spcPts val="0"/>
              </a:spcAft>
              <a:buClr>
                <a:schemeClr val="tx2"/>
              </a:buClr>
              <a:buSzPct val="100000"/>
              <a:buFont typeface="Arial" panose="020B0604020202020204" pitchFamily="34" charset="0"/>
              <a:buNone/>
              <a:tabLst/>
              <a:defRPr>
                <a:solidFill>
                  <a:schemeClr val="bg1"/>
                </a:solidFill>
              </a:defRPr>
            </a:lvl1pPr>
          </a:lstStyle>
          <a:p>
            <a:pPr marL="0" marR="0" lvl="0" indent="0" algn="l" defTabSz="914400" rtl="0" eaLnBrk="1" fontAlgn="auto" latinLnBrk="0" hangingPunct="1">
              <a:lnSpc>
                <a:spcPct val="120000"/>
              </a:lnSpc>
              <a:spcBef>
                <a:spcPts val="200"/>
              </a:spcBef>
              <a:spcAft>
                <a:spcPts val="0"/>
              </a:spcAft>
              <a:buClr>
                <a:schemeClr val="tx2"/>
              </a:buClr>
              <a:buSzPct val="100000"/>
              <a:buFont typeface="Arial" panose="020B0604020202020204" pitchFamily="34" charset="0"/>
              <a:buNone/>
              <a:tabLst/>
              <a:defRPr/>
            </a:pPr>
            <a:r>
              <a:rPr lang="en-US" sz="2000" b="0">
                <a:solidFill>
                  <a:schemeClr val="bg1"/>
                </a:solidFill>
              </a:rPr>
              <a:t>Custom message…</a:t>
            </a:r>
            <a:endParaRPr lang="en-US" sz="2000">
              <a:solidFill>
                <a:schemeClr val="bg1"/>
              </a:solidFill>
            </a:endParaRPr>
          </a:p>
        </p:txBody>
      </p:sp>
      <p:sp>
        <p:nvSpPr>
          <p:cNvPr id="6" name="Text Placeholder 5">
            <a:extLst>
              <a:ext uri="{FF2B5EF4-FFF2-40B4-BE49-F238E27FC236}">
                <a16:creationId xmlns:a16="http://schemas.microsoft.com/office/drawing/2014/main" id="{FDF94BF9-AA4B-7348-B3AF-D5B86D50554B}"/>
              </a:ext>
            </a:extLst>
          </p:cNvPr>
          <p:cNvSpPr>
            <a:spLocks noGrp="1"/>
          </p:cNvSpPr>
          <p:nvPr>
            <p:ph type="body" sz="quarter" idx="17" hasCustomPrompt="1"/>
          </p:nvPr>
        </p:nvSpPr>
        <p:spPr>
          <a:xfrm>
            <a:off x="8229600" y="6553200"/>
            <a:ext cx="1609725" cy="304800"/>
          </a:xfrm>
        </p:spPr>
        <p:txBody>
          <a:bodyPr anchor="ctr">
            <a:normAutofit/>
          </a:bodyPr>
          <a:lstStyle>
            <a:lvl1pPr marL="0" indent="0">
              <a:buNone/>
              <a:defRPr sz="800">
                <a:solidFill>
                  <a:schemeClr val="bg1"/>
                </a:solidFill>
              </a:defRPr>
            </a:lvl1pPr>
          </a:lstStyle>
          <a:p>
            <a:pPr lvl="0"/>
            <a:r>
              <a:rPr lang="en-US"/>
              <a:t>Copyright 2020</a:t>
            </a:r>
          </a:p>
        </p:txBody>
      </p:sp>
      <p:pic>
        <p:nvPicPr>
          <p:cNvPr id="44" name="Picture 43">
            <a:extLst>
              <a:ext uri="{FF2B5EF4-FFF2-40B4-BE49-F238E27FC236}">
                <a16:creationId xmlns:a16="http://schemas.microsoft.com/office/drawing/2014/main" id="{EF0C9F3C-62E4-4231-AB44-41C55B1FA639}"/>
              </a:ext>
            </a:extLst>
          </p:cNvPr>
          <p:cNvPicPr>
            <a:picLocks noChangeAspect="1"/>
          </p:cNvPicPr>
          <p:nvPr userDrawn="1"/>
        </p:nvPicPr>
        <p:blipFill>
          <a:blip r:embed="rId8"/>
          <a:stretch>
            <a:fillRect/>
          </a:stretch>
        </p:blipFill>
        <p:spPr>
          <a:xfrm>
            <a:off x="5678428" y="2791642"/>
            <a:ext cx="4377307" cy="3761558"/>
          </a:xfrm>
          <a:prstGeom prst="rect">
            <a:avLst/>
          </a:prstGeom>
        </p:spPr>
      </p:pic>
    </p:spTree>
    <p:extLst>
      <p:ext uri="{BB962C8B-B14F-4D97-AF65-F5344CB8AC3E}">
        <p14:creationId xmlns:p14="http://schemas.microsoft.com/office/powerpoint/2010/main" val="1607014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Custom Layout">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1AF264-71D4-E14C-8B25-6059E389D1EF}"/>
              </a:ext>
            </a:extLst>
          </p:cNvPr>
          <p:cNvSpPr>
            <a:spLocks noGrp="1"/>
          </p:cNvSpPr>
          <p:nvPr>
            <p:ph type="title" hasCustomPrompt="1"/>
          </p:nvPr>
        </p:nvSpPr>
        <p:spPr/>
        <p:txBody>
          <a:bodyPr/>
          <a:lstStyle/>
          <a:p>
            <a:r>
              <a:rPr lang="en-US"/>
              <a:t>Master slide column guide</a:t>
            </a:r>
          </a:p>
        </p:txBody>
      </p:sp>
      <p:grpSp>
        <p:nvGrpSpPr>
          <p:cNvPr id="325" name="Group 324">
            <a:extLst>
              <a:ext uri="{FF2B5EF4-FFF2-40B4-BE49-F238E27FC236}">
                <a16:creationId xmlns:a16="http://schemas.microsoft.com/office/drawing/2014/main" id="{0E576022-6E0B-8B45-82A4-5B378EE79A21}"/>
              </a:ext>
            </a:extLst>
          </p:cNvPr>
          <p:cNvGrpSpPr/>
          <p:nvPr/>
        </p:nvGrpSpPr>
        <p:grpSpPr>
          <a:xfrm>
            <a:off x="0" y="5297033"/>
            <a:ext cx="12192000" cy="304801"/>
            <a:chOff x="0" y="4254505"/>
            <a:chExt cx="12192000" cy="304801"/>
          </a:xfrm>
        </p:grpSpPr>
        <p:grpSp>
          <p:nvGrpSpPr>
            <p:cNvPr id="326" name="Group 325">
              <a:extLst>
                <a:ext uri="{FF2B5EF4-FFF2-40B4-BE49-F238E27FC236}">
                  <a16:creationId xmlns:a16="http://schemas.microsoft.com/office/drawing/2014/main" id="{4DAA919D-F34E-FF43-A568-E3081ADC91D8}"/>
                </a:ext>
              </a:extLst>
            </p:cNvPr>
            <p:cNvGrpSpPr/>
            <p:nvPr/>
          </p:nvGrpSpPr>
          <p:grpSpPr>
            <a:xfrm>
              <a:off x="152400" y="4254505"/>
              <a:ext cx="11887200" cy="304801"/>
              <a:chOff x="325695" y="4038600"/>
              <a:chExt cx="7555116" cy="304801"/>
            </a:xfrm>
          </p:grpSpPr>
          <p:sp>
            <p:nvSpPr>
              <p:cNvPr id="347" name="Rectangle 346">
                <a:extLst>
                  <a:ext uri="{FF2B5EF4-FFF2-40B4-BE49-F238E27FC236}">
                    <a16:creationId xmlns:a16="http://schemas.microsoft.com/office/drawing/2014/main" id="{2A515182-556A-4148-919D-DA6C41B2B82A}"/>
                  </a:ext>
                </a:extLst>
              </p:cNvPr>
              <p:cNvSpPr/>
              <p:nvPr/>
            </p:nvSpPr>
            <p:spPr>
              <a:xfrm>
                <a:off x="325695" y="4038601"/>
                <a:ext cx="2518372" cy="304800"/>
              </a:xfrm>
              <a:prstGeom prst="rect">
                <a:avLst/>
              </a:prstGeom>
              <a:solidFill>
                <a:srgbClr val="A5172E">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48" name="Rectangle 347">
                <a:extLst>
                  <a:ext uri="{FF2B5EF4-FFF2-40B4-BE49-F238E27FC236}">
                    <a16:creationId xmlns:a16="http://schemas.microsoft.com/office/drawing/2014/main" id="{2D5D4001-8E66-144D-92CA-7D645E8843C3}"/>
                  </a:ext>
                </a:extLst>
              </p:cNvPr>
              <p:cNvSpPr/>
              <p:nvPr/>
            </p:nvSpPr>
            <p:spPr>
              <a:xfrm>
                <a:off x="2844067" y="4038600"/>
                <a:ext cx="2518372" cy="304800"/>
              </a:xfrm>
              <a:prstGeom prst="rect">
                <a:avLst/>
              </a:prstGeom>
              <a:solidFill>
                <a:srgbClr val="A5172E">
                  <a:lumMod val="40000"/>
                  <a:lumOff val="6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49" name="Rectangle 348">
                <a:extLst>
                  <a:ext uri="{FF2B5EF4-FFF2-40B4-BE49-F238E27FC236}">
                    <a16:creationId xmlns:a16="http://schemas.microsoft.com/office/drawing/2014/main" id="{1F915BF6-6801-F445-8447-829313D55DE1}"/>
                  </a:ext>
                </a:extLst>
              </p:cNvPr>
              <p:cNvSpPr/>
              <p:nvPr/>
            </p:nvSpPr>
            <p:spPr>
              <a:xfrm>
                <a:off x="5362439" y="4038600"/>
                <a:ext cx="2518372" cy="304800"/>
              </a:xfrm>
              <a:prstGeom prst="rect">
                <a:avLst/>
              </a:prstGeom>
              <a:solidFill>
                <a:srgbClr val="A5172E">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327" name="Group 326">
              <a:extLst>
                <a:ext uri="{FF2B5EF4-FFF2-40B4-BE49-F238E27FC236}">
                  <a16:creationId xmlns:a16="http://schemas.microsoft.com/office/drawing/2014/main" id="{924C16AD-FBFC-F340-B828-919BD2EB7ACC}"/>
                </a:ext>
              </a:extLst>
            </p:cNvPr>
            <p:cNvGrpSpPr/>
            <p:nvPr/>
          </p:nvGrpSpPr>
          <p:grpSpPr>
            <a:xfrm>
              <a:off x="0" y="4254505"/>
              <a:ext cx="304800" cy="304800"/>
              <a:chOff x="4748283" y="3386554"/>
              <a:chExt cx="548640" cy="548640"/>
            </a:xfrm>
          </p:grpSpPr>
          <p:sp>
            <p:nvSpPr>
              <p:cNvPr id="343" name="Rectangle 342">
                <a:extLst>
                  <a:ext uri="{FF2B5EF4-FFF2-40B4-BE49-F238E27FC236}">
                    <a16:creationId xmlns:a16="http://schemas.microsoft.com/office/drawing/2014/main" id="{ABBD8C40-0074-E640-A619-5210E92593E7}"/>
                  </a:ext>
                </a:extLst>
              </p:cNvPr>
              <p:cNvSpPr/>
              <p:nvPr/>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44" name="Rectangle 343">
                <a:extLst>
                  <a:ext uri="{FF2B5EF4-FFF2-40B4-BE49-F238E27FC236}">
                    <a16:creationId xmlns:a16="http://schemas.microsoft.com/office/drawing/2014/main" id="{72E87A34-33CB-954D-BE63-B41FB54B8CE2}"/>
                  </a:ext>
                </a:extLst>
              </p:cNvPr>
              <p:cNvSpPr/>
              <p:nvPr/>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45" name="Rectangle 344">
                <a:extLst>
                  <a:ext uri="{FF2B5EF4-FFF2-40B4-BE49-F238E27FC236}">
                    <a16:creationId xmlns:a16="http://schemas.microsoft.com/office/drawing/2014/main" id="{8FE6B9C8-9996-154E-8F03-D9A578C3FA11}"/>
                  </a:ext>
                </a:extLst>
              </p:cNvPr>
              <p:cNvSpPr/>
              <p:nvPr/>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46" name="Rectangle 345">
                <a:extLst>
                  <a:ext uri="{FF2B5EF4-FFF2-40B4-BE49-F238E27FC236}">
                    <a16:creationId xmlns:a16="http://schemas.microsoft.com/office/drawing/2014/main" id="{88B4C5A1-0216-EE40-A0A9-1EFEB8C937C0}"/>
                  </a:ext>
                </a:extLst>
              </p:cNvPr>
              <p:cNvSpPr/>
              <p:nvPr/>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328" name="Group 327">
              <a:extLst>
                <a:ext uri="{FF2B5EF4-FFF2-40B4-BE49-F238E27FC236}">
                  <a16:creationId xmlns:a16="http://schemas.microsoft.com/office/drawing/2014/main" id="{5691AEF5-BAF9-2940-A428-476354829BBB}"/>
                </a:ext>
              </a:extLst>
            </p:cNvPr>
            <p:cNvGrpSpPr/>
            <p:nvPr/>
          </p:nvGrpSpPr>
          <p:grpSpPr>
            <a:xfrm>
              <a:off x="11887200" y="4254505"/>
              <a:ext cx="304800" cy="304800"/>
              <a:chOff x="11887200" y="3048000"/>
              <a:chExt cx="304800" cy="304800"/>
            </a:xfrm>
          </p:grpSpPr>
          <p:sp>
            <p:nvSpPr>
              <p:cNvPr id="339" name="Rectangle 338">
                <a:extLst>
                  <a:ext uri="{FF2B5EF4-FFF2-40B4-BE49-F238E27FC236}">
                    <a16:creationId xmlns:a16="http://schemas.microsoft.com/office/drawing/2014/main" id="{B7FCFCF0-CCF5-CB4C-A24B-79879CFEAB60}"/>
                  </a:ext>
                </a:extLst>
              </p:cNvPr>
              <p:cNvSpPr/>
              <p:nvPr/>
            </p:nvSpPr>
            <p:spPr>
              <a:xfrm>
                <a:off x="12039600" y="3200400"/>
                <a:ext cx="152400" cy="15240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40" name="Rectangle 339">
                <a:extLst>
                  <a:ext uri="{FF2B5EF4-FFF2-40B4-BE49-F238E27FC236}">
                    <a16:creationId xmlns:a16="http://schemas.microsoft.com/office/drawing/2014/main" id="{5EC303BA-EB59-6B45-A4AA-0FBB43856C1D}"/>
                  </a:ext>
                </a:extLst>
              </p:cNvPr>
              <p:cNvSpPr/>
              <p:nvPr/>
            </p:nvSpPr>
            <p:spPr>
              <a:xfrm>
                <a:off x="11887200" y="3200400"/>
                <a:ext cx="152400" cy="15240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41" name="Rectangle 340">
                <a:extLst>
                  <a:ext uri="{FF2B5EF4-FFF2-40B4-BE49-F238E27FC236}">
                    <a16:creationId xmlns:a16="http://schemas.microsoft.com/office/drawing/2014/main" id="{609F1807-73B8-2046-A52B-7F5C9E3F8D6C}"/>
                  </a:ext>
                </a:extLst>
              </p:cNvPr>
              <p:cNvSpPr/>
              <p:nvPr/>
            </p:nvSpPr>
            <p:spPr>
              <a:xfrm>
                <a:off x="12039600" y="3048000"/>
                <a:ext cx="152400" cy="15240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42" name="Rectangle 341">
                <a:extLst>
                  <a:ext uri="{FF2B5EF4-FFF2-40B4-BE49-F238E27FC236}">
                    <a16:creationId xmlns:a16="http://schemas.microsoft.com/office/drawing/2014/main" id="{D64A44CB-312C-8D43-BADC-9C25A65786B7}"/>
                  </a:ext>
                </a:extLst>
              </p:cNvPr>
              <p:cNvSpPr/>
              <p:nvPr/>
            </p:nvSpPr>
            <p:spPr>
              <a:xfrm>
                <a:off x="11887200" y="3048000"/>
                <a:ext cx="152400" cy="15240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329" name="Group 328">
              <a:extLst>
                <a:ext uri="{FF2B5EF4-FFF2-40B4-BE49-F238E27FC236}">
                  <a16:creationId xmlns:a16="http://schemas.microsoft.com/office/drawing/2014/main" id="{75DD42A7-110A-8A43-9999-FC5F6F629D9D}"/>
                </a:ext>
              </a:extLst>
            </p:cNvPr>
            <p:cNvGrpSpPr/>
            <p:nvPr/>
          </p:nvGrpSpPr>
          <p:grpSpPr>
            <a:xfrm>
              <a:off x="3963513" y="4254505"/>
              <a:ext cx="304800" cy="304800"/>
              <a:chOff x="4748283" y="3386554"/>
              <a:chExt cx="548640" cy="548640"/>
            </a:xfrm>
          </p:grpSpPr>
          <p:sp>
            <p:nvSpPr>
              <p:cNvPr id="335" name="Rectangle 334">
                <a:extLst>
                  <a:ext uri="{FF2B5EF4-FFF2-40B4-BE49-F238E27FC236}">
                    <a16:creationId xmlns:a16="http://schemas.microsoft.com/office/drawing/2014/main" id="{C2398D84-85F4-C846-A0B4-FDF603CF7ED5}"/>
                  </a:ext>
                </a:extLst>
              </p:cNvPr>
              <p:cNvSpPr/>
              <p:nvPr/>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36" name="Rectangle 335">
                <a:extLst>
                  <a:ext uri="{FF2B5EF4-FFF2-40B4-BE49-F238E27FC236}">
                    <a16:creationId xmlns:a16="http://schemas.microsoft.com/office/drawing/2014/main" id="{D89F6546-9921-1C4E-BC58-54CFEB3CD55B}"/>
                  </a:ext>
                </a:extLst>
              </p:cNvPr>
              <p:cNvSpPr/>
              <p:nvPr/>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37" name="Rectangle 336">
                <a:extLst>
                  <a:ext uri="{FF2B5EF4-FFF2-40B4-BE49-F238E27FC236}">
                    <a16:creationId xmlns:a16="http://schemas.microsoft.com/office/drawing/2014/main" id="{707F94D7-D94A-9341-9171-18F4E7328C50}"/>
                  </a:ext>
                </a:extLst>
              </p:cNvPr>
              <p:cNvSpPr/>
              <p:nvPr/>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38" name="Rectangle 337">
                <a:extLst>
                  <a:ext uri="{FF2B5EF4-FFF2-40B4-BE49-F238E27FC236}">
                    <a16:creationId xmlns:a16="http://schemas.microsoft.com/office/drawing/2014/main" id="{66B27AC9-65B0-4F45-B844-7C3544A7BA55}"/>
                  </a:ext>
                </a:extLst>
              </p:cNvPr>
              <p:cNvSpPr/>
              <p:nvPr/>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330" name="Group 329">
              <a:extLst>
                <a:ext uri="{FF2B5EF4-FFF2-40B4-BE49-F238E27FC236}">
                  <a16:creationId xmlns:a16="http://schemas.microsoft.com/office/drawing/2014/main" id="{FA980631-C869-934C-B0D5-27911A2317B3}"/>
                </a:ext>
              </a:extLst>
            </p:cNvPr>
            <p:cNvGrpSpPr/>
            <p:nvPr/>
          </p:nvGrpSpPr>
          <p:grpSpPr>
            <a:xfrm>
              <a:off x="7929263" y="4254505"/>
              <a:ext cx="304800" cy="304800"/>
              <a:chOff x="4748283" y="3386554"/>
              <a:chExt cx="548640" cy="548640"/>
            </a:xfrm>
          </p:grpSpPr>
          <p:sp>
            <p:nvSpPr>
              <p:cNvPr id="331" name="Rectangle 330">
                <a:extLst>
                  <a:ext uri="{FF2B5EF4-FFF2-40B4-BE49-F238E27FC236}">
                    <a16:creationId xmlns:a16="http://schemas.microsoft.com/office/drawing/2014/main" id="{406CDF3A-4352-B447-B53D-478B3765F657}"/>
                  </a:ext>
                </a:extLst>
              </p:cNvPr>
              <p:cNvSpPr/>
              <p:nvPr/>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32" name="Rectangle 331">
                <a:extLst>
                  <a:ext uri="{FF2B5EF4-FFF2-40B4-BE49-F238E27FC236}">
                    <a16:creationId xmlns:a16="http://schemas.microsoft.com/office/drawing/2014/main" id="{7D0AEF00-0DAE-8A4C-9382-FCE02F7929B8}"/>
                  </a:ext>
                </a:extLst>
              </p:cNvPr>
              <p:cNvSpPr/>
              <p:nvPr/>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33" name="Rectangle 332">
                <a:extLst>
                  <a:ext uri="{FF2B5EF4-FFF2-40B4-BE49-F238E27FC236}">
                    <a16:creationId xmlns:a16="http://schemas.microsoft.com/office/drawing/2014/main" id="{208533B0-3964-7F44-8026-7A9BA18798F4}"/>
                  </a:ext>
                </a:extLst>
              </p:cNvPr>
              <p:cNvSpPr/>
              <p:nvPr/>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34" name="Rectangle 333">
                <a:extLst>
                  <a:ext uri="{FF2B5EF4-FFF2-40B4-BE49-F238E27FC236}">
                    <a16:creationId xmlns:a16="http://schemas.microsoft.com/office/drawing/2014/main" id="{79B47363-1A18-3F4B-B904-4529B699E14B}"/>
                  </a:ext>
                </a:extLst>
              </p:cNvPr>
              <p:cNvSpPr/>
              <p:nvPr/>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350" name="Group 349">
            <a:extLst>
              <a:ext uri="{FF2B5EF4-FFF2-40B4-BE49-F238E27FC236}">
                <a16:creationId xmlns:a16="http://schemas.microsoft.com/office/drawing/2014/main" id="{550F5060-BDEE-9744-B34D-FB646DB2A2C9}"/>
              </a:ext>
            </a:extLst>
          </p:cNvPr>
          <p:cNvGrpSpPr/>
          <p:nvPr/>
        </p:nvGrpSpPr>
        <p:grpSpPr>
          <a:xfrm>
            <a:off x="0" y="4655678"/>
            <a:ext cx="12192000" cy="304801"/>
            <a:chOff x="0" y="3448053"/>
            <a:chExt cx="12192000" cy="304801"/>
          </a:xfrm>
        </p:grpSpPr>
        <p:grpSp>
          <p:nvGrpSpPr>
            <p:cNvPr id="351" name="Group 350">
              <a:extLst>
                <a:ext uri="{FF2B5EF4-FFF2-40B4-BE49-F238E27FC236}">
                  <a16:creationId xmlns:a16="http://schemas.microsoft.com/office/drawing/2014/main" id="{FF358C1B-964E-5C4E-B16C-3E18CE9CC942}"/>
                </a:ext>
              </a:extLst>
            </p:cNvPr>
            <p:cNvGrpSpPr/>
            <p:nvPr/>
          </p:nvGrpSpPr>
          <p:grpSpPr>
            <a:xfrm>
              <a:off x="152400" y="3448053"/>
              <a:ext cx="11887200" cy="304801"/>
              <a:chOff x="152400" y="4256566"/>
              <a:chExt cx="9591040" cy="304801"/>
            </a:xfrm>
          </p:grpSpPr>
          <p:sp>
            <p:nvSpPr>
              <p:cNvPr id="377" name="Rectangle 376">
                <a:extLst>
                  <a:ext uri="{FF2B5EF4-FFF2-40B4-BE49-F238E27FC236}">
                    <a16:creationId xmlns:a16="http://schemas.microsoft.com/office/drawing/2014/main" id="{409746C0-0633-8440-B5CF-DE04D82AFA84}"/>
                  </a:ext>
                </a:extLst>
              </p:cNvPr>
              <p:cNvSpPr/>
              <p:nvPr/>
            </p:nvSpPr>
            <p:spPr>
              <a:xfrm>
                <a:off x="152400" y="4256567"/>
                <a:ext cx="2397760" cy="304800"/>
              </a:xfrm>
              <a:prstGeom prst="rect">
                <a:avLst/>
              </a:prstGeom>
              <a:solidFill>
                <a:srgbClr val="A5172E">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78" name="Rectangle 377">
                <a:extLst>
                  <a:ext uri="{FF2B5EF4-FFF2-40B4-BE49-F238E27FC236}">
                    <a16:creationId xmlns:a16="http://schemas.microsoft.com/office/drawing/2014/main" id="{EB4B500C-F4AE-FC44-9061-B7345B89902B}"/>
                  </a:ext>
                </a:extLst>
              </p:cNvPr>
              <p:cNvSpPr/>
              <p:nvPr/>
            </p:nvSpPr>
            <p:spPr>
              <a:xfrm>
                <a:off x="2550160" y="4256566"/>
                <a:ext cx="2397760" cy="304800"/>
              </a:xfrm>
              <a:prstGeom prst="rect">
                <a:avLst/>
              </a:prstGeom>
              <a:solidFill>
                <a:srgbClr val="A5172E">
                  <a:lumMod val="40000"/>
                  <a:lumOff val="6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79" name="Rectangle 378">
                <a:extLst>
                  <a:ext uri="{FF2B5EF4-FFF2-40B4-BE49-F238E27FC236}">
                    <a16:creationId xmlns:a16="http://schemas.microsoft.com/office/drawing/2014/main" id="{0BF1E544-C1F3-ED4B-81EF-A461690F54E8}"/>
                  </a:ext>
                </a:extLst>
              </p:cNvPr>
              <p:cNvSpPr/>
              <p:nvPr/>
            </p:nvSpPr>
            <p:spPr>
              <a:xfrm>
                <a:off x="4947920" y="4256566"/>
                <a:ext cx="2397760" cy="304800"/>
              </a:xfrm>
              <a:prstGeom prst="rect">
                <a:avLst/>
              </a:prstGeom>
              <a:solidFill>
                <a:srgbClr val="A5172E">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80" name="Rectangle 379">
                <a:extLst>
                  <a:ext uri="{FF2B5EF4-FFF2-40B4-BE49-F238E27FC236}">
                    <a16:creationId xmlns:a16="http://schemas.microsoft.com/office/drawing/2014/main" id="{12BC584E-CCB4-E54D-B49E-9B06C53D232C}"/>
                  </a:ext>
                </a:extLst>
              </p:cNvPr>
              <p:cNvSpPr/>
              <p:nvPr/>
            </p:nvSpPr>
            <p:spPr>
              <a:xfrm>
                <a:off x="7345680" y="4256566"/>
                <a:ext cx="2397760" cy="304800"/>
              </a:xfrm>
              <a:prstGeom prst="rect">
                <a:avLst/>
              </a:prstGeom>
              <a:solidFill>
                <a:srgbClr val="A5172E">
                  <a:lumMod val="40000"/>
                  <a:lumOff val="6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352" name="Group 351">
              <a:extLst>
                <a:ext uri="{FF2B5EF4-FFF2-40B4-BE49-F238E27FC236}">
                  <a16:creationId xmlns:a16="http://schemas.microsoft.com/office/drawing/2014/main" id="{556235CC-2B49-304B-9713-0FD3E8F93696}"/>
                </a:ext>
              </a:extLst>
            </p:cNvPr>
            <p:cNvGrpSpPr/>
            <p:nvPr/>
          </p:nvGrpSpPr>
          <p:grpSpPr>
            <a:xfrm>
              <a:off x="0" y="3448053"/>
              <a:ext cx="304800" cy="304800"/>
              <a:chOff x="4748283" y="3386554"/>
              <a:chExt cx="548640" cy="548640"/>
            </a:xfrm>
          </p:grpSpPr>
          <p:sp>
            <p:nvSpPr>
              <p:cNvPr id="373" name="Rectangle 372">
                <a:extLst>
                  <a:ext uri="{FF2B5EF4-FFF2-40B4-BE49-F238E27FC236}">
                    <a16:creationId xmlns:a16="http://schemas.microsoft.com/office/drawing/2014/main" id="{D7097BE8-35D2-2746-887D-B177FD2F8D1B}"/>
                  </a:ext>
                </a:extLst>
              </p:cNvPr>
              <p:cNvSpPr/>
              <p:nvPr/>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74" name="Rectangle 373">
                <a:extLst>
                  <a:ext uri="{FF2B5EF4-FFF2-40B4-BE49-F238E27FC236}">
                    <a16:creationId xmlns:a16="http://schemas.microsoft.com/office/drawing/2014/main" id="{2ECE0126-EDDD-DD44-B0D0-CD7391099683}"/>
                  </a:ext>
                </a:extLst>
              </p:cNvPr>
              <p:cNvSpPr/>
              <p:nvPr/>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75" name="Rectangle 374">
                <a:extLst>
                  <a:ext uri="{FF2B5EF4-FFF2-40B4-BE49-F238E27FC236}">
                    <a16:creationId xmlns:a16="http://schemas.microsoft.com/office/drawing/2014/main" id="{CFBA5FA6-DEB5-9E4A-BBE4-396D213C732E}"/>
                  </a:ext>
                </a:extLst>
              </p:cNvPr>
              <p:cNvSpPr/>
              <p:nvPr/>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76" name="Rectangle 375">
                <a:extLst>
                  <a:ext uri="{FF2B5EF4-FFF2-40B4-BE49-F238E27FC236}">
                    <a16:creationId xmlns:a16="http://schemas.microsoft.com/office/drawing/2014/main" id="{43C3D7A8-8484-C149-879F-B9EAF5420993}"/>
                  </a:ext>
                </a:extLst>
              </p:cNvPr>
              <p:cNvSpPr/>
              <p:nvPr/>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353" name="Group 352">
              <a:extLst>
                <a:ext uri="{FF2B5EF4-FFF2-40B4-BE49-F238E27FC236}">
                  <a16:creationId xmlns:a16="http://schemas.microsoft.com/office/drawing/2014/main" id="{C69CF5F1-8CF6-A04A-8284-4F2839B94399}"/>
                </a:ext>
              </a:extLst>
            </p:cNvPr>
            <p:cNvGrpSpPr/>
            <p:nvPr/>
          </p:nvGrpSpPr>
          <p:grpSpPr>
            <a:xfrm>
              <a:off x="11887200" y="3448053"/>
              <a:ext cx="304800" cy="304800"/>
              <a:chOff x="11887200" y="3048000"/>
              <a:chExt cx="304800" cy="304800"/>
            </a:xfrm>
          </p:grpSpPr>
          <p:sp>
            <p:nvSpPr>
              <p:cNvPr id="369" name="Rectangle 368">
                <a:extLst>
                  <a:ext uri="{FF2B5EF4-FFF2-40B4-BE49-F238E27FC236}">
                    <a16:creationId xmlns:a16="http://schemas.microsoft.com/office/drawing/2014/main" id="{6DC74F9F-DF17-7A42-A69E-A3A4318BA705}"/>
                  </a:ext>
                </a:extLst>
              </p:cNvPr>
              <p:cNvSpPr/>
              <p:nvPr/>
            </p:nvSpPr>
            <p:spPr>
              <a:xfrm>
                <a:off x="12039600" y="3200400"/>
                <a:ext cx="152400" cy="15240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70" name="Rectangle 369">
                <a:extLst>
                  <a:ext uri="{FF2B5EF4-FFF2-40B4-BE49-F238E27FC236}">
                    <a16:creationId xmlns:a16="http://schemas.microsoft.com/office/drawing/2014/main" id="{F82F6DBD-1B92-8F44-9ABE-BF11BA0EB50F}"/>
                  </a:ext>
                </a:extLst>
              </p:cNvPr>
              <p:cNvSpPr/>
              <p:nvPr/>
            </p:nvSpPr>
            <p:spPr>
              <a:xfrm>
                <a:off x="11887200" y="3200400"/>
                <a:ext cx="152400" cy="15240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71" name="Rectangle 370">
                <a:extLst>
                  <a:ext uri="{FF2B5EF4-FFF2-40B4-BE49-F238E27FC236}">
                    <a16:creationId xmlns:a16="http://schemas.microsoft.com/office/drawing/2014/main" id="{36B84BE6-D1D3-2C4D-B113-FACC434F3138}"/>
                  </a:ext>
                </a:extLst>
              </p:cNvPr>
              <p:cNvSpPr/>
              <p:nvPr/>
            </p:nvSpPr>
            <p:spPr>
              <a:xfrm>
                <a:off x="12039600" y="3048000"/>
                <a:ext cx="152400" cy="15240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72" name="Rectangle 371">
                <a:extLst>
                  <a:ext uri="{FF2B5EF4-FFF2-40B4-BE49-F238E27FC236}">
                    <a16:creationId xmlns:a16="http://schemas.microsoft.com/office/drawing/2014/main" id="{53707E28-EBC1-EE47-9A87-B7F889B0A9B9}"/>
                  </a:ext>
                </a:extLst>
              </p:cNvPr>
              <p:cNvSpPr/>
              <p:nvPr/>
            </p:nvSpPr>
            <p:spPr>
              <a:xfrm>
                <a:off x="11887200" y="3048000"/>
                <a:ext cx="152400" cy="15240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354" name="Group 353">
              <a:extLst>
                <a:ext uri="{FF2B5EF4-FFF2-40B4-BE49-F238E27FC236}">
                  <a16:creationId xmlns:a16="http://schemas.microsoft.com/office/drawing/2014/main" id="{4FFE9B33-5860-1342-85F8-8499FD08D92D}"/>
                </a:ext>
              </a:extLst>
            </p:cNvPr>
            <p:cNvGrpSpPr/>
            <p:nvPr/>
          </p:nvGrpSpPr>
          <p:grpSpPr>
            <a:xfrm>
              <a:off x="2971800" y="3448053"/>
              <a:ext cx="304800" cy="304800"/>
              <a:chOff x="4748283" y="3386554"/>
              <a:chExt cx="548640" cy="548640"/>
            </a:xfrm>
          </p:grpSpPr>
          <p:sp>
            <p:nvSpPr>
              <p:cNvPr id="365" name="Rectangle 364">
                <a:extLst>
                  <a:ext uri="{FF2B5EF4-FFF2-40B4-BE49-F238E27FC236}">
                    <a16:creationId xmlns:a16="http://schemas.microsoft.com/office/drawing/2014/main" id="{0E96C0E4-9DDD-7B46-A150-FE31B0B3406F}"/>
                  </a:ext>
                </a:extLst>
              </p:cNvPr>
              <p:cNvSpPr/>
              <p:nvPr/>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66" name="Rectangle 365">
                <a:extLst>
                  <a:ext uri="{FF2B5EF4-FFF2-40B4-BE49-F238E27FC236}">
                    <a16:creationId xmlns:a16="http://schemas.microsoft.com/office/drawing/2014/main" id="{FFBE2D8A-C941-2D4C-A620-16C6BCEED752}"/>
                  </a:ext>
                </a:extLst>
              </p:cNvPr>
              <p:cNvSpPr/>
              <p:nvPr/>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67" name="Rectangle 366">
                <a:extLst>
                  <a:ext uri="{FF2B5EF4-FFF2-40B4-BE49-F238E27FC236}">
                    <a16:creationId xmlns:a16="http://schemas.microsoft.com/office/drawing/2014/main" id="{437C5ADA-D5C6-AA49-ABFC-C2BDB1A73DE2}"/>
                  </a:ext>
                </a:extLst>
              </p:cNvPr>
              <p:cNvSpPr/>
              <p:nvPr/>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68" name="Rectangle 367">
                <a:extLst>
                  <a:ext uri="{FF2B5EF4-FFF2-40B4-BE49-F238E27FC236}">
                    <a16:creationId xmlns:a16="http://schemas.microsoft.com/office/drawing/2014/main" id="{D5B3DA22-0555-D94D-B9CE-EFFD4D77A953}"/>
                  </a:ext>
                </a:extLst>
              </p:cNvPr>
              <p:cNvSpPr/>
              <p:nvPr/>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355" name="Group 354">
              <a:extLst>
                <a:ext uri="{FF2B5EF4-FFF2-40B4-BE49-F238E27FC236}">
                  <a16:creationId xmlns:a16="http://schemas.microsoft.com/office/drawing/2014/main" id="{0C1BF9D2-EC42-454D-9CE6-55A6E4DD7744}"/>
                </a:ext>
              </a:extLst>
            </p:cNvPr>
            <p:cNvGrpSpPr/>
            <p:nvPr/>
          </p:nvGrpSpPr>
          <p:grpSpPr>
            <a:xfrm>
              <a:off x="5943600" y="3448053"/>
              <a:ext cx="304800" cy="304800"/>
              <a:chOff x="4748283" y="3386554"/>
              <a:chExt cx="548640" cy="548640"/>
            </a:xfrm>
          </p:grpSpPr>
          <p:sp>
            <p:nvSpPr>
              <p:cNvPr id="361" name="Rectangle 360">
                <a:extLst>
                  <a:ext uri="{FF2B5EF4-FFF2-40B4-BE49-F238E27FC236}">
                    <a16:creationId xmlns:a16="http://schemas.microsoft.com/office/drawing/2014/main" id="{78D1B59D-87FF-2A4C-B245-29B4226A9601}"/>
                  </a:ext>
                </a:extLst>
              </p:cNvPr>
              <p:cNvSpPr/>
              <p:nvPr/>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62" name="Rectangle 361">
                <a:extLst>
                  <a:ext uri="{FF2B5EF4-FFF2-40B4-BE49-F238E27FC236}">
                    <a16:creationId xmlns:a16="http://schemas.microsoft.com/office/drawing/2014/main" id="{3DB64E46-B4A5-AE4F-B9CA-78D961D93013}"/>
                  </a:ext>
                </a:extLst>
              </p:cNvPr>
              <p:cNvSpPr/>
              <p:nvPr/>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63" name="Rectangle 362">
                <a:extLst>
                  <a:ext uri="{FF2B5EF4-FFF2-40B4-BE49-F238E27FC236}">
                    <a16:creationId xmlns:a16="http://schemas.microsoft.com/office/drawing/2014/main" id="{C230667B-5C71-2A4F-89CA-83AE9C87943F}"/>
                  </a:ext>
                </a:extLst>
              </p:cNvPr>
              <p:cNvSpPr/>
              <p:nvPr/>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64" name="Rectangle 363">
                <a:extLst>
                  <a:ext uri="{FF2B5EF4-FFF2-40B4-BE49-F238E27FC236}">
                    <a16:creationId xmlns:a16="http://schemas.microsoft.com/office/drawing/2014/main" id="{DA630AA0-3D34-5C48-AFB4-76E97A625B7B}"/>
                  </a:ext>
                </a:extLst>
              </p:cNvPr>
              <p:cNvSpPr/>
              <p:nvPr/>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356" name="Group 355">
              <a:extLst>
                <a:ext uri="{FF2B5EF4-FFF2-40B4-BE49-F238E27FC236}">
                  <a16:creationId xmlns:a16="http://schemas.microsoft.com/office/drawing/2014/main" id="{BFD5BADB-488A-A94F-8D20-EFBC3D598444}"/>
                </a:ext>
              </a:extLst>
            </p:cNvPr>
            <p:cNvGrpSpPr/>
            <p:nvPr/>
          </p:nvGrpSpPr>
          <p:grpSpPr>
            <a:xfrm>
              <a:off x="8915400" y="3448053"/>
              <a:ext cx="304800" cy="304800"/>
              <a:chOff x="4748283" y="3386554"/>
              <a:chExt cx="548640" cy="548640"/>
            </a:xfrm>
          </p:grpSpPr>
          <p:sp>
            <p:nvSpPr>
              <p:cNvPr id="357" name="Rectangle 356">
                <a:extLst>
                  <a:ext uri="{FF2B5EF4-FFF2-40B4-BE49-F238E27FC236}">
                    <a16:creationId xmlns:a16="http://schemas.microsoft.com/office/drawing/2014/main" id="{59B34A33-4617-B14B-A914-D9F3EA82C41F}"/>
                  </a:ext>
                </a:extLst>
              </p:cNvPr>
              <p:cNvSpPr/>
              <p:nvPr/>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58" name="Rectangle 357">
                <a:extLst>
                  <a:ext uri="{FF2B5EF4-FFF2-40B4-BE49-F238E27FC236}">
                    <a16:creationId xmlns:a16="http://schemas.microsoft.com/office/drawing/2014/main" id="{CDABBDD7-97EF-2348-9DD6-8F03290DFE79}"/>
                  </a:ext>
                </a:extLst>
              </p:cNvPr>
              <p:cNvSpPr/>
              <p:nvPr/>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59" name="Rectangle 358">
                <a:extLst>
                  <a:ext uri="{FF2B5EF4-FFF2-40B4-BE49-F238E27FC236}">
                    <a16:creationId xmlns:a16="http://schemas.microsoft.com/office/drawing/2014/main" id="{8FC44D92-36F7-5649-A759-0323F393CD43}"/>
                  </a:ext>
                </a:extLst>
              </p:cNvPr>
              <p:cNvSpPr/>
              <p:nvPr/>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60" name="Rectangle 359">
                <a:extLst>
                  <a:ext uri="{FF2B5EF4-FFF2-40B4-BE49-F238E27FC236}">
                    <a16:creationId xmlns:a16="http://schemas.microsoft.com/office/drawing/2014/main" id="{F91DAB7A-F766-F74E-ABBF-E2FB7A3CF921}"/>
                  </a:ext>
                </a:extLst>
              </p:cNvPr>
              <p:cNvSpPr/>
              <p:nvPr/>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381" name="Group 380">
            <a:extLst>
              <a:ext uri="{FF2B5EF4-FFF2-40B4-BE49-F238E27FC236}">
                <a16:creationId xmlns:a16="http://schemas.microsoft.com/office/drawing/2014/main" id="{E8110913-9069-DA4C-AA5A-860C663EEF8C}"/>
              </a:ext>
            </a:extLst>
          </p:cNvPr>
          <p:cNvGrpSpPr/>
          <p:nvPr/>
        </p:nvGrpSpPr>
        <p:grpSpPr>
          <a:xfrm>
            <a:off x="0" y="4019093"/>
            <a:ext cx="12192000" cy="304801"/>
            <a:chOff x="0" y="2679694"/>
            <a:chExt cx="12192000" cy="304801"/>
          </a:xfrm>
        </p:grpSpPr>
        <p:grpSp>
          <p:nvGrpSpPr>
            <p:cNvPr id="382" name="Group 381">
              <a:extLst>
                <a:ext uri="{FF2B5EF4-FFF2-40B4-BE49-F238E27FC236}">
                  <a16:creationId xmlns:a16="http://schemas.microsoft.com/office/drawing/2014/main" id="{36951F49-5417-EB45-B0D4-BA551A17CAB3}"/>
                </a:ext>
              </a:extLst>
            </p:cNvPr>
            <p:cNvGrpSpPr/>
            <p:nvPr/>
          </p:nvGrpSpPr>
          <p:grpSpPr>
            <a:xfrm>
              <a:off x="152400" y="2679694"/>
              <a:ext cx="11887200" cy="304801"/>
              <a:chOff x="152400" y="2946388"/>
              <a:chExt cx="14859000" cy="304801"/>
            </a:xfrm>
          </p:grpSpPr>
          <p:sp>
            <p:nvSpPr>
              <p:cNvPr id="413" name="Rectangle 412">
                <a:extLst>
                  <a:ext uri="{FF2B5EF4-FFF2-40B4-BE49-F238E27FC236}">
                    <a16:creationId xmlns:a16="http://schemas.microsoft.com/office/drawing/2014/main" id="{3C0DCD00-016C-8249-9E41-079096AFB3A6}"/>
                  </a:ext>
                </a:extLst>
              </p:cNvPr>
              <p:cNvSpPr/>
              <p:nvPr/>
            </p:nvSpPr>
            <p:spPr>
              <a:xfrm>
                <a:off x="152400" y="2946389"/>
                <a:ext cx="2971800" cy="304800"/>
              </a:xfrm>
              <a:prstGeom prst="rect">
                <a:avLst/>
              </a:prstGeom>
              <a:solidFill>
                <a:srgbClr val="A5172E">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14" name="Rectangle 413">
                <a:extLst>
                  <a:ext uri="{FF2B5EF4-FFF2-40B4-BE49-F238E27FC236}">
                    <a16:creationId xmlns:a16="http://schemas.microsoft.com/office/drawing/2014/main" id="{7D5C5BF9-225C-0945-9BD8-811FED6F7C6C}"/>
                  </a:ext>
                </a:extLst>
              </p:cNvPr>
              <p:cNvSpPr/>
              <p:nvPr/>
            </p:nvSpPr>
            <p:spPr>
              <a:xfrm>
                <a:off x="3124200" y="2946388"/>
                <a:ext cx="2971800" cy="304800"/>
              </a:xfrm>
              <a:prstGeom prst="rect">
                <a:avLst/>
              </a:prstGeom>
              <a:solidFill>
                <a:srgbClr val="A5172E">
                  <a:lumMod val="40000"/>
                  <a:lumOff val="6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15" name="Rectangle 414">
                <a:extLst>
                  <a:ext uri="{FF2B5EF4-FFF2-40B4-BE49-F238E27FC236}">
                    <a16:creationId xmlns:a16="http://schemas.microsoft.com/office/drawing/2014/main" id="{C63D455F-73BE-A943-8A70-41066037EB15}"/>
                  </a:ext>
                </a:extLst>
              </p:cNvPr>
              <p:cNvSpPr/>
              <p:nvPr/>
            </p:nvSpPr>
            <p:spPr>
              <a:xfrm>
                <a:off x="6096000" y="2946388"/>
                <a:ext cx="2971800" cy="304800"/>
              </a:xfrm>
              <a:prstGeom prst="rect">
                <a:avLst/>
              </a:prstGeom>
              <a:solidFill>
                <a:srgbClr val="A5172E">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16" name="Rectangle 415">
                <a:extLst>
                  <a:ext uri="{FF2B5EF4-FFF2-40B4-BE49-F238E27FC236}">
                    <a16:creationId xmlns:a16="http://schemas.microsoft.com/office/drawing/2014/main" id="{29C4F461-3408-F24E-93BE-7BE25C21160B}"/>
                  </a:ext>
                </a:extLst>
              </p:cNvPr>
              <p:cNvSpPr/>
              <p:nvPr/>
            </p:nvSpPr>
            <p:spPr>
              <a:xfrm>
                <a:off x="9067800" y="2946388"/>
                <a:ext cx="2971800" cy="304800"/>
              </a:xfrm>
              <a:prstGeom prst="rect">
                <a:avLst/>
              </a:prstGeom>
              <a:solidFill>
                <a:srgbClr val="A5172E">
                  <a:lumMod val="40000"/>
                  <a:lumOff val="6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17" name="Rectangle 416">
                <a:extLst>
                  <a:ext uri="{FF2B5EF4-FFF2-40B4-BE49-F238E27FC236}">
                    <a16:creationId xmlns:a16="http://schemas.microsoft.com/office/drawing/2014/main" id="{B07E25D9-5575-FA46-AE11-B58FECE45D22}"/>
                  </a:ext>
                </a:extLst>
              </p:cNvPr>
              <p:cNvSpPr/>
              <p:nvPr/>
            </p:nvSpPr>
            <p:spPr>
              <a:xfrm>
                <a:off x="12039600" y="2946388"/>
                <a:ext cx="2971800" cy="304800"/>
              </a:xfrm>
              <a:prstGeom prst="rect">
                <a:avLst/>
              </a:prstGeom>
              <a:solidFill>
                <a:srgbClr val="A5172E">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383" name="Group 382">
              <a:extLst>
                <a:ext uri="{FF2B5EF4-FFF2-40B4-BE49-F238E27FC236}">
                  <a16:creationId xmlns:a16="http://schemas.microsoft.com/office/drawing/2014/main" id="{CD0FDC72-FC9B-6943-B57B-C01216793CAE}"/>
                </a:ext>
              </a:extLst>
            </p:cNvPr>
            <p:cNvGrpSpPr/>
            <p:nvPr/>
          </p:nvGrpSpPr>
          <p:grpSpPr>
            <a:xfrm>
              <a:off x="0" y="2679694"/>
              <a:ext cx="304800" cy="304800"/>
              <a:chOff x="4748283" y="3386554"/>
              <a:chExt cx="548640" cy="548640"/>
            </a:xfrm>
          </p:grpSpPr>
          <p:sp>
            <p:nvSpPr>
              <p:cNvPr id="409" name="Rectangle 408">
                <a:extLst>
                  <a:ext uri="{FF2B5EF4-FFF2-40B4-BE49-F238E27FC236}">
                    <a16:creationId xmlns:a16="http://schemas.microsoft.com/office/drawing/2014/main" id="{1C699F7E-0E09-8B4E-A518-F3812BB194B0}"/>
                  </a:ext>
                </a:extLst>
              </p:cNvPr>
              <p:cNvSpPr/>
              <p:nvPr/>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10" name="Rectangle 409">
                <a:extLst>
                  <a:ext uri="{FF2B5EF4-FFF2-40B4-BE49-F238E27FC236}">
                    <a16:creationId xmlns:a16="http://schemas.microsoft.com/office/drawing/2014/main" id="{B8118C01-DA55-9740-B18A-0079C2AAA121}"/>
                  </a:ext>
                </a:extLst>
              </p:cNvPr>
              <p:cNvSpPr/>
              <p:nvPr/>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11" name="Rectangle 410">
                <a:extLst>
                  <a:ext uri="{FF2B5EF4-FFF2-40B4-BE49-F238E27FC236}">
                    <a16:creationId xmlns:a16="http://schemas.microsoft.com/office/drawing/2014/main" id="{74B07F51-45D2-EC4D-8FCF-448A0EBB53AE}"/>
                  </a:ext>
                </a:extLst>
              </p:cNvPr>
              <p:cNvSpPr/>
              <p:nvPr/>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12" name="Rectangle 411">
                <a:extLst>
                  <a:ext uri="{FF2B5EF4-FFF2-40B4-BE49-F238E27FC236}">
                    <a16:creationId xmlns:a16="http://schemas.microsoft.com/office/drawing/2014/main" id="{38AC2B4E-EE6C-824B-81E8-6C58F3A283DC}"/>
                  </a:ext>
                </a:extLst>
              </p:cNvPr>
              <p:cNvSpPr/>
              <p:nvPr/>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384" name="Group 383">
              <a:extLst>
                <a:ext uri="{FF2B5EF4-FFF2-40B4-BE49-F238E27FC236}">
                  <a16:creationId xmlns:a16="http://schemas.microsoft.com/office/drawing/2014/main" id="{CCDC25C0-61FE-A246-8120-D29F16B1BC40}"/>
                </a:ext>
              </a:extLst>
            </p:cNvPr>
            <p:cNvGrpSpPr/>
            <p:nvPr/>
          </p:nvGrpSpPr>
          <p:grpSpPr>
            <a:xfrm>
              <a:off x="11887200" y="2679694"/>
              <a:ext cx="304800" cy="304800"/>
              <a:chOff x="11887200" y="3048000"/>
              <a:chExt cx="304800" cy="304800"/>
            </a:xfrm>
          </p:grpSpPr>
          <p:sp>
            <p:nvSpPr>
              <p:cNvPr id="405" name="Rectangle 404">
                <a:extLst>
                  <a:ext uri="{FF2B5EF4-FFF2-40B4-BE49-F238E27FC236}">
                    <a16:creationId xmlns:a16="http://schemas.microsoft.com/office/drawing/2014/main" id="{1D646414-A87B-3B4E-9F53-684910FB6838}"/>
                  </a:ext>
                </a:extLst>
              </p:cNvPr>
              <p:cNvSpPr/>
              <p:nvPr/>
            </p:nvSpPr>
            <p:spPr>
              <a:xfrm>
                <a:off x="12039600" y="3200400"/>
                <a:ext cx="152400" cy="15240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06" name="Rectangle 405">
                <a:extLst>
                  <a:ext uri="{FF2B5EF4-FFF2-40B4-BE49-F238E27FC236}">
                    <a16:creationId xmlns:a16="http://schemas.microsoft.com/office/drawing/2014/main" id="{2D7165AC-E3E1-884C-95BA-5093037DF15B}"/>
                  </a:ext>
                </a:extLst>
              </p:cNvPr>
              <p:cNvSpPr/>
              <p:nvPr/>
            </p:nvSpPr>
            <p:spPr>
              <a:xfrm>
                <a:off x="11887200" y="3200400"/>
                <a:ext cx="152400" cy="15240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07" name="Rectangle 406">
                <a:extLst>
                  <a:ext uri="{FF2B5EF4-FFF2-40B4-BE49-F238E27FC236}">
                    <a16:creationId xmlns:a16="http://schemas.microsoft.com/office/drawing/2014/main" id="{75293567-A7C0-574E-AFF1-86E2F48DFC84}"/>
                  </a:ext>
                </a:extLst>
              </p:cNvPr>
              <p:cNvSpPr/>
              <p:nvPr/>
            </p:nvSpPr>
            <p:spPr>
              <a:xfrm>
                <a:off x="12039600" y="3048000"/>
                <a:ext cx="152400" cy="15240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08" name="Rectangle 407">
                <a:extLst>
                  <a:ext uri="{FF2B5EF4-FFF2-40B4-BE49-F238E27FC236}">
                    <a16:creationId xmlns:a16="http://schemas.microsoft.com/office/drawing/2014/main" id="{26E245A6-6498-E441-94A9-B88A598F627F}"/>
                  </a:ext>
                </a:extLst>
              </p:cNvPr>
              <p:cNvSpPr/>
              <p:nvPr/>
            </p:nvSpPr>
            <p:spPr>
              <a:xfrm>
                <a:off x="11887200" y="3048000"/>
                <a:ext cx="152400" cy="15240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385" name="Group 384">
              <a:extLst>
                <a:ext uri="{FF2B5EF4-FFF2-40B4-BE49-F238E27FC236}">
                  <a16:creationId xmlns:a16="http://schemas.microsoft.com/office/drawing/2014/main" id="{989EC034-C725-FA42-90CC-5765123F5A65}"/>
                </a:ext>
              </a:extLst>
            </p:cNvPr>
            <p:cNvGrpSpPr/>
            <p:nvPr/>
          </p:nvGrpSpPr>
          <p:grpSpPr>
            <a:xfrm>
              <a:off x="2377440" y="2679694"/>
              <a:ext cx="304800" cy="304800"/>
              <a:chOff x="4748283" y="3386554"/>
              <a:chExt cx="548640" cy="548640"/>
            </a:xfrm>
          </p:grpSpPr>
          <p:sp>
            <p:nvSpPr>
              <p:cNvPr id="401" name="Rectangle 400">
                <a:extLst>
                  <a:ext uri="{FF2B5EF4-FFF2-40B4-BE49-F238E27FC236}">
                    <a16:creationId xmlns:a16="http://schemas.microsoft.com/office/drawing/2014/main" id="{0DDE99E9-598E-0F44-AB53-F02225E90BC7}"/>
                  </a:ext>
                </a:extLst>
              </p:cNvPr>
              <p:cNvSpPr/>
              <p:nvPr/>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02" name="Rectangle 401">
                <a:extLst>
                  <a:ext uri="{FF2B5EF4-FFF2-40B4-BE49-F238E27FC236}">
                    <a16:creationId xmlns:a16="http://schemas.microsoft.com/office/drawing/2014/main" id="{A7D19A18-2156-C149-B92D-4FD908CB17A9}"/>
                  </a:ext>
                </a:extLst>
              </p:cNvPr>
              <p:cNvSpPr/>
              <p:nvPr/>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03" name="Rectangle 402">
                <a:extLst>
                  <a:ext uri="{FF2B5EF4-FFF2-40B4-BE49-F238E27FC236}">
                    <a16:creationId xmlns:a16="http://schemas.microsoft.com/office/drawing/2014/main" id="{B3F003EA-7D96-E24F-BB9E-9AAE5316A51F}"/>
                  </a:ext>
                </a:extLst>
              </p:cNvPr>
              <p:cNvSpPr/>
              <p:nvPr/>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04" name="Rectangle 403">
                <a:extLst>
                  <a:ext uri="{FF2B5EF4-FFF2-40B4-BE49-F238E27FC236}">
                    <a16:creationId xmlns:a16="http://schemas.microsoft.com/office/drawing/2014/main" id="{0DC78CC9-EA57-4B4F-B013-1F7359159C54}"/>
                  </a:ext>
                </a:extLst>
              </p:cNvPr>
              <p:cNvSpPr/>
              <p:nvPr/>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386" name="Group 385">
              <a:extLst>
                <a:ext uri="{FF2B5EF4-FFF2-40B4-BE49-F238E27FC236}">
                  <a16:creationId xmlns:a16="http://schemas.microsoft.com/office/drawing/2014/main" id="{AE6D9F72-7FDF-CE4B-838F-B774D274FE81}"/>
                </a:ext>
              </a:extLst>
            </p:cNvPr>
            <p:cNvGrpSpPr/>
            <p:nvPr/>
          </p:nvGrpSpPr>
          <p:grpSpPr>
            <a:xfrm>
              <a:off x="4758055" y="2679694"/>
              <a:ext cx="304800" cy="304800"/>
              <a:chOff x="4748283" y="3386554"/>
              <a:chExt cx="548640" cy="548640"/>
            </a:xfrm>
          </p:grpSpPr>
          <p:sp>
            <p:nvSpPr>
              <p:cNvPr id="397" name="Rectangle 396">
                <a:extLst>
                  <a:ext uri="{FF2B5EF4-FFF2-40B4-BE49-F238E27FC236}">
                    <a16:creationId xmlns:a16="http://schemas.microsoft.com/office/drawing/2014/main" id="{D4306F08-E512-C247-AC3A-33B8571D0607}"/>
                  </a:ext>
                </a:extLst>
              </p:cNvPr>
              <p:cNvSpPr/>
              <p:nvPr/>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98" name="Rectangle 397">
                <a:extLst>
                  <a:ext uri="{FF2B5EF4-FFF2-40B4-BE49-F238E27FC236}">
                    <a16:creationId xmlns:a16="http://schemas.microsoft.com/office/drawing/2014/main" id="{FBFE0CD7-01DE-9E49-A774-0F480A65A987}"/>
                  </a:ext>
                </a:extLst>
              </p:cNvPr>
              <p:cNvSpPr/>
              <p:nvPr/>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99" name="Rectangle 398">
                <a:extLst>
                  <a:ext uri="{FF2B5EF4-FFF2-40B4-BE49-F238E27FC236}">
                    <a16:creationId xmlns:a16="http://schemas.microsoft.com/office/drawing/2014/main" id="{64E61B29-4CCA-D244-BE9E-C336449655D2}"/>
                  </a:ext>
                </a:extLst>
              </p:cNvPr>
              <p:cNvSpPr/>
              <p:nvPr/>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00" name="Rectangle 399">
                <a:extLst>
                  <a:ext uri="{FF2B5EF4-FFF2-40B4-BE49-F238E27FC236}">
                    <a16:creationId xmlns:a16="http://schemas.microsoft.com/office/drawing/2014/main" id="{FEF820F9-53F6-7F4C-B259-E4EEC67D3CF1}"/>
                  </a:ext>
                </a:extLst>
              </p:cNvPr>
              <p:cNvSpPr/>
              <p:nvPr/>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387" name="Group 386">
              <a:extLst>
                <a:ext uri="{FF2B5EF4-FFF2-40B4-BE49-F238E27FC236}">
                  <a16:creationId xmlns:a16="http://schemas.microsoft.com/office/drawing/2014/main" id="{DDD1F4FD-197A-BA44-8771-712C08E93361}"/>
                </a:ext>
              </a:extLst>
            </p:cNvPr>
            <p:cNvGrpSpPr/>
            <p:nvPr/>
          </p:nvGrpSpPr>
          <p:grpSpPr>
            <a:xfrm>
              <a:off x="7129145" y="2679694"/>
              <a:ext cx="304800" cy="304800"/>
              <a:chOff x="4748283" y="3386554"/>
              <a:chExt cx="548640" cy="548640"/>
            </a:xfrm>
          </p:grpSpPr>
          <p:sp>
            <p:nvSpPr>
              <p:cNvPr id="393" name="Rectangle 392">
                <a:extLst>
                  <a:ext uri="{FF2B5EF4-FFF2-40B4-BE49-F238E27FC236}">
                    <a16:creationId xmlns:a16="http://schemas.microsoft.com/office/drawing/2014/main" id="{3233BE51-1EAF-1A41-9AC1-13E1AC9AEBB2}"/>
                  </a:ext>
                </a:extLst>
              </p:cNvPr>
              <p:cNvSpPr/>
              <p:nvPr/>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94" name="Rectangle 393">
                <a:extLst>
                  <a:ext uri="{FF2B5EF4-FFF2-40B4-BE49-F238E27FC236}">
                    <a16:creationId xmlns:a16="http://schemas.microsoft.com/office/drawing/2014/main" id="{F509AB97-B09E-0546-9E8C-09437E384CE2}"/>
                  </a:ext>
                </a:extLst>
              </p:cNvPr>
              <p:cNvSpPr/>
              <p:nvPr/>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95" name="Rectangle 394">
                <a:extLst>
                  <a:ext uri="{FF2B5EF4-FFF2-40B4-BE49-F238E27FC236}">
                    <a16:creationId xmlns:a16="http://schemas.microsoft.com/office/drawing/2014/main" id="{8BA1AAD5-A563-FB47-87A9-0B94FE6A8C09}"/>
                  </a:ext>
                </a:extLst>
              </p:cNvPr>
              <p:cNvSpPr/>
              <p:nvPr/>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96" name="Rectangle 395">
                <a:extLst>
                  <a:ext uri="{FF2B5EF4-FFF2-40B4-BE49-F238E27FC236}">
                    <a16:creationId xmlns:a16="http://schemas.microsoft.com/office/drawing/2014/main" id="{514B41BA-A84E-364A-8308-CF1D949AC83F}"/>
                  </a:ext>
                </a:extLst>
              </p:cNvPr>
              <p:cNvSpPr/>
              <p:nvPr/>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388" name="Group 387">
              <a:extLst>
                <a:ext uri="{FF2B5EF4-FFF2-40B4-BE49-F238E27FC236}">
                  <a16:creationId xmlns:a16="http://schemas.microsoft.com/office/drawing/2014/main" id="{D3F98928-573C-0247-BEFC-C171D6C6A2BC}"/>
                </a:ext>
              </a:extLst>
            </p:cNvPr>
            <p:cNvGrpSpPr/>
            <p:nvPr/>
          </p:nvGrpSpPr>
          <p:grpSpPr>
            <a:xfrm>
              <a:off x="9509760" y="2679694"/>
              <a:ext cx="304800" cy="304800"/>
              <a:chOff x="4748283" y="3386554"/>
              <a:chExt cx="548640" cy="548640"/>
            </a:xfrm>
          </p:grpSpPr>
          <p:sp>
            <p:nvSpPr>
              <p:cNvPr id="389" name="Rectangle 388">
                <a:extLst>
                  <a:ext uri="{FF2B5EF4-FFF2-40B4-BE49-F238E27FC236}">
                    <a16:creationId xmlns:a16="http://schemas.microsoft.com/office/drawing/2014/main" id="{65B33E1B-D72C-6545-A163-15FE54C9CA79}"/>
                  </a:ext>
                </a:extLst>
              </p:cNvPr>
              <p:cNvSpPr/>
              <p:nvPr/>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90" name="Rectangle 389">
                <a:extLst>
                  <a:ext uri="{FF2B5EF4-FFF2-40B4-BE49-F238E27FC236}">
                    <a16:creationId xmlns:a16="http://schemas.microsoft.com/office/drawing/2014/main" id="{21AFCDF0-CBB3-9C45-B0C2-A3F3E5EAF632}"/>
                  </a:ext>
                </a:extLst>
              </p:cNvPr>
              <p:cNvSpPr/>
              <p:nvPr/>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91" name="Rectangle 390">
                <a:extLst>
                  <a:ext uri="{FF2B5EF4-FFF2-40B4-BE49-F238E27FC236}">
                    <a16:creationId xmlns:a16="http://schemas.microsoft.com/office/drawing/2014/main" id="{1531E71B-D937-F742-9957-0713B4C42C88}"/>
                  </a:ext>
                </a:extLst>
              </p:cNvPr>
              <p:cNvSpPr/>
              <p:nvPr/>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92" name="Rectangle 391">
                <a:extLst>
                  <a:ext uri="{FF2B5EF4-FFF2-40B4-BE49-F238E27FC236}">
                    <a16:creationId xmlns:a16="http://schemas.microsoft.com/office/drawing/2014/main" id="{214FB835-5426-5540-B3AC-57A83A66F095}"/>
                  </a:ext>
                </a:extLst>
              </p:cNvPr>
              <p:cNvSpPr/>
              <p:nvPr/>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418" name="Group 417">
            <a:extLst>
              <a:ext uri="{FF2B5EF4-FFF2-40B4-BE49-F238E27FC236}">
                <a16:creationId xmlns:a16="http://schemas.microsoft.com/office/drawing/2014/main" id="{C3FA0D4E-3551-B443-B764-A560BB0F31B4}"/>
              </a:ext>
            </a:extLst>
          </p:cNvPr>
          <p:cNvGrpSpPr/>
          <p:nvPr/>
        </p:nvGrpSpPr>
        <p:grpSpPr>
          <a:xfrm>
            <a:off x="0" y="5943600"/>
            <a:ext cx="12192000" cy="304801"/>
            <a:chOff x="0" y="5060956"/>
            <a:chExt cx="12192000" cy="304801"/>
          </a:xfrm>
        </p:grpSpPr>
        <p:grpSp>
          <p:nvGrpSpPr>
            <p:cNvPr id="419" name="Group 418">
              <a:extLst>
                <a:ext uri="{FF2B5EF4-FFF2-40B4-BE49-F238E27FC236}">
                  <a16:creationId xmlns:a16="http://schemas.microsoft.com/office/drawing/2014/main" id="{3ED4F498-0EE3-5340-A78D-81AE3B278C25}"/>
                </a:ext>
              </a:extLst>
            </p:cNvPr>
            <p:cNvGrpSpPr/>
            <p:nvPr/>
          </p:nvGrpSpPr>
          <p:grpSpPr>
            <a:xfrm>
              <a:off x="152400" y="5060956"/>
              <a:ext cx="11887200" cy="304801"/>
              <a:chOff x="152400" y="5468945"/>
              <a:chExt cx="5943600" cy="304801"/>
            </a:xfrm>
          </p:grpSpPr>
          <p:sp>
            <p:nvSpPr>
              <p:cNvPr id="435" name="Rectangle 434">
                <a:extLst>
                  <a:ext uri="{FF2B5EF4-FFF2-40B4-BE49-F238E27FC236}">
                    <a16:creationId xmlns:a16="http://schemas.microsoft.com/office/drawing/2014/main" id="{168AE306-A0D3-924E-88F9-CBCC203C5193}"/>
                  </a:ext>
                </a:extLst>
              </p:cNvPr>
              <p:cNvSpPr/>
              <p:nvPr/>
            </p:nvSpPr>
            <p:spPr>
              <a:xfrm>
                <a:off x="152400" y="5468946"/>
                <a:ext cx="2971800" cy="304800"/>
              </a:xfrm>
              <a:prstGeom prst="rect">
                <a:avLst/>
              </a:prstGeom>
              <a:solidFill>
                <a:srgbClr val="A5172E">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36" name="Rectangle 435">
                <a:extLst>
                  <a:ext uri="{FF2B5EF4-FFF2-40B4-BE49-F238E27FC236}">
                    <a16:creationId xmlns:a16="http://schemas.microsoft.com/office/drawing/2014/main" id="{A3B192E7-794D-C14E-BC0F-394A020FA684}"/>
                  </a:ext>
                </a:extLst>
              </p:cNvPr>
              <p:cNvSpPr/>
              <p:nvPr/>
            </p:nvSpPr>
            <p:spPr>
              <a:xfrm>
                <a:off x="3124200" y="5468945"/>
                <a:ext cx="2971800" cy="304800"/>
              </a:xfrm>
              <a:prstGeom prst="rect">
                <a:avLst/>
              </a:prstGeom>
              <a:solidFill>
                <a:srgbClr val="A5172E">
                  <a:lumMod val="40000"/>
                  <a:lumOff val="6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420" name="Group 419">
              <a:extLst>
                <a:ext uri="{FF2B5EF4-FFF2-40B4-BE49-F238E27FC236}">
                  <a16:creationId xmlns:a16="http://schemas.microsoft.com/office/drawing/2014/main" id="{AD6C7E3C-C334-6F4A-B514-6C52AB007244}"/>
                </a:ext>
              </a:extLst>
            </p:cNvPr>
            <p:cNvGrpSpPr/>
            <p:nvPr/>
          </p:nvGrpSpPr>
          <p:grpSpPr>
            <a:xfrm>
              <a:off x="0" y="5060956"/>
              <a:ext cx="304800" cy="304800"/>
              <a:chOff x="4748283" y="3386554"/>
              <a:chExt cx="548640" cy="548640"/>
            </a:xfrm>
          </p:grpSpPr>
          <p:sp>
            <p:nvSpPr>
              <p:cNvPr id="431" name="Rectangle 430">
                <a:extLst>
                  <a:ext uri="{FF2B5EF4-FFF2-40B4-BE49-F238E27FC236}">
                    <a16:creationId xmlns:a16="http://schemas.microsoft.com/office/drawing/2014/main" id="{5D7210F9-038B-204E-B075-F05CEE6F58A4}"/>
                  </a:ext>
                </a:extLst>
              </p:cNvPr>
              <p:cNvSpPr/>
              <p:nvPr/>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32" name="Rectangle 431">
                <a:extLst>
                  <a:ext uri="{FF2B5EF4-FFF2-40B4-BE49-F238E27FC236}">
                    <a16:creationId xmlns:a16="http://schemas.microsoft.com/office/drawing/2014/main" id="{B9F22585-23A9-BE4A-8A3D-AB57FE6FB1D1}"/>
                  </a:ext>
                </a:extLst>
              </p:cNvPr>
              <p:cNvSpPr/>
              <p:nvPr/>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33" name="Rectangle 432">
                <a:extLst>
                  <a:ext uri="{FF2B5EF4-FFF2-40B4-BE49-F238E27FC236}">
                    <a16:creationId xmlns:a16="http://schemas.microsoft.com/office/drawing/2014/main" id="{67C0138B-AD3C-F24C-A766-18F10DEF3926}"/>
                  </a:ext>
                </a:extLst>
              </p:cNvPr>
              <p:cNvSpPr/>
              <p:nvPr/>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34" name="Rectangle 433">
                <a:extLst>
                  <a:ext uri="{FF2B5EF4-FFF2-40B4-BE49-F238E27FC236}">
                    <a16:creationId xmlns:a16="http://schemas.microsoft.com/office/drawing/2014/main" id="{6B65B973-2985-1A46-9D7E-B54790574FFD}"/>
                  </a:ext>
                </a:extLst>
              </p:cNvPr>
              <p:cNvSpPr/>
              <p:nvPr/>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421" name="Group 420">
              <a:extLst>
                <a:ext uri="{FF2B5EF4-FFF2-40B4-BE49-F238E27FC236}">
                  <a16:creationId xmlns:a16="http://schemas.microsoft.com/office/drawing/2014/main" id="{89E6048A-324B-7B4A-96E3-0182AFDA4E0F}"/>
                </a:ext>
              </a:extLst>
            </p:cNvPr>
            <p:cNvGrpSpPr/>
            <p:nvPr/>
          </p:nvGrpSpPr>
          <p:grpSpPr>
            <a:xfrm>
              <a:off x="11887200" y="5060956"/>
              <a:ext cx="304800" cy="304800"/>
              <a:chOff x="11887200" y="3048000"/>
              <a:chExt cx="304800" cy="304800"/>
            </a:xfrm>
          </p:grpSpPr>
          <p:sp>
            <p:nvSpPr>
              <p:cNvPr id="427" name="Rectangle 426">
                <a:extLst>
                  <a:ext uri="{FF2B5EF4-FFF2-40B4-BE49-F238E27FC236}">
                    <a16:creationId xmlns:a16="http://schemas.microsoft.com/office/drawing/2014/main" id="{35B7F55A-CA3E-6A49-9AAB-B8F4A9806129}"/>
                  </a:ext>
                </a:extLst>
              </p:cNvPr>
              <p:cNvSpPr/>
              <p:nvPr/>
            </p:nvSpPr>
            <p:spPr>
              <a:xfrm>
                <a:off x="12039600" y="3200400"/>
                <a:ext cx="152400" cy="15240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28" name="Rectangle 427">
                <a:extLst>
                  <a:ext uri="{FF2B5EF4-FFF2-40B4-BE49-F238E27FC236}">
                    <a16:creationId xmlns:a16="http://schemas.microsoft.com/office/drawing/2014/main" id="{A3353706-2E52-E144-8A63-6273B78CB93E}"/>
                  </a:ext>
                </a:extLst>
              </p:cNvPr>
              <p:cNvSpPr/>
              <p:nvPr/>
            </p:nvSpPr>
            <p:spPr>
              <a:xfrm>
                <a:off x="11887200" y="3200400"/>
                <a:ext cx="152400" cy="15240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29" name="Rectangle 428">
                <a:extLst>
                  <a:ext uri="{FF2B5EF4-FFF2-40B4-BE49-F238E27FC236}">
                    <a16:creationId xmlns:a16="http://schemas.microsoft.com/office/drawing/2014/main" id="{DE0C3521-EDAC-1A49-8ED8-2DA7FC9C5BC9}"/>
                  </a:ext>
                </a:extLst>
              </p:cNvPr>
              <p:cNvSpPr/>
              <p:nvPr/>
            </p:nvSpPr>
            <p:spPr>
              <a:xfrm>
                <a:off x="12039600" y="3048000"/>
                <a:ext cx="152400" cy="15240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30" name="Rectangle 429">
                <a:extLst>
                  <a:ext uri="{FF2B5EF4-FFF2-40B4-BE49-F238E27FC236}">
                    <a16:creationId xmlns:a16="http://schemas.microsoft.com/office/drawing/2014/main" id="{1B3C97FD-7422-3B49-9A32-5439ECC9129E}"/>
                  </a:ext>
                </a:extLst>
              </p:cNvPr>
              <p:cNvSpPr/>
              <p:nvPr/>
            </p:nvSpPr>
            <p:spPr>
              <a:xfrm>
                <a:off x="11887200" y="3048000"/>
                <a:ext cx="152400" cy="15240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422" name="Group 421">
              <a:extLst>
                <a:ext uri="{FF2B5EF4-FFF2-40B4-BE49-F238E27FC236}">
                  <a16:creationId xmlns:a16="http://schemas.microsoft.com/office/drawing/2014/main" id="{13909B4A-16B1-EB41-8EBA-C21C3846E275}"/>
                </a:ext>
              </a:extLst>
            </p:cNvPr>
            <p:cNvGrpSpPr/>
            <p:nvPr/>
          </p:nvGrpSpPr>
          <p:grpSpPr>
            <a:xfrm>
              <a:off x="5943600" y="5060956"/>
              <a:ext cx="304800" cy="304800"/>
              <a:chOff x="4748283" y="3386554"/>
              <a:chExt cx="548640" cy="548640"/>
            </a:xfrm>
          </p:grpSpPr>
          <p:sp>
            <p:nvSpPr>
              <p:cNvPr id="423" name="Rectangle 422">
                <a:extLst>
                  <a:ext uri="{FF2B5EF4-FFF2-40B4-BE49-F238E27FC236}">
                    <a16:creationId xmlns:a16="http://schemas.microsoft.com/office/drawing/2014/main" id="{78BBE9C9-671C-F143-A4EA-2DF4B70C6E9E}"/>
                  </a:ext>
                </a:extLst>
              </p:cNvPr>
              <p:cNvSpPr/>
              <p:nvPr/>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24" name="Rectangle 423">
                <a:extLst>
                  <a:ext uri="{FF2B5EF4-FFF2-40B4-BE49-F238E27FC236}">
                    <a16:creationId xmlns:a16="http://schemas.microsoft.com/office/drawing/2014/main" id="{D1572C1F-31B0-A449-AF07-F0C75F9333B5}"/>
                  </a:ext>
                </a:extLst>
              </p:cNvPr>
              <p:cNvSpPr/>
              <p:nvPr/>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25" name="Rectangle 424">
                <a:extLst>
                  <a:ext uri="{FF2B5EF4-FFF2-40B4-BE49-F238E27FC236}">
                    <a16:creationId xmlns:a16="http://schemas.microsoft.com/office/drawing/2014/main" id="{DA2AA3D6-DE7C-1648-95ED-0FDE1A3715AE}"/>
                  </a:ext>
                </a:extLst>
              </p:cNvPr>
              <p:cNvSpPr/>
              <p:nvPr/>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26" name="Rectangle 425">
                <a:extLst>
                  <a:ext uri="{FF2B5EF4-FFF2-40B4-BE49-F238E27FC236}">
                    <a16:creationId xmlns:a16="http://schemas.microsoft.com/office/drawing/2014/main" id="{ED8EFBE5-713C-AE42-B222-0B2BCDBA868C}"/>
                  </a:ext>
                </a:extLst>
              </p:cNvPr>
              <p:cNvSpPr/>
              <p:nvPr/>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437" name="Group 436">
            <a:extLst>
              <a:ext uri="{FF2B5EF4-FFF2-40B4-BE49-F238E27FC236}">
                <a16:creationId xmlns:a16="http://schemas.microsoft.com/office/drawing/2014/main" id="{BF14D695-A0CE-114E-8019-2ED18154094C}"/>
              </a:ext>
            </a:extLst>
          </p:cNvPr>
          <p:cNvGrpSpPr/>
          <p:nvPr/>
        </p:nvGrpSpPr>
        <p:grpSpPr>
          <a:xfrm>
            <a:off x="0" y="3336768"/>
            <a:ext cx="12192000" cy="304801"/>
            <a:chOff x="0" y="1720842"/>
            <a:chExt cx="12192000" cy="304801"/>
          </a:xfrm>
        </p:grpSpPr>
        <p:grpSp>
          <p:nvGrpSpPr>
            <p:cNvPr id="438" name="Group 437">
              <a:extLst>
                <a:ext uri="{FF2B5EF4-FFF2-40B4-BE49-F238E27FC236}">
                  <a16:creationId xmlns:a16="http://schemas.microsoft.com/office/drawing/2014/main" id="{B258BE61-F68C-6447-A182-49356BB4705F}"/>
                </a:ext>
              </a:extLst>
            </p:cNvPr>
            <p:cNvGrpSpPr/>
            <p:nvPr/>
          </p:nvGrpSpPr>
          <p:grpSpPr>
            <a:xfrm>
              <a:off x="152400" y="1720842"/>
              <a:ext cx="11887200" cy="304801"/>
              <a:chOff x="152400" y="1720842"/>
              <a:chExt cx="10226040" cy="304801"/>
            </a:xfrm>
          </p:grpSpPr>
          <p:sp>
            <p:nvSpPr>
              <p:cNvPr id="474" name="Rectangle 473">
                <a:extLst>
                  <a:ext uri="{FF2B5EF4-FFF2-40B4-BE49-F238E27FC236}">
                    <a16:creationId xmlns:a16="http://schemas.microsoft.com/office/drawing/2014/main" id="{2E39ADA9-047C-064C-B38A-58491F27D38A}"/>
                  </a:ext>
                </a:extLst>
              </p:cNvPr>
              <p:cNvSpPr/>
              <p:nvPr/>
            </p:nvSpPr>
            <p:spPr>
              <a:xfrm>
                <a:off x="152400" y="1720843"/>
                <a:ext cx="1704340" cy="304800"/>
              </a:xfrm>
              <a:prstGeom prst="rect">
                <a:avLst/>
              </a:prstGeom>
              <a:solidFill>
                <a:srgbClr val="A5172E">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75" name="Rectangle 474">
                <a:extLst>
                  <a:ext uri="{FF2B5EF4-FFF2-40B4-BE49-F238E27FC236}">
                    <a16:creationId xmlns:a16="http://schemas.microsoft.com/office/drawing/2014/main" id="{950CBAF9-139A-444A-99D3-8878A71E1230}"/>
                  </a:ext>
                </a:extLst>
              </p:cNvPr>
              <p:cNvSpPr/>
              <p:nvPr/>
            </p:nvSpPr>
            <p:spPr>
              <a:xfrm>
                <a:off x="1856740" y="1720842"/>
                <a:ext cx="1704340" cy="304800"/>
              </a:xfrm>
              <a:prstGeom prst="rect">
                <a:avLst/>
              </a:prstGeom>
              <a:solidFill>
                <a:srgbClr val="A5172E">
                  <a:lumMod val="40000"/>
                  <a:lumOff val="6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76" name="Rectangle 475">
                <a:extLst>
                  <a:ext uri="{FF2B5EF4-FFF2-40B4-BE49-F238E27FC236}">
                    <a16:creationId xmlns:a16="http://schemas.microsoft.com/office/drawing/2014/main" id="{B5A13F0A-72FA-0D47-801F-47CA60E80C0C}"/>
                  </a:ext>
                </a:extLst>
              </p:cNvPr>
              <p:cNvSpPr/>
              <p:nvPr/>
            </p:nvSpPr>
            <p:spPr>
              <a:xfrm>
                <a:off x="3561080" y="1720842"/>
                <a:ext cx="1704340" cy="304800"/>
              </a:xfrm>
              <a:prstGeom prst="rect">
                <a:avLst/>
              </a:prstGeom>
              <a:solidFill>
                <a:srgbClr val="A5172E">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77" name="Rectangle 476">
                <a:extLst>
                  <a:ext uri="{FF2B5EF4-FFF2-40B4-BE49-F238E27FC236}">
                    <a16:creationId xmlns:a16="http://schemas.microsoft.com/office/drawing/2014/main" id="{4FEF358F-4817-F64B-8CC4-0FD0C1FABF29}"/>
                  </a:ext>
                </a:extLst>
              </p:cNvPr>
              <p:cNvSpPr/>
              <p:nvPr/>
            </p:nvSpPr>
            <p:spPr>
              <a:xfrm>
                <a:off x="5265420" y="1720842"/>
                <a:ext cx="1704340" cy="304800"/>
              </a:xfrm>
              <a:prstGeom prst="rect">
                <a:avLst/>
              </a:prstGeom>
              <a:solidFill>
                <a:srgbClr val="A5172E">
                  <a:lumMod val="40000"/>
                  <a:lumOff val="6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78" name="Rectangle 477">
                <a:extLst>
                  <a:ext uri="{FF2B5EF4-FFF2-40B4-BE49-F238E27FC236}">
                    <a16:creationId xmlns:a16="http://schemas.microsoft.com/office/drawing/2014/main" id="{EFF11427-1778-1747-93D7-55F0840A0284}"/>
                  </a:ext>
                </a:extLst>
              </p:cNvPr>
              <p:cNvSpPr/>
              <p:nvPr/>
            </p:nvSpPr>
            <p:spPr>
              <a:xfrm>
                <a:off x="6969760" y="1720842"/>
                <a:ext cx="1704340" cy="304800"/>
              </a:xfrm>
              <a:prstGeom prst="rect">
                <a:avLst/>
              </a:prstGeom>
              <a:solidFill>
                <a:srgbClr val="A5172E">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79" name="Rectangle 478">
                <a:extLst>
                  <a:ext uri="{FF2B5EF4-FFF2-40B4-BE49-F238E27FC236}">
                    <a16:creationId xmlns:a16="http://schemas.microsoft.com/office/drawing/2014/main" id="{F3D80D4E-21FD-8E4F-BCC2-F182D2FB139B}"/>
                  </a:ext>
                </a:extLst>
              </p:cNvPr>
              <p:cNvSpPr/>
              <p:nvPr/>
            </p:nvSpPr>
            <p:spPr>
              <a:xfrm>
                <a:off x="8674100" y="1720842"/>
                <a:ext cx="1704340" cy="304800"/>
              </a:xfrm>
              <a:prstGeom prst="rect">
                <a:avLst/>
              </a:prstGeom>
              <a:solidFill>
                <a:srgbClr val="A5172E">
                  <a:lumMod val="40000"/>
                  <a:lumOff val="6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439" name="Group 438">
              <a:extLst>
                <a:ext uri="{FF2B5EF4-FFF2-40B4-BE49-F238E27FC236}">
                  <a16:creationId xmlns:a16="http://schemas.microsoft.com/office/drawing/2014/main" id="{772AB51C-F49A-0A4A-BA0B-000FC84A5867}"/>
                </a:ext>
              </a:extLst>
            </p:cNvPr>
            <p:cNvGrpSpPr/>
            <p:nvPr/>
          </p:nvGrpSpPr>
          <p:grpSpPr>
            <a:xfrm>
              <a:off x="0" y="1720842"/>
              <a:ext cx="304800" cy="304800"/>
              <a:chOff x="4748283" y="3386554"/>
              <a:chExt cx="548640" cy="548640"/>
            </a:xfrm>
          </p:grpSpPr>
          <p:sp>
            <p:nvSpPr>
              <p:cNvPr id="470" name="Rectangle 469">
                <a:extLst>
                  <a:ext uri="{FF2B5EF4-FFF2-40B4-BE49-F238E27FC236}">
                    <a16:creationId xmlns:a16="http://schemas.microsoft.com/office/drawing/2014/main" id="{E4A75E68-C0BB-4840-B07F-1D82C5547F73}"/>
                  </a:ext>
                </a:extLst>
              </p:cNvPr>
              <p:cNvSpPr/>
              <p:nvPr/>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71" name="Rectangle 470">
                <a:extLst>
                  <a:ext uri="{FF2B5EF4-FFF2-40B4-BE49-F238E27FC236}">
                    <a16:creationId xmlns:a16="http://schemas.microsoft.com/office/drawing/2014/main" id="{8DD8EBE3-10D1-3E44-85FC-03439E297582}"/>
                  </a:ext>
                </a:extLst>
              </p:cNvPr>
              <p:cNvSpPr/>
              <p:nvPr/>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72" name="Rectangle 471">
                <a:extLst>
                  <a:ext uri="{FF2B5EF4-FFF2-40B4-BE49-F238E27FC236}">
                    <a16:creationId xmlns:a16="http://schemas.microsoft.com/office/drawing/2014/main" id="{6AEBDBAB-049C-C94F-BA15-670FE7786BB7}"/>
                  </a:ext>
                </a:extLst>
              </p:cNvPr>
              <p:cNvSpPr/>
              <p:nvPr/>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73" name="Rectangle 472">
                <a:extLst>
                  <a:ext uri="{FF2B5EF4-FFF2-40B4-BE49-F238E27FC236}">
                    <a16:creationId xmlns:a16="http://schemas.microsoft.com/office/drawing/2014/main" id="{1839B25E-E114-E34C-A32D-6D7EC38B1EE9}"/>
                  </a:ext>
                </a:extLst>
              </p:cNvPr>
              <p:cNvSpPr/>
              <p:nvPr/>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440" name="Group 439">
              <a:extLst>
                <a:ext uri="{FF2B5EF4-FFF2-40B4-BE49-F238E27FC236}">
                  <a16:creationId xmlns:a16="http://schemas.microsoft.com/office/drawing/2014/main" id="{C4B9E153-27EB-B040-BCE0-309BDB8E8CDA}"/>
                </a:ext>
              </a:extLst>
            </p:cNvPr>
            <p:cNvGrpSpPr/>
            <p:nvPr/>
          </p:nvGrpSpPr>
          <p:grpSpPr>
            <a:xfrm>
              <a:off x="11887200" y="1720842"/>
              <a:ext cx="304800" cy="304800"/>
              <a:chOff x="11887200" y="3048000"/>
              <a:chExt cx="304800" cy="304800"/>
            </a:xfrm>
          </p:grpSpPr>
          <p:sp>
            <p:nvSpPr>
              <p:cNvPr id="466" name="Rectangle 465">
                <a:extLst>
                  <a:ext uri="{FF2B5EF4-FFF2-40B4-BE49-F238E27FC236}">
                    <a16:creationId xmlns:a16="http://schemas.microsoft.com/office/drawing/2014/main" id="{A27F3C4E-60C9-0441-BB28-DA297CC18C6B}"/>
                  </a:ext>
                </a:extLst>
              </p:cNvPr>
              <p:cNvSpPr/>
              <p:nvPr/>
            </p:nvSpPr>
            <p:spPr>
              <a:xfrm>
                <a:off x="12039600" y="3200400"/>
                <a:ext cx="152400" cy="15240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67" name="Rectangle 466">
                <a:extLst>
                  <a:ext uri="{FF2B5EF4-FFF2-40B4-BE49-F238E27FC236}">
                    <a16:creationId xmlns:a16="http://schemas.microsoft.com/office/drawing/2014/main" id="{21B5179C-3F21-4540-9AFE-2D927DFF8388}"/>
                  </a:ext>
                </a:extLst>
              </p:cNvPr>
              <p:cNvSpPr/>
              <p:nvPr/>
            </p:nvSpPr>
            <p:spPr>
              <a:xfrm>
                <a:off x="11887200" y="3200400"/>
                <a:ext cx="152400" cy="15240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68" name="Rectangle 467">
                <a:extLst>
                  <a:ext uri="{FF2B5EF4-FFF2-40B4-BE49-F238E27FC236}">
                    <a16:creationId xmlns:a16="http://schemas.microsoft.com/office/drawing/2014/main" id="{B81BD9A7-26C8-F74E-81CB-41418ED62A1D}"/>
                  </a:ext>
                </a:extLst>
              </p:cNvPr>
              <p:cNvSpPr/>
              <p:nvPr/>
            </p:nvSpPr>
            <p:spPr>
              <a:xfrm>
                <a:off x="12039600" y="3048000"/>
                <a:ext cx="152400" cy="15240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69" name="Rectangle 468">
                <a:extLst>
                  <a:ext uri="{FF2B5EF4-FFF2-40B4-BE49-F238E27FC236}">
                    <a16:creationId xmlns:a16="http://schemas.microsoft.com/office/drawing/2014/main" id="{D9514B8E-A753-2045-AAAA-E16B50514554}"/>
                  </a:ext>
                </a:extLst>
              </p:cNvPr>
              <p:cNvSpPr/>
              <p:nvPr/>
            </p:nvSpPr>
            <p:spPr>
              <a:xfrm>
                <a:off x="11887200" y="3048000"/>
                <a:ext cx="152400" cy="15240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441" name="Group 440">
              <a:extLst>
                <a:ext uri="{FF2B5EF4-FFF2-40B4-BE49-F238E27FC236}">
                  <a16:creationId xmlns:a16="http://schemas.microsoft.com/office/drawing/2014/main" id="{ECC44206-FD2E-F94D-9B86-B800910A14FE}"/>
                </a:ext>
              </a:extLst>
            </p:cNvPr>
            <p:cNvGrpSpPr/>
            <p:nvPr/>
          </p:nvGrpSpPr>
          <p:grpSpPr>
            <a:xfrm>
              <a:off x="1984915" y="1720842"/>
              <a:ext cx="304800" cy="304800"/>
              <a:chOff x="4748283" y="3386554"/>
              <a:chExt cx="548640" cy="548640"/>
            </a:xfrm>
          </p:grpSpPr>
          <p:sp>
            <p:nvSpPr>
              <p:cNvPr id="462" name="Rectangle 461">
                <a:extLst>
                  <a:ext uri="{FF2B5EF4-FFF2-40B4-BE49-F238E27FC236}">
                    <a16:creationId xmlns:a16="http://schemas.microsoft.com/office/drawing/2014/main" id="{C8BDDAA8-114B-3A4F-958C-920C69378416}"/>
                  </a:ext>
                </a:extLst>
              </p:cNvPr>
              <p:cNvSpPr/>
              <p:nvPr/>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63" name="Rectangle 462">
                <a:extLst>
                  <a:ext uri="{FF2B5EF4-FFF2-40B4-BE49-F238E27FC236}">
                    <a16:creationId xmlns:a16="http://schemas.microsoft.com/office/drawing/2014/main" id="{66EB955B-9466-F243-B786-3F7895B36FE2}"/>
                  </a:ext>
                </a:extLst>
              </p:cNvPr>
              <p:cNvSpPr/>
              <p:nvPr/>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64" name="Rectangle 463">
                <a:extLst>
                  <a:ext uri="{FF2B5EF4-FFF2-40B4-BE49-F238E27FC236}">
                    <a16:creationId xmlns:a16="http://schemas.microsoft.com/office/drawing/2014/main" id="{57AC506A-54E9-7442-9D5A-739F9BC156CE}"/>
                  </a:ext>
                </a:extLst>
              </p:cNvPr>
              <p:cNvSpPr/>
              <p:nvPr/>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65" name="Rectangle 464">
                <a:extLst>
                  <a:ext uri="{FF2B5EF4-FFF2-40B4-BE49-F238E27FC236}">
                    <a16:creationId xmlns:a16="http://schemas.microsoft.com/office/drawing/2014/main" id="{989669EA-D5BB-2749-A33E-897415693EA0}"/>
                  </a:ext>
                </a:extLst>
              </p:cNvPr>
              <p:cNvSpPr/>
              <p:nvPr/>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442" name="Group 441">
              <a:extLst>
                <a:ext uri="{FF2B5EF4-FFF2-40B4-BE49-F238E27FC236}">
                  <a16:creationId xmlns:a16="http://schemas.microsoft.com/office/drawing/2014/main" id="{2BF5526E-DA20-1A47-B1EC-05FCC4F811A6}"/>
                </a:ext>
              </a:extLst>
            </p:cNvPr>
            <p:cNvGrpSpPr/>
            <p:nvPr/>
          </p:nvGrpSpPr>
          <p:grpSpPr>
            <a:xfrm>
              <a:off x="3962829" y="1720842"/>
              <a:ext cx="304800" cy="304800"/>
              <a:chOff x="4748283" y="3386554"/>
              <a:chExt cx="548640" cy="548640"/>
            </a:xfrm>
          </p:grpSpPr>
          <p:sp>
            <p:nvSpPr>
              <p:cNvPr id="458" name="Rectangle 457">
                <a:extLst>
                  <a:ext uri="{FF2B5EF4-FFF2-40B4-BE49-F238E27FC236}">
                    <a16:creationId xmlns:a16="http://schemas.microsoft.com/office/drawing/2014/main" id="{C1CA3603-5759-F245-A0BC-7AC94B98ACB3}"/>
                  </a:ext>
                </a:extLst>
              </p:cNvPr>
              <p:cNvSpPr/>
              <p:nvPr/>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59" name="Rectangle 458">
                <a:extLst>
                  <a:ext uri="{FF2B5EF4-FFF2-40B4-BE49-F238E27FC236}">
                    <a16:creationId xmlns:a16="http://schemas.microsoft.com/office/drawing/2014/main" id="{E65062EA-2737-9F4A-AC6D-377AEBB24DA8}"/>
                  </a:ext>
                </a:extLst>
              </p:cNvPr>
              <p:cNvSpPr/>
              <p:nvPr/>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60" name="Rectangle 459">
                <a:extLst>
                  <a:ext uri="{FF2B5EF4-FFF2-40B4-BE49-F238E27FC236}">
                    <a16:creationId xmlns:a16="http://schemas.microsoft.com/office/drawing/2014/main" id="{5EFA2540-BC53-0A4B-818C-23B0B9216130}"/>
                  </a:ext>
                </a:extLst>
              </p:cNvPr>
              <p:cNvSpPr/>
              <p:nvPr/>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61" name="Rectangle 460">
                <a:extLst>
                  <a:ext uri="{FF2B5EF4-FFF2-40B4-BE49-F238E27FC236}">
                    <a16:creationId xmlns:a16="http://schemas.microsoft.com/office/drawing/2014/main" id="{A365443A-BD5B-D543-A1BC-48CD7E25F9B4}"/>
                  </a:ext>
                </a:extLst>
              </p:cNvPr>
              <p:cNvSpPr/>
              <p:nvPr/>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443" name="Group 442">
              <a:extLst>
                <a:ext uri="{FF2B5EF4-FFF2-40B4-BE49-F238E27FC236}">
                  <a16:creationId xmlns:a16="http://schemas.microsoft.com/office/drawing/2014/main" id="{3E69FC19-CB83-6F45-8D1E-A4DC1CCCC32E}"/>
                </a:ext>
              </a:extLst>
            </p:cNvPr>
            <p:cNvGrpSpPr/>
            <p:nvPr/>
          </p:nvGrpSpPr>
          <p:grpSpPr>
            <a:xfrm>
              <a:off x="5941695" y="1720842"/>
              <a:ext cx="304800" cy="304800"/>
              <a:chOff x="4748283" y="3386554"/>
              <a:chExt cx="548640" cy="548640"/>
            </a:xfrm>
          </p:grpSpPr>
          <p:sp>
            <p:nvSpPr>
              <p:cNvPr id="454" name="Rectangle 453">
                <a:extLst>
                  <a:ext uri="{FF2B5EF4-FFF2-40B4-BE49-F238E27FC236}">
                    <a16:creationId xmlns:a16="http://schemas.microsoft.com/office/drawing/2014/main" id="{D57A09A4-5C22-CA4B-BB1C-F7672C2AA69A}"/>
                  </a:ext>
                </a:extLst>
              </p:cNvPr>
              <p:cNvSpPr/>
              <p:nvPr/>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55" name="Rectangle 454">
                <a:extLst>
                  <a:ext uri="{FF2B5EF4-FFF2-40B4-BE49-F238E27FC236}">
                    <a16:creationId xmlns:a16="http://schemas.microsoft.com/office/drawing/2014/main" id="{17C22FAC-AC42-6E43-ACA2-58810E6D49CC}"/>
                  </a:ext>
                </a:extLst>
              </p:cNvPr>
              <p:cNvSpPr/>
              <p:nvPr/>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56" name="Rectangle 455">
                <a:extLst>
                  <a:ext uri="{FF2B5EF4-FFF2-40B4-BE49-F238E27FC236}">
                    <a16:creationId xmlns:a16="http://schemas.microsoft.com/office/drawing/2014/main" id="{5E375788-6501-DC47-A513-CA1940784EF3}"/>
                  </a:ext>
                </a:extLst>
              </p:cNvPr>
              <p:cNvSpPr/>
              <p:nvPr/>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57" name="Rectangle 456">
                <a:extLst>
                  <a:ext uri="{FF2B5EF4-FFF2-40B4-BE49-F238E27FC236}">
                    <a16:creationId xmlns:a16="http://schemas.microsoft.com/office/drawing/2014/main" id="{EDD8D43C-CFFB-4247-9B73-EFA60807FF1B}"/>
                  </a:ext>
                </a:extLst>
              </p:cNvPr>
              <p:cNvSpPr/>
              <p:nvPr/>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444" name="Group 443">
              <a:extLst>
                <a:ext uri="{FF2B5EF4-FFF2-40B4-BE49-F238E27FC236}">
                  <a16:creationId xmlns:a16="http://schemas.microsoft.com/office/drawing/2014/main" id="{88078022-BDD1-E941-A76D-8B2EA55DF35C}"/>
                </a:ext>
              </a:extLst>
            </p:cNvPr>
            <p:cNvGrpSpPr/>
            <p:nvPr/>
          </p:nvGrpSpPr>
          <p:grpSpPr>
            <a:xfrm>
              <a:off x="7925379" y="1720842"/>
              <a:ext cx="304800" cy="304800"/>
              <a:chOff x="4748283" y="3386554"/>
              <a:chExt cx="548640" cy="548640"/>
            </a:xfrm>
          </p:grpSpPr>
          <p:sp>
            <p:nvSpPr>
              <p:cNvPr id="450" name="Rectangle 449">
                <a:extLst>
                  <a:ext uri="{FF2B5EF4-FFF2-40B4-BE49-F238E27FC236}">
                    <a16:creationId xmlns:a16="http://schemas.microsoft.com/office/drawing/2014/main" id="{46CFF03B-0578-744C-B497-C6A70789806B}"/>
                  </a:ext>
                </a:extLst>
              </p:cNvPr>
              <p:cNvSpPr/>
              <p:nvPr/>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51" name="Rectangle 450">
                <a:extLst>
                  <a:ext uri="{FF2B5EF4-FFF2-40B4-BE49-F238E27FC236}">
                    <a16:creationId xmlns:a16="http://schemas.microsoft.com/office/drawing/2014/main" id="{E832363E-13BD-AE41-B338-5CE369511D0E}"/>
                  </a:ext>
                </a:extLst>
              </p:cNvPr>
              <p:cNvSpPr/>
              <p:nvPr/>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52" name="Rectangle 451">
                <a:extLst>
                  <a:ext uri="{FF2B5EF4-FFF2-40B4-BE49-F238E27FC236}">
                    <a16:creationId xmlns:a16="http://schemas.microsoft.com/office/drawing/2014/main" id="{7F3C2F47-5852-FE46-A6B8-0240E7FB37E8}"/>
                  </a:ext>
                </a:extLst>
              </p:cNvPr>
              <p:cNvSpPr/>
              <p:nvPr/>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53" name="Rectangle 452">
                <a:extLst>
                  <a:ext uri="{FF2B5EF4-FFF2-40B4-BE49-F238E27FC236}">
                    <a16:creationId xmlns:a16="http://schemas.microsoft.com/office/drawing/2014/main" id="{62234A22-B732-8643-8B93-EDA7BEDDA589}"/>
                  </a:ext>
                </a:extLst>
              </p:cNvPr>
              <p:cNvSpPr/>
              <p:nvPr/>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445" name="Group 444">
              <a:extLst>
                <a:ext uri="{FF2B5EF4-FFF2-40B4-BE49-F238E27FC236}">
                  <a16:creationId xmlns:a16="http://schemas.microsoft.com/office/drawing/2014/main" id="{3B83FBB8-0104-2A44-B8DB-E77F2800533E}"/>
                </a:ext>
              </a:extLst>
            </p:cNvPr>
            <p:cNvGrpSpPr/>
            <p:nvPr/>
          </p:nvGrpSpPr>
          <p:grpSpPr>
            <a:xfrm>
              <a:off x="9906579" y="1720842"/>
              <a:ext cx="304800" cy="304800"/>
              <a:chOff x="4748283" y="3386554"/>
              <a:chExt cx="548640" cy="548640"/>
            </a:xfrm>
          </p:grpSpPr>
          <p:sp>
            <p:nvSpPr>
              <p:cNvPr id="446" name="Rectangle 445">
                <a:extLst>
                  <a:ext uri="{FF2B5EF4-FFF2-40B4-BE49-F238E27FC236}">
                    <a16:creationId xmlns:a16="http://schemas.microsoft.com/office/drawing/2014/main" id="{41E071DB-0DDA-B34C-AB39-A3E6C3A412DA}"/>
                  </a:ext>
                </a:extLst>
              </p:cNvPr>
              <p:cNvSpPr/>
              <p:nvPr/>
            </p:nvSpPr>
            <p:spPr>
              <a:xfrm>
                <a:off x="5022603" y="366087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47" name="Rectangle 446">
                <a:extLst>
                  <a:ext uri="{FF2B5EF4-FFF2-40B4-BE49-F238E27FC236}">
                    <a16:creationId xmlns:a16="http://schemas.microsoft.com/office/drawing/2014/main" id="{4B7E35A1-132C-754F-950B-7CBCB087D913}"/>
                  </a:ext>
                </a:extLst>
              </p:cNvPr>
              <p:cNvSpPr/>
              <p:nvPr/>
            </p:nvSpPr>
            <p:spPr>
              <a:xfrm>
                <a:off x="4748283" y="366087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48" name="Rectangle 447">
                <a:extLst>
                  <a:ext uri="{FF2B5EF4-FFF2-40B4-BE49-F238E27FC236}">
                    <a16:creationId xmlns:a16="http://schemas.microsoft.com/office/drawing/2014/main" id="{20745239-C123-C44A-BB88-8EB50EDE843F}"/>
                  </a:ext>
                </a:extLst>
              </p:cNvPr>
              <p:cNvSpPr/>
              <p:nvPr/>
            </p:nvSpPr>
            <p:spPr>
              <a:xfrm>
                <a:off x="5022603" y="3386554"/>
                <a:ext cx="274320" cy="274320"/>
              </a:xfrm>
              <a:prstGeom prst="rect">
                <a:avLst/>
              </a:prstGeom>
              <a:solidFill>
                <a:srgbClr val="A5172E">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49" name="Rectangle 448">
                <a:extLst>
                  <a:ext uri="{FF2B5EF4-FFF2-40B4-BE49-F238E27FC236}">
                    <a16:creationId xmlns:a16="http://schemas.microsoft.com/office/drawing/2014/main" id="{55EBCF78-5308-C540-ABE3-CAF92FF8F600}"/>
                  </a:ext>
                </a:extLst>
              </p:cNvPr>
              <p:cNvSpPr/>
              <p:nvPr/>
            </p:nvSpPr>
            <p:spPr>
              <a:xfrm>
                <a:off x="4748283" y="3386554"/>
                <a:ext cx="274320" cy="274320"/>
              </a:xfrm>
              <a:prstGeom prst="rect">
                <a:avLst/>
              </a:prstGeom>
              <a:solidFill>
                <a:srgbClr val="A5172E">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sp>
        <p:nvSpPr>
          <p:cNvPr id="480" name="TextBox 479">
            <a:extLst>
              <a:ext uri="{FF2B5EF4-FFF2-40B4-BE49-F238E27FC236}">
                <a16:creationId xmlns:a16="http://schemas.microsoft.com/office/drawing/2014/main" id="{342D7EB4-B12F-644A-9E0A-98B8EF09117E}"/>
              </a:ext>
            </a:extLst>
          </p:cNvPr>
          <p:cNvSpPr txBox="1"/>
          <p:nvPr/>
        </p:nvSpPr>
        <p:spPr>
          <a:xfrm>
            <a:off x="304800" y="3126887"/>
            <a:ext cx="621965" cy="184666"/>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chemeClr val="tx1"/>
                </a:solidFill>
                <a:effectLst/>
                <a:uLnTx/>
                <a:uFillTx/>
              </a:rPr>
              <a:t>6 column</a:t>
            </a:r>
          </a:p>
        </p:txBody>
      </p:sp>
      <p:sp>
        <p:nvSpPr>
          <p:cNvPr id="481" name="TextBox 480">
            <a:extLst>
              <a:ext uri="{FF2B5EF4-FFF2-40B4-BE49-F238E27FC236}">
                <a16:creationId xmlns:a16="http://schemas.microsoft.com/office/drawing/2014/main" id="{7056B7B5-7702-9842-8ACC-189B0B1EC818}"/>
              </a:ext>
            </a:extLst>
          </p:cNvPr>
          <p:cNvSpPr txBox="1"/>
          <p:nvPr/>
        </p:nvSpPr>
        <p:spPr>
          <a:xfrm>
            <a:off x="304800" y="3823113"/>
            <a:ext cx="621965" cy="184666"/>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chemeClr val="tx1"/>
                </a:solidFill>
                <a:effectLst/>
                <a:uLnTx/>
                <a:uFillTx/>
              </a:rPr>
              <a:t>5 column</a:t>
            </a:r>
          </a:p>
        </p:txBody>
      </p:sp>
      <p:sp>
        <p:nvSpPr>
          <p:cNvPr id="482" name="TextBox 481">
            <a:extLst>
              <a:ext uri="{FF2B5EF4-FFF2-40B4-BE49-F238E27FC236}">
                <a16:creationId xmlns:a16="http://schemas.microsoft.com/office/drawing/2014/main" id="{86211BCB-2DF9-6644-8DCD-BC5B31A507D4}"/>
              </a:ext>
            </a:extLst>
          </p:cNvPr>
          <p:cNvSpPr txBox="1"/>
          <p:nvPr/>
        </p:nvSpPr>
        <p:spPr>
          <a:xfrm>
            <a:off x="304800" y="4456624"/>
            <a:ext cx="621965" cy="184666"/>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chemeClr val="tx1"/>
                </a:solidFill>
                <a:effectLst/>
                <a:uLnTx/>
                <a:uFillTx/>
              </a:rPr>
              <a:t>4 column</a:t>
            </a:r>
          </a:p>
        </p:txBody>
      </p:sp>
      <p:sp>
        <p:nvSpPr>
          <p:cNvPr id="483" name="TextBox 482">
            <a:extLst>
              <a:ext uri="{FF2B5EF4-FFF2-40B4-BE49-F238E27FC236}">
                <a16:creationId xmlns:a16="http://schemas.microsoft.com/office/drawing/2014/main" id="{480A6B41-B33C-4544-AA80-B05EA7E4F5F8}"/>
              </a:ext>
            </a:extLst>
          </p:cNvPr>
          <p:cNvSpPr txBox="1"/>
          <p:nvPr/>
        </p:nvSpPr>
        <p:spPr>
          <a:xfrm>
            <a:off x="304800" y="5094905"/>
            <a:ext cx="621965" cy="184666"/>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chemeClr val="tx1"/>
                </a:solidFill>
                <a:effectLst/>
                <a:uLnTx/>
                <a:uFillTx/>
              </a:rPr>
              <a:t>3 column</a:t>
            </a:r>
          </a:p>
        </p:txBody>
      </p:sp>
      <p:sp>
        <p:nvSpPr>
          <p:cNvPr id="484" name="TextBox 483">
            <a:extLst>
              <a:ext uri="{FF2B5EF4-FFF2-40B4-BE49-F238E27FC236}">
                <a16:creationId xmlns:a16="http://schemas.microsoft.com/office/drawing/2014/main" id="{29F7A788-CE98-6246-ADB3-ACDB5AD10573}"/>
              </a:ext>
            </a:extLst>
          </p:cNvPr>
          <p:cNvSpPr txBox="1"/>
          <p:nvPr/>
        </p:nvSpPr>
        <p:spPr>
          <a:xfrm>
            <a:off x="304800" y="5751326"/>
            <a:ext cx="621965" cy="184666"/>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chemeClr val="tx1"/>
                </a:solidFill>
                <a:effectLst/>
                <a:uLnTx/>
                <a:uFillTx/>
              </a:rPr>
              <a:t>2 column</a:t>
            </a:r>
          </a:p>
        </p:txBody>
      </p:sp>
      <p:sp>
        <p:nvSpPr>
          <p:cNvPr id="164" name="Slide Number Placeholder 2">
            <a:extLst>
              <a:ext uri="{FF2B5EF4-FFF2-40B4-BE49-F238E27FC236}">
                <a16:creationId xmlns:a16="http://schemas.microsoft.com/office/drawing/2014/main" id="{F03B75DB-F93B-BB4A-88B7-BC503665EB12}"/>
              </a:ext>
            </a:extLst>
          </p:cNvPr>
          <p:cNvSpPr>
            <a:spLocks noGrp="1"/>
          </p:cNvSpPr>
          <p:nvPr>
            <p:ph type="sldNum" sz="quarter" idx="10"/>
          </p:nvPr>
        </p:nvSpPr>
        <p:spPr>
          <a:xfrm>
            <a:off x="1" y="6553200"/>
            <a:ext cx="304799" cy="304799"/>
          </a:xfrm>
        </p:spPr>
        <p:txBody>
          <a:bodyPr/>
          <a:lstStyle/>
          <a:p>
            <a:fld id="{89006F1E-66CD-4A4B-9370-B4A3080F0E6C}" type="slidenum">
              <a:rPr lang="en-US" smtClean="0"/>
              <a:pPr/>
              <a:t>‹#›</a:t>
            </a:fld>
            <a:endParaRPr lang="en-US"/>
          </a:p>
        </p:txBody>
      </p:sp>
      <p:sp>
        <p:nvSpPr>
          <p:cNvPr id="165" name="Footer Placeholder 1">
            <a:extLst>
              <a:ext uri="{FF2B5EF4-FFF2-40B4-BE49-F238E27FC236}">
                <a16:creationId xmlns:a16="http://schemas.microsoft.com/office/drawing/2014/main" id="{32024396-8CE7-064A-913E-52749C1A59C6}"/>
              </a:ext>
            </a:extLst>
          </p:cNvPr>
          <p:cNvSpPr>
            <a:spLocks noGrp="1"/>
          </p:cNvSpPr>
          <p:nvPr>
            <p:ph type="ftr" sz="quarter" idx="14"/>
          </p:nvPr>
        </p:nvSpPr>
        <p:spPr>
          <a:xfrm>
            <a:off x="304799" y="6553201"/>
            <a:ext cx="5791201" cy="304800"/>
          </a:xfrm>
          <a:prstGeom prst="rect">
            <a:avLst/>
          </a:prstGeom>
        </p:spPr>
        <p:txBody>
          <a:bodyPr/>
          <a:lstStyle>
            <a:lvl1pPr>
              <a:defRPr>
                <a:solidFill>
                  <a:schemeClr val="accent5"/>
                </a:solidFill>
              </a:defRPr>
            </a:lvl1pPr>
          </a:lstStyle>
          <a:p>
            <a:r>
              <a:rPr lang="en-US">
                <a:ea typeface="MS PGothic" panose="020B0600070205080204" pitchFamily="34" charset="-128"/>
              </a:rPr>
              <a:t>Proprietary &amp; Confidential |  authoremail@thermofisher.com | 12-April-2021</a:t>
            </a:r>
          </a:p>
        </p:txBody>
      </p:sp>
      <p:grpSp>
        <p:nvGrpSpPr>
          <p:cNvPr id="12" name="Group 11">
            <a:extLst>
              <a:ext uri="{FF2B5EF4-FFF2-40B4-BE49-F238E27FC236}">
                <a16:creationId xmlns:a16="http://schemas.microsoft.com/office/drawing/2014/main" id="{6F86E547-682A-6B4F-B0EC-65D336F3A540}"/>
              </a:ext>
            </a:extLst>
          </p:cNvPr>
          <p:cNvGrpSpPr/>
          <p:nvPr/>
        </p:nvGrpSpPr>
        <p:grpSpPr>
          <a:xfrm>
            <a:off x="300227" y="876301"/>
            <a:ext cx="11586972" cy="5676899"/>
            <a:chOff x="300227" y="876301"/>
            <a:chExt cx="11586972" cy="5676899"/>
          </a:xfrm>
        </p:grpSpPr>
        <p:sp>
          <p:nvSpPr>
            <p:cNvPr id="3" name="Rectangle 2">
              <a:extLst>
                <a:ext uri="{FF2B5EF4-FFF2-40B4-BE49-F238E27FC236}">
                  <a16:creationId xmlns:a16="http://schemas.microsoft.com/office/drawing/2014/main" id="{8EE04DA2-78B1-A642-A2C2-0873783B7B9C}"/>
                </a:ext>
              </a:extLst>
            </p:cNvPr>
            <p:cNvSpPr/>
            <p:nvPr/>
          </p:nvSpPr>
          <p:spPr>
            <a:xfrm>
              <a:off x="300227" y="876301"/>
              <a:ext cx="11586972" cy="5676899"/>
            </a:xfrm>
            <a:prstGeom prst="rect">
              <a:avLst/>
            </a:prstGeom>
            <a:noFill/>
            <a:ln>
              <a:solidFill>
                <a:schemeClr val="accent5">
                  <a:lumMod val="60000"/>
                  <a:lumOff val="40000"/>
                </a:schemeClr>
              </a:solidFill>
              <a:prstDash val="dash"/>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cxnSp>
          <p:nvCxnSpPr>
            <p:cNvPr id="5" name="Straight Arrow Connector 4">
              <a:extLst>
                <a:ext uri="{FF2B5EF4-FFF2-40B4-BE49-F238E27FC236}">
                  <a16:creationId xmlns:a16="http://schemas.microsoft.com/office/drawing/2014/main" id="{73EED049-4AD2-0B49-BBEA-A4247ECC89A5}"/>
                </a:ext>
              </a:extLst>
            </p:cNvPr>
            <p:cNvCxnSpPr/>
            <p:nvPr/>
          </p:nvCxnSpPr>
          <p:spPr>
            <a:xfrm>
              <a:off x="474651" y="876301"/>
              <a:ext cx="0" cy="174504"/>
            </a:xfrm>
            <a:prstGeom prst="straightConnector1">
              <a:avLst/>
            </a:prstGeom>
            <a:ln w="12700">
              <a:solidFill>
                <a:schemeClr val="accent5"/>
              </a:solidFill>
              <a:tailEnd type="arrow"/>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1BA01FDD-B887-5D48-9BCC-AB3E59DA8C44}"/>
                </a:ext>
              </a:extLst>
            </p:cNvPr>
            <p:cNvSpPr txBox="1"/>
            <p:nvPr/>
          </p:nvSpPr>
          <p:spPr>
            <a:xfrm>
              <a:off x="579276" y="905884"/>
              <a:ext cx="3517997" cy="174504"/>
            </a:xfrm>
            <a:prstGeom prst="rect">
              <a:avLst/>
            </a:prstGeom>
            <a:noFill/>
          </p:spPr>
          <p:txBody>
            <a:bodyPr wrap="none" lIns="0" tIns="0" rIns="0" bIns="0" rtlCol="0">
              <a:normAutofit/>
            </a:bodyPr>
            <a:lstStyle/>
            <a:p>
              <a:pPr marL="0" indent="0" algn="l" defTabSz="914400">
                <a:lnSpc>
                  <a:spcPct val="120000"/>
                </a:lnSpc>
                <a:spcBef>
                  <a:spcPts val="200"/>
                </a:spcBef>
                <a:buClr>
                  <a:schemeClr val="tx2"/>
                </a:buClr>
                <a:buSzPct val="100000"/>
                <a:buFont typeface="Arial" panose="020B0604020202020204" pitchFamily="34" charset="0"/>
                <a:buNone/>
              </a:pPr>
              <a:r>
                <a:rPr lang="en-US" sz="1050"/>
                <a:t>Safe zone</a:t>
              </a:r>
            </a:p>
          </p:txBody>
        </p:sp>
        <p:cxnSp>
          <p:nvCxnSpPr>
            <p:cNvPr id="171" name="Straight Arrow Connector 170">
              <a:extLst>
                <a:ext uri="{FF2B5EF4-FFF2-40B4-BE49-F238E27FC236}">
                  <a16:creationId xmlns:a16="http://schemas.microsoft.com/office/drawing/2014/main" id="{9BD67516-3606-FF42-BF2C-613E58799753}"/>
                </a:ext>
              </a:extLst>
            </p:cNvPr>
            <p:cNvCxnSpPr/>
            <p:nvPr/>
          </p:nvCxnSpPr>
          <p:spPr>
            <a:xfrm>
              <a:off x="474651" y="1455311"/>
              <a:ext cx="0" cy="174504"/>
            </a:xfrm>
            <a:prstGeom prst="straightConnector1">
              <a:avLst/>
            </a:prstGeom>
            <a:ln w="12700">
              <a:solidFill>
                <a:schemeClr val="accent5"/>
              </a:solidFill>
              <a:tailEnd type="arrow"/>
            </a:ln>
          </p:spPr>
          <p:style>
            <a:lnRef idx="1">
              <a:schemeClr val="accent1"/>
            </a:lnRef>
            <a:fillRef idx="0">
              <a:schemeClr val="accent1"/>
            </a:fillRef>
            <a:effectRef idx="0">
              <a:schemeClr val="accent1"/>
            </a:effectRef>
            <a:fontRef idx="minor">
              <a:schemeClr val="tx1"/>
            </a:fontRef>
          </p:style>
        </p:cxnSp>
        <p:sp>
          <p:nvSpPr>
            <p:cNvPr id="172" name="TextBox 171">
              <a:extLst>
                <a:ext uri="{FF2B5EF4-FFF2-40B4-BE49-F238E27FC236}">
                  <a16:creationId xmlns:a16="http://schemas.microsoft.com/office/drawing/2014/main" id="{4E864EDE-9D5F-984C-A44E-2B8534B762A2}"/>
                </a:ext>
              </a:extLst>
            </p:cNvPr>
            <p:cNvSpPr txBox="1"/>
            <p:nvPr/>
          </p:nvSpPr>
          <p:spPr>
            <a:xfrm>
              <a:off x="579276" y="1484894"/>
              <a:ext cx="3517997" cy="174504"/>
            </a:xfrm>
            <a:prstGeom prst="rect">
              <a:avLst/>
            </a:prstGeom>
            <a:noFill/>
          </p:spPr>
          <p:txBody>
            <a:bodyPr wrap="none" lIns="0" tIns="0" rIns="0" bIns="0" rtlCol="0">
              <a:normAutofit/>
            </a:bodyPr>
            <a:lstStyle/>
            <a:p>
              <a:pPr marL="0" indent="0" algn="l" defTabSz="914400">
                <a:lnSpc>
                  <a:spcPct val="120000"/>
                </a:lnSpc>
                <a:spcBef>
                  <a:spcPts val="200"/>
                </a:spcBef>
                <a:buClr>
                  <a:schemeClr val="tx2"/>
                </a:buClr>
                <a:buSzPct val="100000"/>
                <a:buFont typeface="Arial" panose="020B0604020202020204" pitchFamily="34" charset="0"/>
                <a:buNone/>
              </a:pPr>
              <a:r>
                <a:rPr lang="en-US" sz="1050"/>
                <a:t>Safe zone with sub-title</a:t>
              </a:r>
            </a:p>
          </p:txBody>
        </p:sp>
        <p:cxnSp>
          <p:nvCxnSpPr>
            <p:cNvPr id="8" name="Straight Connector 7">
              <a:extLst>
                <a:ext uri="{FF2B5EF4-FFF2-40B4-BE49-F238E27FC236}">
                  <a16:creationId xmlns:a16="http://schemas.microsoft.com/office/drawing/2014/main" id="{11BD3366-59E4-7A48-9F82-4F24D0C736CB}"/>
                </a:ext>
              </a:extLst>
            </p:cNvPr>
            <p:cNvCxnSpPr>
              <a:cxnSpLocks/>
            </p:cNvCxnSpPr>
            <p:nvPr/>
          </p:nvCxnSpPr>
          <p:spPr>
            <a:xfrm>
              <a:off x="300227" y="1455311"/>
              <a:ext cx="11586972" cy="0"/>
            </a:xfrm>
            <a:prstGeom prst="line">
              <a:avLst/>
            </a:prstGeom>
            <a:noFill/>
            <a:ln>
              <a:solidFill>
                <a:schemeClr val="accent5">
                  <a:lumMod val="60000"/>
                  <a:lumOff val="40000"/>
                </a:schemeClr>
              </a:solidFill>
              <a:prstDash val="dash"/>
            </a:ln>
          </p:spPr>
          <p:style>
            <a:lnRef idx="2">
              <a:schemeClr val="accent6"/>
            </a:lnRef>
            <a:fillRef idx="1">
              <a:schemeClr val="lt1"/>
            </a:fillRef>
            <a:effectRef idx="0">
              <a:schemeClr val="accent6"/>
            </a:effectRef>
            <a:fontRef idx="minor">
              <a:schemeClr val="dk1"/>
            </a:fontRef>
          </p:style>
        </p:cxnSp>
      </p:grpSp>
      <p:grpSp>
        <p:nvGrpSpPr>
          <p:cNvPr id="16" name="Group 15">
            <a:extLst>
              <a:ext uri="{FF2B5EF4-FFF2-40B4-BE49-F238E27FC236}">
                <a16:creationId xmlns:a16="http://schemas.microsoft.com/office/drawing/2014/main" id="{69B2DC8A-7A6F-9644-8D71-F808322A48E6}"/>
              </a:ext>
            </a:extLst>
          </p:cNvPr>
          <p:cNvGrpSpPr/>
          <p:nvPr/>
        </p:nvGrpSpPr>
        <p:grpSpPr>
          <a:xfrm>
            <a:off x="2083982" y="1584073"/>
            <a:ext cx="8024037" cy="1628059"/>
            <a:chOff x="2105247" y="1591161"/>
            <a:chExt cx="8024037" cy="1628059"/>
          </a:xfrm>
        </p:grpSpPr>
        <p:pic>
          <p:nvPicPr>
            <p:cNvPr id="180" name="Picture 179">
              <a:extLst>
                <a:ext uri="{FF2B5EF4-FFF2-40B4-BE49-F238E27FC236}">
                  <a16:creationId xmlns:a16="http://schemas.microsoft.com/office/drawing/2014/main" id="{7DE60FB9-62FE-9C46-B40B-0229DBC6F0D9}"/>
                </a:ext>
              </a:extLst>
            </p:cNvPr>
            <p:cNvPicPr>
              <a:picLocks noChangeAspect="1"/>
            </p:cNvPicPr>
            <p:nvPr/>
          </p:nvPicPr>
          <p:blipFill>
            <a:blip r:embed="rId2"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3874331" y="1591161"/>
              <a:ext cx="4443338" cy="1542319"/>
            </a:xfrm>
            <a:prstGeom prst="rect">
              <a:avLst/>
            </a:prstGeom>
          </p:spPr>
        </p:pic>
        <p:sp>
          <p:nvSpPr>
            <p:cNvPr id="179" name="Parallelogram 178">
              <a:extLst>
                <a:ext uri="{FF2B5EF4-FFF2-40B4-BE49-F238E27FC236}">
                  <a16:creationId xmlns:a16="http://schemas.microsoft.com/office/drawing/2014/main" id="{C604ECB2-C049-5D43-9BEB-15DEE7EE1A1E}"/>
                </a:ext>
              </a:extLst>
            </p:cNvPr>
            <p:cNvSpPr>
              <a:spLocks/>
            </p:cNvSpPr>
            <p:nvPr/>
          </p:nvSpPr>
          <p:spPr bwMode="auto">
            <a:xfrm>
              <a:off x="2105247" y="1611455"/>
              <a:ext cx="8024037" cy="1607765"/>
            </a:xfrm>
            <a:prstGeom prst="parallelogram">
              <a:avLst>
                <a:gd name="adj" fmla="val 31844"/>
              </a:avLst>
            </a:prstGeom>
            <a:noFill/>
            <a:ln w="6350" cap="flat" cmpd="sng" algn="ctr">
              <a:solidFill>
                <a:schemeClr val="accent5">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r>
                <a:rPr lang="en-US" sz="1800">
                  <a:latin typeface="Arial" pitchFamily="124" charset="0"/>
                </a:rPr>
                <a:t>     </a:t>
              </a:r>
            </a:p>
          </p:txBody>
        </p:sp>
        <p:cxnSp>
          <p:nvCxnSpPr>
            <p:cNvPr id="14" name="Straight Connector 13">
              <a:extLst>
                <a:ext uri="{FF2B5EF4-FFF2-40B4-BE49-F238E27FC236}">
                  <a16:creationId xmlns:a16="http://schemas.microsoft.com/office/drawing/2014/main" id="{995298F5-F7FE-A248-809C-3B79A412B130}"/>
                </a:ext>
              </a:extLst>
            </p:cNvPr>
            <p:cNvCxnSpPr/>
            <p:nvPr/>
          </p:nvCxnSpPr>
          <p:spPr>
            <a:xfrm flipV="1">
              <a:off x="6265284" y="1611455"/>
              <a:ext cx="516531" cy="1607765"/>
            </a:xfrm>
            <a:prstGeom prst="line">
              <a:avLst/>
            </a:prstGeom>
            <a:noFill/>
            <a:ln w="6350" cap="flat" cmpd="sng" algn="ctr">
              <a:solidFill>
                <a:schemeClr val="accent5">
                  <a:lumMod val="60000"/>
                  <a:lumOff val="40000"/>
                </a:schemeClr>
              </a:solidFill>
              <a:prstDash val="solid"/>
              <a:round/>
              <a:headEnd type="none" w="med" len="med"/>
              <a:tailEnd type="none" w="med" len="med"/>
            </a:ln>
            <a:effectLst/>
          </p:spPr>
        </p:cxnSp>
        <p:sp>
          <p:nvSpPr>
            <p:cNvPr id="186" name="TextBox 185">
              <a:extLst>
                <a:ext uri="{FF2B5EF4-FFF2-40B4-BE49-F238E27FC236}">
                  <a16:creationId xmlns:a16="http://schemas.microsoft.com/office/drawing/2014/main" id="{2E915A16-BE94-8648-888A-1C89BAA886EB}"/>
                </a:ext>
              </a:extLst>
            </p:cNvPr>
            <p:cNvSpPr txBox="1"/>
            <p:nvPr/>
          </p:nvSpPr>
          <p:spPr>
            <a:xfrm>
              <a:off x="2682698" y="2296374"/>
              <a:ext cx="873729" cy="174504"/>
            </a:xfrm>
            <a:prstGeom prst="rect">
              <a:avLst/>
            </a:prstGeom>
            <a:noFill/>
          </p:spPr>
          <p:txBody>
            <a:bodyPr wrap="none" lIns="0" tIns="0" rIns="0" bIns="0" rtlCol="0">
              <a:normAutofit/>
            </a:bodyPr>
            <a:lstStyle/>
            <a:p>
              <a:pPr marL="0" indent="0" algn="ctr" defTabSz="914400">
                <a:lnSpc>
                  <a:spcPct val="120000"/>
                </a:lnSpc>
                <a:spcBef>
                  <a:spcPts val="200"/>
                </a:spcBef>
                <a:buClr>
                  <a:schemeClr val="tx2"/>
                </a:buClr>
                <a:buSzPct val="100000"/>
                <a:buFont typeface="Arial" panose="020B0604020202020204" pitchFamily="34" charset="0"/>
                <a:buNone/>
              </a:pPr>
              <a:r>
                <a:rPr lang="en-US" sz="1050"/>
                <a:t>Angle Guide</a:t>
              </a:r>
            </a:p>
          </p:txBody>
        </p:sp>
        <p:sp>
          <p:nvSpPr>
            <p:cNvPr id="187" name="TextBox 186">
              <a:extLst>
                <a:ext uri="{FF2B5EF4-FFF2-40B4-BE49-F238E27FC236}">
                  <a16:creationId xmlns:a16="http://schemas.microsoft.com/office/drawing/2014/main" id="{E5BD1D51-69A2-4F40-9366-6263E56C9410}"/>
                </a:ext>
              </a:extLst>
            </p:cNvPr>
            <p:cNvSpPr txBox="1"/>
            <p:nvPr/>
          </p:nvSpPr>
          <p:spPr>
            <a:xfrm>
              <a:off x="8580213" y="2296374"/>
              <a:ext cx="873729" cy="174504"/>
            </a:xfrm>
            <a:prstGeom prst="rect">
              <a:avLst/>
            </a:prstGeom>
            <a:noFill/>
          </p:spPr>
          <p:txBody>
            <a:bodyPr wrap="none" lIns="0" tIns="0" rIns="0" bIns="0" rtlCol="0">
              <a:normAutofit/>
            </a:bodyPr>
            <a:lstStyle/>
            <a:p>
              <a:pPr marL="0" indent="0" algn="ctr" defTabSz="914400">
                <a:lnSpc>
                  <a:spcPct val="120000"/>
                </a:lnSpc>
                <a:spcBef>
                  <a:spcPts val="200"/>
                </a:spcBef>
                <a:buClr>
                  <a:schemeClr val="tx2"/>
                </a:buClr>
                <a:buSzPct val="100000"/>
                <a:buFont typeface="Arial" panose="020B0604020202020204" pitchFamily="34" charset="0"/>
                <a:buNone/>
              </a:pPr>
              <a:r>
                <a:rPr lang="en-US" sz="1050"/>
                <a:t>Angle Guide</a:t>
              </a:r>
            </a:p>
          </p:txBody>
        </p:sp>
        <p:cxnSp>
          <p:nvCxnSpPr>
            <p:cNvPr id="189" name="Straight Connector 188">
              <a:extLst>
                <a:ext uri="{FF2B5EF4-FFF2-40B4-BE49-F238E27FC236}">
                  <a16:creationId xmlns:a16="http://schemas.microsoft.com/office/drawing/2014/main" id="{C216DAF5-4369-B241-B946-0ED9F3E7EC5D}"/>
                </a:ext>
              </a:extLst>
            </p:cNvPr>
            <p:cNvCxnSpPr/>
            <p:nvPr/>
          </p:nvCxnSpPr>
          <p:spPr>
            <a:xfrm flipV="1">
              <a:off x="3649675" y="1611455"/>
              <a:ext cx="516531" cy="1607765"/>
            </a:xfrm>
            <a:prstGeom prst="line">
              <a:avLst/>
            </a:prstGeom>
            <a:noFill/>
            <a:ln w="6350" cap="flat" cmpd="sng" algn="ctr">
              <a:solidFill>
                <a:schemeClr val="accent5">
                  <a:lumMod val="60000"/>
                  <a:lumOff val="40000"/>
                </a:schemeClr>
              </a:solidFill>
              <a:prstDash val="solid"/>
              <a:round/>
              <a:headEnd type="none" w="med" len="med"/>
              <a:tailEnd type="none" w="med" len="med"/>
            </a:ln>
            <a:effectLst/>
          </p:spPr>
        </p:cxnSp>
        <p:cxnSp>
          <p:nvCxnSpPr>
            <p:cNvPr id="190" name="Straight Connector 189">
              <a:extLst>
                <a:ext uri="{FF2B5EF4-FFF2-40B4-BE49-F238E27FC236}">
                  <a16:creationId xmlns:a16="http://schemas.microsoft.com/office/drawing/2014/main" id="{8E1CD583-1C76-814A-860F-230F9D23AD6A}"/>
                </a:ext>
              </a:extLst>
            </p:cNvPr>
            <p:cNvCxnSpPr/>
            <p:nvPr/>
          </p:nvCxnSpPr>
          <p:spPr>
            <a:xfrm flipV="1">
              <a:off x="7921380" y="1611455"/>
              <a:ext cx="516531" cy="1607765"/>
            </a:xfrm>
            <a:prstGeom prst="line">
              <a:avLst/>
            </a:prstGeom>
            <a:noFill/>
            <a:ln w="6350" cap="flat" cmpd="sng" algn="ctr">
              <a:solidFill>
                <a:schemeClr val="accent5">
                  <a:lumMod val="60000"/>
                  <a:lumOff val="40000"/>
                </a:schemeClr>
              </a:solidFill>
              <a:prstDash val="solid"/>
              <a:round/>
              <a:headEnd type="none" w="med" len="med"/>
              <a:tailEnd type="none" w="med" len="med"/>
            </a:ln>
            <a:effectLst/>
          </p:spPr>
        </p:cxnSp>
      </p:grpSp>
    </p:spTree>
    <p:extLst>
      <p:ext uri="{BB962C8B-B14F-4D97-AF65-F5344CB8AC3E}">
        <p14:creationId xmlns:p14="http://schemas.microsoft.com/office/powerpoint/2010/main" val="40228419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7937500" cy="6858000"/>
          </a:xfrm>
        </p:spPr>
        <p:txBody>
          <a:bodyPr anchor="ctr"/>
          <a:lstStyle>
            <a:lvl1pPr marL="0" indent="0" algn="ctr">
              <a:buNone/>
              <a:defRPr/>
            </a:lvl1pPr>
          </a:lstStyle>
          <a:p>
            <a:endParaRPr lang="en-US"/>
          </a:p>
        </p:txBody>
      </p:sp>
      <p:sp>
        <p:nvSpPr>
          <p:cNvPr id="3" name="Text Placeholder 6"/>
          <p:cNvSpPr>
            <a:spLocks noGrp="1"/>
          </p:cNvSpPr>
          <p:nvPr>
            <p:ph type="body" sz="quarter" idx="11"/>
          </p:nvPr>
        </p:nvSpPr>
        <p:spPr>
          <a:xfrm>
            <a:off x="6096000" y="2513013"/>
            <a:ext cx="5829300" cy="915987"/>
          </a:xfrm>
        </p:spPr>
        <p:txBody>
          <a:bodyPr anchor="ctr"/>
          <a:lstStyle>
            <a:lvl1pPr marL="0" indent="0" algn="ctr">
              <a:buNone/>
              <a:defRPr sz="3200" b="1">
                <a:solidFill>
                  <a:schemeClr val="accent4"/>
                </a:solidFill>
              </a:defRPr>
            </a:lvl1pPr>
          </a:lstStyle>
          <a:p>
            <a:pPr lvl="0"/>
            <a:r>
              <a:rPr lang="en-US"/>
              <a:t>Click to edit Master text styles</a:t>
            </a:r>
          </a:p>
        </p:txBody>
      </p:sp>
    </p:spTree>
    <p:extLst>
      <p:ext uri="{BB962C8B-B14F-4D97-AF65-F5344CB8AC3E}">
        <p14:creationId xmlns:p14="http://schemas.microsoft.com/office/powerpoint/2010/main" val="3412892367"/>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B14DD2A-B690-418B-8CDA-1512B815E7DA}"/>
              </a:ext>
            </a:extLst>
          </p:cNvPr>
          <p:cNvPicPr>
            <a:picLocks noChangeAspect="1"/>
          </p:cNvPicPr>
          <p:nvPr userDrawn="1"/>
        </p:nvPicPr>
        <p:blipFill>
          <a:blip r:embed="rId2"/>
          <a:srcRect/>
          <a:stretch/>
        </p:blipFill>
        <p:spPr>
          <a:xfrm>
            <a:off x="0" y="0"/>
            <a:ext cx="12188951" cy="6861364"/>
          </a:xfrm>
          <a:prstGeom prst="rect">
            <a:avLst/>
          </a:prstGeom>
        </p:spPr>
      </p:pic>
      <p:sp>
        <p:nvSpPr>
          <p:cNvPr id="21" name="Rectangle 20">
            <a:extLst>
              <a:ext uri="{FF2B5EF4-FFF2-40B4-BE49-F238E27FC236}">
                <a16:creationId xmlns:a16="http://schemas.microsoft.com/office/drawing/2014/main" id="{49D0CE11-3DAB-4845-BE9E-24A4F04661CA}"/>
              </a:ext>
            </a:extLst>
          </p:cNvPr>
          <p:cNvSpPr/>
          <p:nvPr userDrawn="1"/>
        </p:nvSpPr>
        <p:spPr>
          <a:xfrm>
            <a:off x="0" y="0"/>
            <a:ext cx="12188951" cy="6858000"/>
          </a:xfrm>
          <a:prstGeom prst="rect">
            <a:avLst/>
          </a:prstGeom>
          <a:gradFill flip="none" rotWithShape="1">
            <a:gsLst>
              <a:gs pos="18000">
                <a:schemeClr val="tx2"/>
              </a:gs>
              <a:gs pos="100000">
                <a:srgbClr val="A6192E"/>
              </a:gs>
            </a:gsLst>
            <a:path path="circle">
              <a:fillToRect l="100000" t="100000"/>
            </a:path>
            <a:tileRect r="-100000" b="-100000"/>
          </a:gra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lvl="0" algn="ctr" defTabSz="914400" eaLnBrk="0" fontAlgn="base" hangingPunct="0">
              <a:spcBef>
                <a:spcPct val="0"/>
              </a:spcBef>
              <a:spcAft>
                <a:spcPct val="0"/>
              </a:spcAft>
            </a:pPr>
            <a:endParaRPr lang="en-US" sz="1800">
              <a:solidFill>
                <a:srgbClr val="000000"/>
              </a:solidFill>
              <a:latin typeface="Arial" pitchFamily="124" charset="0"/>
              <a:cs typeface="Arial"/>
            </a:endParaRPr>
          </a:p>
        </p:txBody>
      </p:sp>
      <p:sp>
        <p:nvSpPr>
          <p:cNvPr id="2" name="Title 1">
            <a:extLst>
              <a:ext uri="{FF2B5EF4-FFF2-40B4-BE49-F238E27FC236}">
                <a16:creationId xmlns:a16="http://schemas.microsoft.com/office/drawing/2014/main" id="{A54A20C9-6BC6-45ED-9000-F17B581F739E}"/>
              </a:ext>
            </a:extLst>
          </p:cNvPr>
          <p:cNvSpPr>
            <a:spLocks noGrp="1"/>
          </p:cNvSpPr>
          <p:nvPr>
            <p:ph type="ctrTitle"/>
          </p:nvPr>
        </p:nvSpPr>
        <p:spPr>
          <a:xfrm>
            <a:off x="533400" y="3429001"/>
            <a:ext cx="11049000" cy="1371600"/>
          </a:xfrm>
        </p:spPr>
        <p:txBody>
          <a:bodyPr anchor="b">
            <a:normAutofit/>
          </a:bodyPr>
          <a:lstStyle>
            <a:lvl1pPr algn="l">
              <a:defRPr sz="4400" cap="none" baseline="0">
                <a:solidFill>
                  <a:schemeClr val="bg1"/>
                </a:solidFill>
                <a:effectLst/>
              </a:defRPr>
            </a:lvl1pPr>
          </a:lstStyle>
          <a:p>
            <a:r>
              <a:rPr lang="en-US"/>
              <a:t>Click to edit Master title style</a:t>
            </a:r>
          </a:p>
        </p:txBody>
      </p:sp>
      <p:sp>
        <p:nvSpPr>
          <p:cNvPr id="3" name="Subtitle 2">
            <a:extLst>
              <a:ext uri="{FF2B5EF4-FFF2-40B4-BE49-F238E27FC236}">
                <a16:creationId xmlns:a16="http://schemas.microsoft.com/office/drawing/2014/main" id="{9408A6FA-6F7F-4CB9-BBE0-364C36B24D5E}"/>
              </a:ext>
            </a:extLst>
          </p:cNvPr>
          <p:cNvSpPr>
            <a:spLocks noGrp="1"/>
          </p:cNvSpPr>
          <p:nvPr>
            <p:ph type="subTitle" idx="1"/>
          </p:nvPr>
        </p:nvSpPr>
        <p:spPr>
          <a:xfrm>
            <a:off x="533400" y="4876800"/>
            <a:ext cx="11049000" cy="914400"/>
          </a:xfrm>
        </p:spPr>
        <p:txBody>
          <a:bodyPr/>
          <a:lstStyle>
            <a:lvl1pPr marL="0" indent="0" algn="l">
              <a:buNone/>
              <a:defRPr sz="3200" b="0" cap="all" baseline="0">
                <a:solidFill>
                  <a:schemeClr val="bg1"/>
                </a:solidFill>
                <a:effectLst/>
                <a:latin typeface="+mn-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90898FAB-1F35-4A3A-A377-27C721C2BA28}"/>
              </a:ext>
            </a:extLst>
          </p:cNvPr>
          <p:cNvSpPr>
            <a:spLocks noGrp="1"/>
          </p:cNvSpPr>
          <p:nvPr>
            <p:ph type="sldNum" sz="quarter" idx="12"/>
          </p:nvPr>
        </p:nvSpPr>
        <p:spPr/>
        <p:txBody>
          <a:bodyPr/>
          <a:lstStyle>
            <a:lvl1pPr>
              <a:defRPr/>
            </a:lvl1pPr>
          </a:lstStyle>
          <a:p>
            <a:fld id="{8293A430-8B18-4F0D-B36E-DE6C33CC0A5A}" type="slidenum">
              <a:rPr lang="en-US" smtClean="0"/>
              <a:pPr/>
              <a:t>‹#›</a:t>
            </a:fld>
            <a:endParaRPr lang="en-US"/>
          </a:p>
        </p:txBody>
      </p:sp>
      <p:grpSp>
        <p:nvGrpSpPr>
          <p:cNvPr id="8" name="Group 7">
            <a:extLst>
              <a:ext uri="{FF2B5EF4-FFF2-40B4-BE49-F238E27FC236}">
                <a16:creationId xmlns:a16="http://schemas.microsoft.com/office/drawing/2014/main" id="{99383F93-52D4-498A-8A03-FE82DDBD6176}"/>
              </a:ext>
            </a:extLst>
          </p:cNvPr>
          <p:cNvGrpSpPr/>
          <p:nvPr userDrawn="1"/>
        </p:nvGrpSpPr>
        <p:grpSpPr>
          <a:xfrm>
            <a:off x="304799" y="0"/>
            <a:ext cx="2427681" cy="1044934"/>
            <a:chOff x="0" y="0"/>
            <a:chExt cx="2447693" cy="1053548"/>
          </a:xfrm>
        </p:grpSpPr>
        <p:sp>
          <p:nvSpPr>
            <p:cNvPr id="9" name="Parallelogram 8">
              <a:extLst>
                <a:ext uri="{FF2B5EF4-FFF2-40B4-BE49-F238E27FC236}">
                  <a16:creationId xmlns:a16="http://schemas.microsoft.com/office/drawing/2014/main" id="{239E170D-A376-49A7-BB11-2AC518CB6362}"/>
                </a:ext>
              </a:extLst>
            </p:cNvPr>
            <p:cNvSpPr/>
            <p:nvPr/>
          </p:nvSpPr>
          <p:spPr bwMode="auto">
            <a:xfrm>
              <a:off x="0" y="0"/>
              <a:ext cx="2447693" cy="1053548"/>
            </a:xfrm>
            <a:prstGeom prst="parallelogram">
              <a:avLst>
                <a:gd name="adj" fmla="val 0"/>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a:latin typeface="Arial" pitchFamily="124" charset="0"/>
                </a:rPr>
                <a:t>               </a:t>
              </a:r>
            </a:p>
          </p:txBody>
        </p:sp>
        <p:pic>
          <p:nvPicPr>
            <p:cNvPr id="10" name="Picture 9">
              <a:extLst>
                <a:ext uri="{FF2B5EF4-FFF2-40B4-BE49-F238E27FC236}">
                  <a16:creationId xmlns:a16="http://schemas.microsoft.com/office/drawing/2014/main" id="{F475CD74-109C-433F-84CB-B26C9FC8E76C}"/>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35820" y="154984"/>
              <a:ext cx="2178058" cy="756021"/>
            </a:xfrm>
            <a:prstGeom prst="rect">
              <a:avLst/>
            </a:prstGeom>
          </p:spPr>
        </p:pic>
      </p:grpSp>
      <p:pic>
        <p:nvPicPr>
          <p:cNvPr id="12" name="Graphic 11">
            <a:extLst>
              <a:ext uri="{FF2B5EF4-FFF2-40B4-BE49-F238E27FC236}">
                <a16:creationId xmlns:a16="http://schemas.microsoft.com/office/drawing/2014/main" id="{D19418A1-AD44-4263-9D01-0B7D2989471D}"/>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381000" y="2209800"/>
            <a:ext cx="9240274" cy="1005840"/>
          </a:xfrm>
          <a:prstGeom prst="rect">
            <a:avLst/>
          </a:prstGeom>
        </p:spPr>
      </p:pic>
      <p:pic>
        <p:nvPicPr>
          <p:cNvPr id="20" name="Graphic 12">
            <a:extLst>
              <a:ext uri="{FF2B5EF4-FFF2-40B4-BE49-F238E27FC236}">
                <a16:creationId xmlns:a16="http://schemas.microsoft.com/office/drawing/2014/main" id="{DF9ECAED-8CE0-426D-8B63-5D45A7CD2065}"/>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7467600" y="3200400"/>
            <a:ext cx="4343400" cy="4267200"/>
          </a:xfrm>
          <a:prstGeom prst="rect">
            <a:avLst/>
          </a:prstGeom>
        </p:spPr>
      </p:pic>
    </p:spTree>
    <p:extLst>
      <p:ext uri="{BB962C8B-B14F-4D97-AF65-F5344CB8AC3E}">
        <p14:creationId xmlns:p14="http://schemas.microsoft.com/office/powerpoint/2010/main" val="6341555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932B45B-8C43-4B1D-A41E-B1FB6E6CF42C}"/>
              </a:ext>
            </a:extLst>
          </p:cNvPr>
          <p:cNvSpPr>
            <a:spLocks noGrp="1"/>
          </p:cNvSpPr>
          <p:nvPr>
            <p:ph type="sldNum" sz="quarter" idx="12"/>
          </p:nvPr>
        </p:nvSpPr>
        <p:spPr/>
        <p:txBody>
          <a:bodyPr/>
          <a:lstStyle>
            <a:lvl1pPr>
              <a:defRPr/>
            </a:lvl1pPr>
          </a:lstStyle>
          <a:p>
            <a:fld id="{8293A430-8B18-4F0D-B36E-DE6C33CC0A5A}" type="slidenum">
              <a:rPr lang="en-US" smtClean="0"/>
              <a:pPr/>
              <a:t>‹#›</a:t>
            </a:fld>
            <a:endParaRPr lang="en-US"/>
          </a:p>
        </p:txBody>
      </p:sp>
    </p:spTree>
    <p:extLst>
      <p:ext uri="{BB962C8B-B14F-4D97-AF65-F5344CB8AC3E}">
        <p14:creationId xmlns:p14="http://schemas.microsoft.com/office/powerpoint/2010/main" val="109792395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2_BIG TEXT">
    <p:spTree>
      <p:nvGrpSpPr>
        <p:cNvPr id="1" name=""/>
        <p:cNvGrpSpPr/>
        <p:nvPr/>
      </p:nvGrpSpPr>
      <p:grpSpPr>
        <a:xfrm>
          <a:off x="0" y="0"/>
          <a:ext cx="0" cy="0"/>
          <a:chOff x="0" y="0"/>
          <a:chExt cx="0" cy="0"/>
        </a:xfrm>
      </p:grpSpPr>
      <p:pic>
        <p:nvPicPr>
          <p:cNvPr id="4" name="Picture 3" descr="A picture containing blue, large, flying, plane&#10;&#10;Description automatically generated">
            <a:extLst>
              <a:ext uri="{FF2B5EF4-FFF2-40B4-BE49-F238E27FC236}">
                <a16:creationId xmlns:a16="http://schemas.microsoft.com/office/drawing/2014/main" id="{C58C286C-B9C7-4B14-970F-8F22F74BC527}"/>
              </a:ext>
            </a:extLst>
          </p:cNvPr>
          <p:cNvPicPr>
            <a:picLocks noChangeAspect="1"/>
          </p:cNvPicPr>
          <p:nvPr userDrawn="1"/>
        </p:nvPicPr>
        <p:blipFill>
          <a:blip r:embed="rId2"/>
          <a:stretch>
            <a:fillRect/>
          </a:stretch>
        </p:blipFill>
        <p:spPr>
          <a:xfrm>
            <a:off x="4512" y="0"/>
            <a:ext cx="12182976" cy="6858000"/>
          </a:xfrm>
          <a:prstGeom prst="rect">
            <a:avLst/>
          </a:prstGeom>
        </p:spPr>
      </p:pic>
      <p:pic>
        <p:nvPicPr>
          <p:cNvPr id="5" name="Picture 4" descr="Background pattern, icon&#10;&#10;Description automatically generated">
            <a:extLst>
              <a:ext uri="{FF2B5EF4-FFF2-40B4-BE49-F238E27FC236}">
                <a16:creationId xmlns:a16="http://schemas.microsoft.com/office/drawing/2014/main" id="{396FD60B-918D-4F2D-9F78-28060545842C}"/>
              </a:ext>
            </a:extLst>
          </p:cNvPr>
          <p:cNvPicPr>
            <a:picLocks noChangeAspect="1"/>
          </p:cNvPicPr>
          <p:nvPr userDrawn="1"/>
        </p:nvPicPr>
        <p:blipFill>
          <a:blip r:embed="rId3"/>
          <a:stretch>
            <a:fillRect/>
          </a:stretch>
        </p:blipFill>
        <p:spPr>
          <a:xfrm>
            <a:off x="6248400" y="-381000"/>
            <a:ext cx="5562600" cy="5562600"/>
          </a:xfrm>
          <a:prstGeom prst="rect">
            <a:avLst/>
          </a:prstGeom>
        </p:spPr>
      </p:pic>
      <p:sp>
        <p:nvSpPr>
          <p:cNvPr id="2" name="Title 1">
            <a:extLst>
              <a:ext uri="{FF2B5EF4-FFF2-40B4-BE49-F238E27FC236}">
                <a16:creationId xmlns:a16="http://schemas.microsoft.com/office/drawing/2014/main" id="{2A97038C-1785-40A5-A6FF-C08E18522FE1}"/>
              </a:ext>
            </a:extLst>
          </p:cNvPr>
          <p:cNvSpPr>
            <a:spLocks noGrp="1"/>
          </p:cNvSpPr>
          <p:nvPr>
            <p:ph type="title"/>
          </p:nvPr>
        </p:nvSpPr>
        <p:spPr>
          <a:xfrm>
            <a:off x="609600" y="1143000"/>
            <a:ext cx="10972800" cy="2535238"/>
          </a:xfrm>
        </p:spPr>
        <p:txBody>
          <a:bodyPr tIns="0" bIns="0" anchor="b">
            <a:normAutofit/>
          </a:bodyPr>
          <a:lstStyle>
            <a:lvl1pPr algn="ctr">
              <a:defRPr sz="8000" b="0" cap="none" baseline="0">
                <a:solidFill>
                  <a:schemeClr val="bg1"/>
                </a:solidFill>
                <a:effectLst>
                  <a:outerShdw blurRad="25400" sx="1000" sy="1000" algn="ctr" rotWithShape="0">
                    <a:prstClr val="black"/>
                  </a:outerShdw>
                </a:effectLst>
                <a:latin typeface="+mj-lt"/>
              </a:defRPr>
            </a:lvl1pPr>
          </a:lstStyle>
          <a:p>
            <a:r>
              <a:rPr lang="en-US"/>
              <a:t>Click to edit Master title style</a:t>
            </a:r>
          </a:p>
        </p:txBody>
      </p:sp>
      <p:sp>
        <p:nvSpPr>
          <p:cNvPr id="3" name="Text Placeholder 2">
            <a:extLst>
              <a:ext uri="{FF2B5EF4-FFF2-40B4-BE49-F238E27FC236}">
                <a16:creationId xmlns:a16="http://schemas.microsoft.com/office/drawing/2014/main" id="{06BDDA52-D460-437A-9EA1-BDA8C3380586}"/>
              </a:ext>
            </a:extLst>
          </p:cNvPr>
          <p:cNvSpPr>
            <a:spLocks noGrp="1"/>
          </p:cNvSpPr>
          <p:nvPr>
            <p:ph type="body" idx="1"/>
          </p:nvPr>
        </p:nvSpPr>
        <p:spPr>
          <a:xfrm>
            <a:off x="609600" y="3733800"/>
            <a:ext cx="10972800" cy="1600200"/>
          </a:xfrm>
        </p:spPr>
        <p:txBody>
          <a:bodyPr tIns="0" bIns="0">
            <a:normAutofit/>
          </a:bodyPr>
          <a:lstStyle>
            <a:lvl1pPr marL="0" indent="0" algn="ctr">
              <a:buNone/>
              <a:defRPr sz="3200" b="0" cap="all" baseline="0">
                <a:solidFill>
                  <a:schemeClr val="bg1"/>
                </a:solidFill>
                <a:effectLst>
                  <a:outerShdw blurRad="25400" sx="1000" sy="1000" algn="ctr" rotWithShape="0">
                    <a:prstClr val="black"/>
                  </a:outerShdw>
                </a:effectLst>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646F82AA-2773-4867-ADA5-64579E9206A2}"/>
              </a:ext>
            </a:extLst>
          </p:cNvPr>
          <p:cNvSpPr>
            <a:spLocks noGrp="1"/>
          </p:cNvSpPr>
          <p:nvPr>
            <p:ph type="sldNum" sz="quarter" idx="12"/>
          </p:nvPr>
        </p:nvSpPr>
        <p:spPr/>
        <p:txBody>
          <a:bodyPr/>
          <a:lstStyle>
            <a:lvl1pPr>
              <a:defRPr/>
            </a:lvl1pPr>
          </a:lstStyle>
          <a:p>
            <a:fld id="{8293A430-8B18-4F0D-B36E-DE6C33CC0A5A}" type="slidenum">
              <a:rPr lang="en-US" smtClean="0"/>
              <a:pPr/>
              <a:t>‹#›</a:t>
            </a:fld>
            <a:endParaRPr lang="en-US"/>
          </a:p>
        </p:txBody>
      </p:sp>
    </p:spTree>
    <p:extLst>
      <p:ext uri="{BB962C8B-B14F-4D97-AF65-F5344CB8AC3E}">
        <p14:creationId xmlns:p14="http://schemas.microsoft.com/office/powerpoint/2010/main" val="8162545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Content with Cap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C234E15-7F0E-4B36-B87A-EDFBDF364166}"/>
              </a:ext>
            </a:extLst>
          </p:cNvPr>
          <p:cNvSpPr/>
          <p:nvPr userDrawn="1"/>
        </p:nvSpPr>
        <p:spPr>
          <a:xfrm>
            <a:off x="0" y="0"/>
            <a:ext cx="12192000" cy="6858000"/>
          </a:xfrm>
          <a:prstGeom prst="rect">
            <a:avLst/>
          </a:prstGeom>
          <a:gradFill flip="none" rotWithShape="1">
            <a:gsLst>
              <a:gs pos="1000">
                <a:srgbClr val="EBEBEC"/>
              </a:gs>
              <a:gs pos="100000">
                <a:schemeClr val="bg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8" name="Picture 10">
            <a:extLst>
              <a:ext uri="{FF2B5EF4-FFF2-40B4-BE49-F238E27FC236}">
                <a16:creationId xmlns:a16="http://schemas.microsoft.com/office/drawing/2014/main" id="{EE543CC4-3C8C-41E9-A96F-5E623B96031F}"/>
              </a:ext>
            </a:extLst>
          </p:cNvPr>
          <p:cNvGrpSpPr>
            <a:grpSpLocks noChangeAspect="1"/>
          </p:cNvGrpSpPr>
          <p:nvPr userDrawn="1"/>
        </p:nvGrpSpPr>
        <p:grpSpPr>
          <a:xfrm>
            <a:off x="0" y="685800"/>
            <a:ext cx="5505685" cy="5486400"/>
            <a:chOff x="5447347" y="96202"/>
            <a:chExt cx="6653594" cy="6630288"/>
          </a:xfrm>
          <a:gradFill flip="none" rotWithShape="1">
            <a:gsLst>
              <a:gs pos="0">
                <a:srgbClr val="EBEBEC"/>
              </a:gs>
              <a:gs pos="100000">
                <a:schemeClr val="bg1"/>
              </a:gs>
            </a:gsLst>
            <a:lin ang="10800000" scaled="1"/>
            <a:tileRect/>
          </a:gradFill>
        </p:grpSpPr>
        <p:sp>
          <p:nvSpPr>
            <p:cNvPr id="39" name="Freeform: Shape 38">
              <a:extLst>
                <a:ext uri="{FF2B5EF4-FFF2-40B4-BE49-F238E27FC236}">
                  <a16:creationId xmlns:a16="http://schemas.microsoft.com/office/drawing/2014/main" id="{D593A70D-021D-4FB7-86C1-BADFA819F200}"/>
                </a:ext>
              </a:extLst>
            </p:cNvPr>
            <p:cNvSpPr/>
            <p:nvPr/>
          </p:nvSpPr>
          <p:spPr>
            <a:xfrm>
              <a:off x="5447347" y="6064948"/>
              <a:ext cx="661543" cy="661542"/>
            </a:xfrm>
            <a:custGeom>
              <a:avLst/>
              <a:gdLst>
                <a:gd name="connsiteX0" fmla="*/ 661543 w 661543"/>
                <a:gd name="connsiteY0" fmla="*/ 330772 h 661542"/>
                <a:gd name="connsiteX1" fmla="*/ 330772 w 661543"/>
                <a:gd name="connsiteY1" fmla="*/ 661543 h 661542"/>
                <a:gd name="connsiteX2" fmla="*/ 0 w 661543"/>
                <a:gd name="connsiteY2" fmla="*/ 330772 h 661542"/>
                <a:gd name="connsiteX3" fmla="*/ 330772 w 661543"/>
                <a:gd name="connsiteY3" fmla="*/ 0 h 661542"/>
                <a:gd name="connsiteX4" fmla="*/ 661543 w 661543"/>
                <a:gd name="connsiteY4" fmla="*/ 330772 h 661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1543" h="661542">
                  <a:moveTo>
                    <a:pt x="661543" y="330772"/>
                  </a:moveTo>
                  <a:cubicBezTo>
                    <a:pt x="661543" y="513452"/>
                    <a:pt x="513452" y="661543"/>
                    <a:pt x="330772" y="661543"/>
                  </a:cubicBezTo>
                  <a:cubicBezTo>
                    <a:pt x="148091" y="661543"/>
                    <a:pt x="0" y="513452"/>
                    <a:pt x="0" y="330772"/>
                  </a:cubicBezTo>
                  <a:cubicBezTo>
                    <a:pt x="0" y="148092"/>
                    <a:pt x="148091" y="0"/>
                    <a:pt x="330772" y="0"/>
                  </a:cubicBezTo>
                  <a:cubicBezTo>
                    <a:pt x="513452" y="0"/>
                    <a:pt x="661543" y="148091"/>
                    <a:pt x="661543" y="330772"/>
                  </a:cubicBezTo>
                  <a:close/>
                </a:path>
              </a:pathLst>
            </a:custGeom>
            <a:grpFill/>
            <a:ln w="6350"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3E2394A4-A528-40CF-B060-A9100E03B1C7}"/>
                </a:ext>
              </a:extLst>
            </p:cNvPr>
            <p:cNvSpPr/>
            <p:nvPr/>
          </p:nvSpPr>
          <p:spPr>
            <a:xfrm>
              <a:off x="6446012" y="6064948"/>
              <a:ext cx="661543" cy="661542"/>
            </a:xfrm>
            <a:custGeom>
              <a:avLst/>
              <a:gdLst>
                <a:gd name="connsiteX0" fmla="*/ 661543 w 661543"/>
                <a:gd name="connsiteY0" fmla="*/ 330772 h 661542"/>
                <a:gd name="connsiteX1" fmla="*/ 330771 w 661543"/>
                <a:gd name="connsiteY1" fmla="*/ 661543 h 661542"/>
                <a:gd name="connsiteX2" fmla="*/ 0 w 661543"/>
                <a:gd name="connsiteY2" fmla="*/ 330772 h 661542"/>
                <a:gd name="connsiteX3" fmla="*/ 330771 w 661543"/>
                <a:gd name="connsiteY3" fmla="*/ 0 h 661542"/>
                <a:gd name="connsiteX4" fmla="*/ 661543 w 661543"/>
                <a:gd name="connsiteY4" fmla="*/ 330772 h 661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1543" h="661542">
                  <a:moveTo>
                    <a:pt x="661543" y="330772"/>
                  </a:moveTo>
                  <a:cubicBezTo>
                    <a:pt x="661543" y="513452"/>
                    <a:pt x="513451" y="661543"/>
                    <a:pt x="330771" y="661543"/>
                  </a:cubicBezTo>
                  <a:cubicBezTo>
                    <a:pt x="148091" y="661543"/>
                    <a:pt x="0" y="513452"/>
                    <a:pt x="0" y="330772"/>
                  </a:cubicBezTo>
                  <a:cubicBezTo>
                    <a:pt x="0" y="148092"/>
                    <a:pt x="148091" y="0"/>
                    <a:pt x="330771" y="0"/>
                  </a:cubicBezTo>
                  <a:cubicBezTo>
                    <a:pt x="513451" y="0"/>
                    <a:pt x="661543" y="148091"/>
                    <a:pt x="661543" y="330772"/>
                  </a:cubicBezTo>
                  <a:close/>
                </a:path>
              </a:pathLst>
            </a:custGeom>
            <a:grpFill/>
            <a:ln w="6350"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9CF2224C-BB76-4650-813A-6BDAC7D5537D}"/>
                </a:ext>
              </a:extLst>
            </p:cNvPr>
            <p:cNvSpPr/>
            <p:nvPr/>
          </p:nvSpPr>
          <p:spPr>
            <a:xfrm>
              <a:off x="7444676" y="6064948"/>
              <a:ext cx="661543" cy="661542"/>
            </a:xfrm>
            <a:custGeom>
              <a:avLst/>
              <a:gdLst>
                <a:gd name="connsiteX0" fmla="*/ 661543 w 661543"/>
                <a:gd name="connsiteY0" fmla="*/ 330772 h 661542"/>
                <a:gd name="connsiteX1" fmla="*/ 330772 w 661543"/>
                <a:gd name="connsiteY1" fmla="*/ 661543 h 661542"/>
                <a:gd name="connsiteX2" fmla="*/ 0 w 661543"/>
                <a:gd name="connsiteY2" fmla="*/ 330772 h 661542"/>
                <a:gd name="connsiteX3" fmla="*/ 330772 w 661543"/>
                <a:gd name="connsiteY3" fmla="*/ 0 h 661542"/>
                <a:gd name="connsiteX4" fmla="*/ 661543 w 661543"/>
                <a:gd name="connsiteY4" fmla="*/ 330772 h 661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1543" h="661542">
                  <a:moveTo>
                    <a:pt x="661543" y="330772"/>
                  </a:moveTo>
                  <a:cubicBezTo>
                    <a:pt x="661543" y="513452"/>
                    <a:pt x="513452" y="661543"/>
                    <a:pt x="330772" y="661543"/>
                  </a:cubicBezTo>
                  <a:cubicBezTo>
                    <a:pt x="148091" y="661543"/>
                    <a:pt x="0" y="513452"/>
                    <a:pt x="0" y="330772"/>
                  </a:cubicBezTo>
                  <a:cubicBezTo>
                    <a:pt x="0" y="148092"/>
                    <a:pt x="148091" y="0"/>
                    <a:pt x="330772" y="0"/>
                  </a:cubicBezTo>
                  <a:cubicBezTo>
                    <a:pt x="513452" y="0"/>
                    <a:pt x="661543" y="148091"/>
                    <a:pt x="661543" y="330772"/>
                  </a:cubicBezTo>
                  <a:close/>
                </a:path>
              </a:pathLst>
            </a:custGeom>
            <a:grpFill/>
            <a:ln w="6350"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CB744E3E-3EE6-49F5-9687-4FB200857E46}"/>
                </a:ext>
              </a:extLst>
            </p:cNvPr>
            <p:cNvSpPr/>
            <p:nvPr/>
          </p:nvSpPr>
          <p:spPr>
            <a:xfrm>
              <a:off x="8443341" y="6064948"/>
              <a:ext cx="661543" cy="661542"/>
            </a:xfrm>
            <a:custGeom>
              <a:avLst/>
              <a:gdLst>
                <a:gd name="connsiteX0" fmla="*/ 661543 w 661543"/>
                <a:gd name="connsiteY0" fmla="*/ 330772 h 661542"/>
                <a:gd name="connsiteX1" fmla="*/ 330772 w 661543"/>
                <a:gd name="connsiteY1" fmla="*/ 661543 h 661542"/>
                <a:gd name="connsiteX2" fmla="*/ 0 w 661543"/>
                <a:gd name="connsiteY2" fmla="*/ 330772 h 661542"/>
                <a:gd name="connsiteX3" fmla="*/ 330772 w 661543"/>
                <a:gd name="connsiteY3" fmla="*/ 0 h 661542"/>
                <a:gd name="connsiteX4" fmla="*/ 661543 w 661543"/>
                <a:gd name="connsiteY4" fmla="*/ 330772 h 661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1543" h="661542">
                  <a:moveTo>
                    <a:pt x="661543" y="330772"/>
                  </a:moveTo>
                  <a:cubicBezTo>
                    <a:pt x="661543" y="513452"/>
                    <a:pt x="513452" y="661543"/>
                    <a:pt x="330772" y="661543"/>
                  </a:cubicBezTo>
                  <a:cubicBezTo>
                    <a:pt x="148092" y="661543"/>
                    <a:pt x="0" y="513452"/>
                    <a:pt x="0" y="330772"/>
                  </a:cubicBezTo>
                  <a:cubicBezTo>
                    <a:pt x="0" y="148092"/>
                    <a:pt x="148092" y="0"/>
                    <a:pt x="330772" y="0"/>
                  </a:cubicBezTo>
                  <a:cubicBezTo>
                    <a:pt x="513451" y="0"/>
                    <a:pt x="661543" y="148091"/>
                    <a:pt x="661543" y="330772"/>
                  </a:cubicBezTo>
                  <a:close/>
                </a:path>
              </a:pathLst>
            </a:custGeom>
            <a:grpFill/>
            <a:ln w="6350"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D871BFED-35E6-4E07-98A9-841EC7E2F50D}"/>
                </a:ext>
              </a:extLst>
            </p:cNvPr>
            <p:cNvSpPr/>
            <p:nvPr/>
          </p:nvSpPr>
          <p:spPr>
            <a:xfrm>
              <a:off x="6446012" y="5070157"/>
              <a:ext cx="661543" cy="661543"/>
            </a:xfrm>
            <a:custGeom>
              <a:avLst/>
              <a:gdLst>
                <a:gd name="connsiteX0" fmla="*/ 661543 w 661543"/>
                <a:gd name="connsiteY0" fmla="*/ 330771 h 661543"/>
                <a:gd name="connsiteX1" fmla="*/ 330771 w 661543"/>
                <a:gd name="connsiteY1" fmla="*/ 661543 h 661543"/>
                <a:gd name="connsiteX2" fmla="*/ 0 w 661543"/>
                <a:gd name="connsiteY2" fmla="*/ 330771 h 661543"/>
                <a:gd name="connsiteX3" fmla="*/ 330771 w 661543"/>
                <a:gd name="connsiteY3" fmla="*/ 0 h 661543"/>
                <a:gd name="connsiteX4" fmla="*/ 661543 w 661543"/>
                <a:gd name="connsiteY4" fmla="*/ 330771 h 661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1543" h="661543">
                  <a:moveTo>
                    <a:pt x="661543" y="330771"/>
                  </a:moveTo>
                  <a:cubicBezTo>
                    <a:pt x="661543" y="513451"/>
                    <a:pt x="513451" y="661543"/>
                    <a:pt x="330771" y="661543"/>
                  </a:cubicBezTo>
                  <a:cubicBezTo>
                    <a:pt x="148091" y="661543"/>
                    <a:pt x="0" y="513452"/>
                    <a:pt x="0" y="330771"/>
                  </a:cubicBezTo>
                  <a:cubicBezTo>
                    <a:pt x="0" y="148091"/>
                    <a:pt x="148091" y="0"/>
                    <a:pt x="330771" y="0"/>
                  </a:cubicBezTo>
                  <a:cubicBezTo>
                    <a:pt x="513451" y="0"/>
                    <a:pt x="661543" y="148091"/>
                    <a:pt x="661543" y="330771"/>
                  </a:cubicBezTo>
                  <a:close/>
                </a:path>
              </a:pathLst>
            </a:custGeom>
            <a:grpFill/>
            <a:ln w="6350"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72DE26AD-786A-49CD-A407-8D4D0D88419F}"/>
                </a:ext>
              </a:extLst>
            </p:cNvPr>
            <p:cNvSpPr/>
            <p:nvPr/>
          </p:nvSpPr>
          <p:spPr>
            <a:xfrm>
              <a:off x="7444676" y="5070157"/>
              <a:ext cx="661543" cy="661543"/>
            </a:xfrm>
            <a:custGeom>
              <a:avLst/>
              <a:gdLst>
                <a:gd name="connsiteX0" fmla="*/ 661543 w 661543"/>
                <a:gd name="connsiteY0" fmla="*/ 330771 h 661543"/>
                <a:gd name="connsiteX1" fmla="*/ 330772 w 661543"/>
                <a:gd name="connsiteY1" fmla="*/ 661543 h 661543"/>
                <a:gd name="connsiteX2" fmla="*/ 0 w 661543"/>
                <a:gd name="connsiteY2" fmla="*/ 330771 h 661543"/>
                <a:gd name="connsiteX3" fmla="*/ 330772 w 661543"/>
                <a:gd name="connsiteY3" fmla="*/ 0 h 661543"/>
                <a:gd name="connsiteX4" fmla="*/ 661543 w 661543"/>
                <a:gd name="connsiteY4" fmla="*/ 330771 h 661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1543" h="661543">
                  <a:moveTo>
                    <a:pt x="661543" y="330771"/>
                  </a:moveTo>
                  <a:cubicBezTo>
                    <a:pt x="661543" y="513451"/>
                    <a:pt x="513452" y="661543"/>
                    <a:pt x="330772" y="661543"/>
                  </a:cubicBezTo>
                  <a:cubicBezTo>
                    <a:pt x="148091" y="661543"/>
                    <a:pt x="0" y="513452"/>
                    <a:pt x="0" y="330771"/>
                  </a:cubicBezTo>
                  <a:cubicBezTo>
                    <a:pt x="0" y="148091"/>
                    <a:pt x="148091" y="0"/>
                    <a:pt x="330772" y="0"/>
                  </a:cubicBezTo>
                  <a:cubicBezTo>
                    <a:pt x="513452" y="0"/>
                    <a:pt x="661543" y="148091"/>
                    <a:pt x="661543" y="330771"/>
                  </a:cubicBezTo>
                  <a:close/>
                </a:path>
              </a:pathLst>
            </a:custGeom>
            <a:grpFill/>
            <a:ln w="6350"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84A60244-6140-4B79-A8CF-CB4C6CC63347}"/>
                </a:ext>
              </a:extLst>
            </p:cNvPr>
            <p:cNvSpPr/>
            <p:nvPr/>
          </p:nvSpPr>
          <p:spPr>
            <a:xfrm>
              <a:off x="8443341" y="5070157"/>
              <a:ext cx="661543" cy="661543"/>
            </a:xfrm>
            <a:custGeom>
              <a:avLst/>
              <a:gdLst>
                <a:gd name="connsiteX0" fmla="*/ 661543 w 661543"/>
                <a:gd name="connsiteY0" fmla="*/ 330771 h 661543"/>
                <a:gd name="connsiteX1" fmla="*/ 330772 w 661543"/>
                <a:gd name="connsiteY1" fmla="*/ 661543 h 661543"/>
                <a:gd name="connsiteX2" fmla="*/ 0 w 661543"/>
                <a:gd name="connsiteY2" fmla="*/ 330771 h 661543"/>
                <a:gd name="connsiteX3" fmla="*/ 330772 w 661543"/>
                <a:gd name="connsiteY3" fmla="*/ 0 h 661543"/>
                <a:gd name="connsiteX4" fmla="*/ 661543 w 661543"/>
                <a:gd name="connsiteY4" fmla="*/ 330771 h 661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1543" h="661543">
                  <a:moveTo>
                    <a:pt x="661543" y="330771"/>
                  </a:moveTo>
                  <a:cubicBezTo>
                    <a:pt x="661543" y="513451"/>
                    <a:pt x="513452" y="661543"/>
                    <a:pt x="330772" y="661543"/>
                  </a:cubicBezTo>
                  <a:cubicBezTo>
                    <a:pt x="148092" y="661543"/>
                    <a:pt x="0" y="513452"/>
                    <a:pt x="0" y="330771"/>
                  </a:cubicBezTo>
                  <a:cubicBezTo>
                    <a:pt x="0" y="148091"/>
                    <a:pt x="148092" y="0"/>
                    <a:pt x="330772" y="0"/>
                  </a:cubicBezTo>
                  <a:cubicBezTo>
                    <a:pt x="513451" y="0"/>
                    <a:pt x="661543" y="148091"/>
                    <a:pt x="661543" y="330771"/>
                  </a:cubicBezTo>
                  <a:close/>
                </a:path>
              </a:pathLst>
            </a:custGeom>
            <a:grpFill/>
            <a:ln w="6350"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5E555169-E91A-4F9D-853D-4B3AC8D95F62}"/>
                </a:ext>
              </a:extLst>
            </p:cNvPr>
            <p:cNvSpPr/>
            <p:nvPr/>
          </p:nvSpPr>
          <p:spPr>
            <a:xfrm>
              <a:off x="9442069" y="5070157"/>
              <a:ext cx="661543" cy="661543"/>
            </a:xfrm>
            <a:custGeom>
              <a:avLst/>
              <a:gdLst>
                <a:gd name="connsiteX0" fmla="*/ 661543 w 661543"/>
                <a:gd name="connsiteY0" fmla="*/ 330771 h 661543"/>
                <a:gd name="connsiteX1" fmla="*/ 330771 w 661543"/>
                <a:gd name="connsiteY1" fmla="*/ 661543 h 661543"/>
                <a:gd name="connsiteX2" fmla="*/ 0 w 661543"/>
                <a:gd name="connsiteY2" fmla="*/ 330771 h 661543"/>
                <a:gd name="connsiteX3" fmla="*/ 330771 w 661543"/>
                <a:gd name="connsiteY3" fmla="*/ 0 h 661543"/>
                <a:gd name="connsiteX4" fmla="*/ 661543 w 661543"/>
                <a:gd name="connsiteY4" fmla="*/ 330771 h 661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1543" h="661543">
                  <a:moveTo>
                    <a:pt x="661543" y="330771"/>
                  </a:moveTo>
                  <a:cubicBezTo>
                    <a:pt x="661543" y="513451"/>
                    <a:pt x="513452" y="661543"/>
                    <a:pt x="330771" y="661543"/>
                  </a:cubicBezTo>
                  <a:cubicBezTo>
                    <a:pt x="148091" y="661543"/>
                    <a:pt x="0" y="513452"/>
                    <a:pt x="0" y="330771"/>
                  </a:cubicBezTo>
                  <a:cubicBezTo>
                    <a:pt x="0" y="148091"/>
                    <a:pt x="148091" y="0"/>
                    <a:pt x="330771" y="0"/>
                  </a:cubicBezTo>
                  <a:cubicBezTo>
                    <a:pt x="513451" y="0"/>
                    <a:pt x="661543" y="148091"/>
                    <a:pt x="661543" y="330771"/>
                  </a:cubicBezTo>
                  <a:close/>
                </a:path>
              </a:pathLst>
            </a:custGeom>
            <a:grpFill/>
            <a:ln w="6350"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7B29D617-70BA-4E62-A0AA-5FFA4F67B9EF}"/>
                </a:ext>
              </a:extLst>
            </p:cNvPr>
            <p:cNvSpPr/>
            <p:nvPr/>
          </p:nvSpPr>
          <p:spPr>
            <a:xfrm>
              <a:off x="7444676" y="4075366"/>
              <a:ext cx="661543" cy="661543"/>
            </a:xfrm>
            <a:custGeom>
              <a:avLst/>
              <a:gdLst>
                <a:gd name="connsiteX0" fmla="*/ 661543 w 661543"/>
                <a:gd name="connsiteY0" fmla="*/ 330772 h 661543"/>
                <a:gd name="connsiteX1" fmla="*/ 330772 w 661543"/>
                <a:gd name="connsiteY1" fmla="*/ 661543 h 661543"/>
                <a:gd name="connsiteX2" fmla="*/ 0 w 661543"/>
                <a:gd name="connsiteY2" fmla="*/ 330772 h 661543"/>
                <a:gd name="connsiteX3" fmla="*/ 330772 w 661543"/>
                <a:gd name="connsiteY3" fmla="*/ 0 h 661543"/>
                <a:gd name="connsiteX4" fmla="*/ 661543 w 661543"/>
                <a:gd name="connsiteY4" fmla="*/ 330772 h 661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1543" h="661543">
                  <a:moveTo>
                    <a:pt x="661543" y="330772"/>
                  </a:moveTo>
                  <a:cubicBezTo>
                    <a:pt x="661543" y="513451"/>
                    <a:pt x="513452" y="661543"/>
                    <a:pt x="330772" y="661543"/>
                  </a:cubicBezTo>
                  <a:cubicBezTo>
                    <a:pt x="148091" y="661543"/>
                    <a:pt x="0" y="513452"/>
                    <a:pt x="0" y="330772"/>
                  </a:cubicBezTo>
                  <a:cubicBezTo>
                    <a:pt x="0" y="148092"/>
                    <a:pt x="148091" y="0"/>
                    <a:pt x="330772" y="0"/>
                  </a:cubicBezTo>
                  <a:cubicBezTo>
                    <a:pt x="513452" y="0"/>
                    <a:pt x="661543" y="148091"/>
                    <a:pt x="661543" y="330772"/>
                  </a:cubicBezTo>
                  <a:close/>
                </a:path>
              </a:pathLst>
            </a:custGeom>
            <a:grpFill/>
            <a:ln w="6350"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614FEDD4-1C9B-4DAA-8E7B-C10629C633F2}"/>
                </a:ext>
              </a:extLst>
            </p:cNvPr>
            <p:cNvSpPr/>
            <p:nvPr/>
          </p:nvSpPr>
          <p:spPr>
            <a:xfrm>
              <a:off x="8443341" y="4075366"/>
              <a:ext cx="661543" cy="661543"/>
            </a:xfrm>
            <a:custGeom>
              <a:avLst/>
              <a:gdLst>
                <a:gd name="connsiteX0" fmla="*/ 661543 w 661543"/>
                <a:gd name="connsiteY0" fmla="*/ 330772 h 661543"/>
                <a:gd name="connsiteX1" fmla="*/ 330772 w 661543"/>
                <a:gd name="connsiteY1" fmla="*/ 661543 h 661543"/>
                <a:gd name="connsiteX2" fmla="*/ 0 w 661543"/>
                <a:gd name="connsiteY2" fmla="*/ 330772 h 661543"/>
                <a:gd name="connsiteX3" fmla="*/ 330772 w 661543"/>
                <a:gd name="connsiteY3" fmla="*/ 0 h 661543"/>
                <a:gd name="connsiteX4" fmla="*/ 661543 w 661543"/>
                <a:gd name="connsiteY4" fmla="*/ 330772 h 661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1543" h="661543">
                  <a:moveTo>
                    <a:pt x="661543" y="330772"/>
                  </a:moveTo>
                  <a:cubicBezTo>
                    <a:pt x="661543" y="513451"/>
                    <a:pt x="513452" y="661543"/>
                    <a:pt x="330772" y="661543"/>
                  </a:cubicBezTo>
                  <a:cubicBezTo>
                    <a:pt x="148092" y="661543"/>
                    <a:pt x="0" y="513452"/>
                    <a:pt x="0" y="330772"/>
                  </a:cubicBezTo>
                  <a:cubicBezTo>
                    <a:pt x="0" y="148092"/>
                    <a:pt x="148092" y="0"/>
                    <a:pt x="330772" y="0"/>
                  </a:cubicBezTo>
                  <a:cubicBezTo>
                    <a:pt x="513451" y="0"/>
                    <a:pt x="661543" y="148091"/>
                    <a:pt x="661543" y="330772"/>
                  </a:cubicBezTo>
                  <a:close/>
                </a:path>
              </a:pathLst>
            </a:custGeom>
            <a:grpFill/>
            <a:ln w="6350"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3282E622-71AD-40C5-B1A2-B12F712F7AAA}"/>
                </a:ext>
              </a:extLst>
            </p:cNvPr>
            <p:cNvSpPr/>
            <p:nvPr/>
          </p:nvSpPr>
          <p:spPr>
            <a:xfrm>
              <a:off x="9442069" y="4075366"/>
              <a:ext cx="661543" cy="661543"/>
            </a:xfrm>
            <a:custGeom>
              <a:avLst/>
              <a:gdLst>
                <a:gd name="connsiteX0" fmla="*/ 661543 w 661543"/>
                <a:gd name="connsiteY0" fmla="*/ 330772 h 661543"/>
                <a:gd name="connsiteX1" fmla="*/ 330771 w 661543"/>
                <a:gd name="connsiteY1" fmla="*/ 661543 h 661543"/>
                <a:gd name="connsiteX2" fmla="*/ 0 w 661543"/>
                <a:gd name="connsiteY2" fmla="*/ 330772 h 661543"/>
                <a:gd name="connsiteX3" fmla="*/ 330771 w 661543"/>
                <a:gd name="connsiteY3" fmla="*/ 0 h 661543"/>
                <a:gd name="connsiteX4" fmla="*/ 661543 w 661543"/>
                <a:gd name="connsiteY4" fmla="*/ 330772 h 661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1543" h="661543">
                  <a:moveTo>
                    <a:pt x="661543" y="330772"/>
                  </a:moveTo>
                  <a:cubicBezTo>
                    <a:pt x="661543" y="513451"/>
                    <a:pt x="513452" y="661543"/>
                    <a:pt x="330771" y="661543"/>
                  </a:cubicBezTo>
                  <a:cubicBezTo>
                    <a:pt x="148091" y="661543"/>
                    <a:pt x="0" y="513452"/>
                    <a:pt x="0" y="330772"/>
                  </a:cubicBezTo>
                  <a:cubicBezTo>
                    <a:pt x="0" y="148092"/>
                    <a:pt x="148091" y="0"/>
                    <a:pt x="330771" y="0"/>
                  </a:cubicBezTo>
                  <a:cubicBezTo>
                    <a:pt x="513451" y="0"/>
                    <a:pt x="661543" y="148091"/>
                    <a:pt x="661543" y="330772"/>
                  </a:cubicBezTo>
                  <a:close/>
                </a:path>
              </a:pathLst>
            </a:custGeom>
            <a:grpFill/>
            <a:ln w="6350"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5141BFED-0E2A-425D-9541-76EE1E8F92CB}"/>
                </a:ext>
              </a:extLst>
            </p:cNvPr>
            <p:cNvSpPr/>
            <p:nvPr/>
          </p:nvSpPr>
          <p:spPr>
            <a:xfrm>
              <a:off x="10440733" y="4075366"/>
              <a:ext cx="661543" cy="661543"/>
            </a:xfrm>
            <a:custGeom>
              <a:avLst/>
              <a:gdLst>
                <a:gd name="connsiteX0" fmla="*/ 661543 w 661543"/>
                <a:gd name="connsiteY0" fmla="*/ 330772 h 661543"/>
                <a:gd name="connsiteX1" fmla="*/ 330771 w 661543"/>
                <a:gd name="connsiteY1" fmla="*/ 661543 h 661543"/>
                <a:gd name="connsiteX2" fmla="*/ 0 w 661543"/>
                <a:gd name="connsiteY2" fmla="*/ 330772 h 661543"/>
                <a:gd name="connsiteX3" fmla="*/ 330771 w 661543"/>
                <a:gd name="connsiteY3" fmla="*/ 0 h 661543"/>
                <a:gd name="connsiteX4" fmla="*/ 661543 w 661543"/>
                <a:gd name="connsiteY4" fmla="*/ 330772 h 661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1543" h="661543">
                  <a:moveTo>
                    <a:pt x="661543" y="330772"/>
                  </a:moveTo>
                  <a:cubicBezTo>
                    <a:pt x="661543" y="513451"/>
                    <a:pt x="513452" y="661543"/>
                    <a:pt x="330771" y="661543"/>
                  </a:cubicBezTo>
                  <a:cubicBezTo>
                    <a:pt x="148091" y="661543"/>
                    <a:pt x="0" y="513452"/>
                    <a:pt x="0" y="330772"/>
                  </a:cubicBezTo>
                  <a:cubicBezTo>
                    <a:pt x="0" y="148092"/>
                    <a:pt x="148091" y="0"/>
                    <a:pt x="330771" y="0"/>
                  </a:cubicBezTo>
                  <a:cubicBezTo>
                    <a:pt x="513451" y="0"/>
                    <a:pt x="661543" y="148091"/>
                    <a:pt x="661543" y="330772"/>
                  </a:cubicBezTo>
                  <a:close/>
                </a:path>
              </a:pathLst>
            </a:custGeom>
            <a:grpFill/>
            <a:ln w="6350"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B3A765D4-E484-41E4-B8F9-D71C3C13A442}"/>
                </a:ext>
              </a:extLst>
            </p:cNvPr>
            <p:cNvSpPr/>
            <p:nvPr/>
          </p:nvSpPr>
          <p:spPr>
            <a:xfrm>
              <a:off x="8443341" y="3080575"/>
              <a:ext cx="661543" cy="661543"/>
            </a:xfrm>
            <a:custGeom>
              <a:avLst/>
              <a:gdLst>
                <a:gd name="connsiteX0" fmla="*/ 661543 w 661543"/>
                <a:gd name="connsiteY0" fmla="*/ 330771 h 661543"/>
                <a:gd name="connsiteX1" fmla="*/ 330772 w 661543"/>
                <a:gd name="connsiteY1" fmla="*/ 661543 h 661543"/>
                <a:gd name="connsiteX2" fmla="*/ 0 w 661543"/>
                <a:gd name="connsiteY2" fmla="*/ 330771 h 661543"/>
                <a:gd name="connsiteX3" fmla="*/ 330772 w 661543"/>
                <a:gd name="connsiteY3" fmla="*/ 0 h 661543"/>
                <a:gd name="connsiteX4" fmla="*/ 661543 w 661543"/>
                <a:gd name="connsiteY4" fmla="*/ 330771 h 661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1543" h="661543">
                  <a:moveTo>
                    <a:pt x="661543" y="330771"/>
                  </a:moveTo>
                  <a:cubicBezTo>
                    <a:pt x="661543" y="513451"/>
                    <a:pt x="513452" y="661543"/>
                    <a:pt x="330772" y="661543"/>
                  </a:cubicBezTo>
                  <a:cubicBezTo>
                    <a:pt x="148092" y="661543"/>
                    <a:pt x="0" y="513452"/>
                    <a:pt x="0" y="330771"/>
                  </a:cubicBezTo>
                  <a:cubicBezTo>
                    <a:pt x="0" y="148091"/>
                    <a:pt x="148092" y="0"/>
                    <a:pt x="330772" y="0"/>
                  </a:cubicBezTo>
                  <a:cubicBezTo>
                    <a:pt x="513451" y="0"/>
                    <a:pt x="661543" y="148091"/>
                    <a:pt x="661543" y="330771"/>
                  </a:cubicBezTo>
                  <a:close/>
                </a:path>
              </a:pathLst>
            </a:custGeom>
            <a:grpFill/>
            <a:ln w="6350"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7BE84C26-DFC1-4ADE-937B-41E82D79AE1F}"/>
                </a:ext>
              </a:extLst>
            </p:cNvPr>
            <p:cNvSpPr/>
            <p:nvPr/>
          </p:nvSpPr>
          <p:spPr>
            <a:xfrm>
              <a:off x="9442069" y="3080575"/>
              <a:ext cx="661543" cy="661543"/>
            </a:xfrm>
            <a:custGeom>
              <a:avLst/>
              <a:gdLst>
                <a:gd name="connsiteX0" fmla="*/ 661543 w 661543"/>
                <a:gd name="connsiteY0" fmla="*/ 330771 h 661543"/>
                <a:gd name="connsiteX1" fmla="*/ 330771 w 661543"/>
                <a:gd name="connsiteY1" fmla="*/ 661543 h 661543"/>
                <a:gd name="connsiteX2" fmla="*/ 0 w 661543"/>
                <a:gd name="connsiteY2" fmla="*/ 330771 h 661543"/>
                <a:gd name="connsiteX3" fmla="*/ 330771 w 661543"/>
                <a:gd name="connsiteY3" fmla="*/ 0 h 661543"/>
                <a:gd name="connsiteX4" fmla="*/ 661543 w 661543"/>
                <a:gd name="connsiteY4" fmla="*/ 330771 h 661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1543" h="661543">
                  <a:moveTo>
                    <a:pt x="661543" y="330771"/>
                  </a:moveTo>
                  <a:cubicBezTo>
                    <a:pt x="661543" y="513451"/>
                    <a:pt x="513452" y="661543"/>
                    <a:pt x="330771" y="661543"/>
                  </a:cubicBezTo>
                  <a:cubicBezTo>
                    <a:pt x="148091" y="661543"/>
                    <a:pt x="0" y="513452"/>
                    <a:pt x="0" y="330771"/>
                  </a:cubicBezTo>
                  <a:cubicBezTo>
                    <a:pt x="0" y="148091"/>
                    <a:pt x="148091" y="0"/>
                    <a:pt x="330771" y="0"/>
                  </a:cubicBezTo>
                  <a:cubicBezTo>
                    <a:pt x="513451" y="0"/>
                    <a:pt x="661543" y="148091"/>
                    <a:pt x="661543" y="330771"/>
                  </a:cubicBezTo>
                  <a:close/>
                </a:path>
              </a:pathLst>
            </a:custGeom>
            <a:grpFill/>
            <a:ln w="6350"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8444A795-F6CD-4EAC-AE69-A1672FE37027}"/>
                </a:ext>
              </a:extLst>
            </p:cNvPr>
            <p:cNvSpPr/>
            <p:nvPr/>
          </p:nvSpPr>
          <p:spPr>
            <a:xfrm>
              <a:off x="10440733" y="3080575"/>
              <a:ext cx="661543" cy="661543"/>
            </a:xfrm>
            <a:custGeom>
              <a:avLst/>
              <a:gdLst>
                <a:gd name="connsiteX0" fmla="*/ 661543 w 661543"/>
                <a:gd name="connsiteY0" fmla="*/ 330771 h 661543"/>
                <a:gd name="connsiteX1" fmla="*/ 330771 w 661543"/>
                <a:gd name="connsiteY1" fmla="*/ 661543 h 661543"/>
                <a:gd name="connsiteX2" fmla="*/ 0 w 661543"/>
                <a:gd name="connsiteY2" fmla="*/ 330771 h 661543"/>
                <a:gd name="connsiteX3" fmla="*/ 330771 w 661543"/>
                <a:gd name="connsiteY3" fmla="*/ 0 h 661543"/>
                <a:gd name="connsiteX4" fmla="*/ 661543 w 661543"/>
                <a:gd name="connsiteY4" fmla="*/ 330771 h 661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1543" h="661543">
                  <a:moveTo>
                    <a:pt x="661543" y="330771"/>
                  </a:moveTo>
                  <a:cubicBezTo>
                    <a:pt x="661543" y="513451"/>
                    <a:pt x="513452" y="661543"/>
                    <a:pt x="330771" y="661543"/>
                  </a:cubicBezTo>
                  <a:cubicBezTo>
                    <a:pt x="148091" y="661543"/>
                    <a:pt x="0" y="513452"/>
                    <a:pt x="0" y="330771"/>
                  </a:cubicBezTo>
                  <a:cubicBezTo>
                    <a:pt x="0" y="148091"/>
                    <a:pt x="148091" y="0"/>
                    <a:pt x="330771" y="0"/>
                  </a:cubicBezTo>
                  <a:cubicBezTo>
                    <a:pt x="513451" y="0"/>
                    <a:pt x="661543" y="148091"/>
                    <a:pt x="661543" y="330771"/>
                  </a:cubicBezTo>
                  <a:close/>
                </a:path>
              </a:pathLst>
            </a:custGeom>
            <a:grpFill/>
            <a:ln w="6350"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5F5D68FA-70D0-4C2F-8511-DE84F550E301}"/>
                </a:ext>
              </a:extLst>
            </p:cNvPr>
            <p:cNvSpPr/>
            <p:nvPr/>
          </p:nvSpPr>
          <p:spPr>
            <a:xfrm>
              <a:off x="11439398" y="3080575"/>
              <a:ext cx="661543" cy="661543"/>
            </a:xfrm>
            <a:custGeom>
              <a:avLst/>
              <a:gdLst>
                <a:gd name="connsiteX0" fmla="*/ 661543 w 661543"/>
                <a:gd name="connsiteY0" fmla="*/ 330771 h 661543"/>
                <a:gd name="connsiteX1" fmla="*/ 330772 w 661543"/>
                <a:gd name="connsiteY1" fmla="*/ 661543 h 661543"/>
                <a:gd name="connsiteX2" fmla="*/ 0 w 661543"/>
                <a:gd name="connsiteY2" fmla="*/ 330771 h 661543"/>
                <a:gd name="connsiteX3" fmla="*/ 330772 w 661543"/>
                <a:gd name="connsiteY3" fmla="*/ 0 h 661543"/>
                <a:gd name="connsiteX4" fmla="*/ 661543 w 661543"/>
                <a:gd name="connsiteY4" fmla="*/ 330771 h 661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1543" h="661543">
                  <a:moveTo>
                    <a:pt x="661543" y="330771"/>
                  </a:moveTo>
                  <a:cubicBezTo>
                    <a:pt x="661543" y="513451"/>
                    <a:pt x="513451" y="661543"/>
                    <a:pt x="330772" y="661543"/>
                  </a:cubicBezTo>
                  <a:cubicBezTo>
                    <a:pt x="148092" y="661543"/>
                    <a:pt x="0" y="513452"/>
                    <a:pt x="0" y="330771"/>
                  </a:cubicBezTo>
                  <a:cubicBezTo>
                    <a:pt x="0" y="148091"/>
                    <a:pt x="148091" y="0"/>
                    <a:pt x="330772" y="0"/>
                  </a:cubicBezTo>
                  <a:cubicBezTo>
                    <a:pt x="513451" y="0"/>
                    <a:pt x="661543" y="148091"/>
                    <a:pt x="661543" y="330771"/>
                  </a:cubicBezTo>
                  <a:close/>
                </a:path>
              </a:pathLst>
            </a:custGeom>
            <a:grpFill/>
            <a:ln w="6350"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EFF736F5-8CBA-417A-81AB-5B81EF2C0EAC}"/>
                </a:ext>
              </a:extLst>
            </p:cNvPr>
            <p:cNvSpPr/>
            <p:nvPr/>
          </p:nvSpPr>
          <p:spPr>
            <a:xfrm>
              <a:off x="7444676" y="2085784"/>
              <a:ext cx="661543" cy="661542"/>
            </a:xfrm>
            <a:custGeom>
              <a:avLst/>
              <a:gdLst>
                <a:gd name="connsiteX0" fmla="*/ 661543 w 661543"/>
                <a:gd name="connsiteY0" fmla="*/ 330772 h 661542"/>
                <a:gd name="connsiteX1" fmla="*/ 330772 w 661543"/>
                <a:gd name="connsiteY1" fmla="*/ 661543 h 661542"/>
                <a:gd name="connsiteX2" fmla="*/ 0 w 661543"/>
                <a:gd name="connsiteY2" fmla="*/ 330772 h 661542"/>
                <a:gd name="connsiteX3" fmla="*/ 330772 w 661543"/>
                <a:gd name="connsiteY3" fmla="*/ 0 h 661542"/>
                <a:gd name="connsiteX4" fmla="*/ 661543 w 661543"/>
                <a:gd name="connsiteY4" fmla="*/ 330772 h 661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1543" h="661542">
                  <a:moveTo>
                    <a:pt x="661543" y="330772"/>
                  </a:moveTo>
                  <a:cubicBezTo>
                    <a:pt x="661543" y="513452"/>
                    <a:pt x="513452" y="661543"/>
                    <a:pt x="330772" y="661543"/>
                  </a:cubicBezTo>
                  <a:cubicBezTo>
                    <a:pt x="148091" y="661543"/>
                    <a:pt x="0" y="513452"/>
                    <a:pt x="0" y="330772"/>
                  </a:cubicBezTo>
                  <a:cubicBezTo>
                    <a:pt x="0" y="148091"/>
                    <a:pt x="148091" y="0"/>
                    <a:pt x="330772" y="0"/>
                  </a:cubicBezTo>
                  <a:cubicBezTo>
                    <a:pt x="513452" y="0"/>
                    <a:pt x="661543" y="148091"/>
                    <a:pt x="661543" y="330772"/>
                  </a:cubicBezTo>
                  <a:close/>
                </a:path>
              </a:pathLst>
            </a:custGeom>
            <a:grpFill/>
            <a:ln w="6350"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819EAA71-C027-4EA9-BA2B-BF51BC1A4D12}"/>
                </a:ext>
              </a:extLst>
            </p:cNvPr>
            <p:cNvSpPr/>
            <p:nvPr/>
          </p:nvSpPr>
          <p:spPr>
            <a:xfrm>
              <a:off x="8443341" y="2085784"/>
              <a:ext cx="661543" cy="661542"/>
            </a:xfrm>
            <a:custGeom>
              <a:avLst/>
              <a:gdLst>
                <a:gd name="connsiteX0" fmla="*/ 661543 w 661543"/>
                <a:gd name="connsiteY0" fmla="*/ 330772 h 661542"/>
                <a:gd name="connsiteX1" fmla="*/ 330772 w 661543"/>
                <a:gd name="connsiteY1" fmla="*/ 661543 h 661542"/>
                <a:gd name="connsiteX2" fmla="*/ 0 w 661543"/>
                <a:gd name="connsiteY2" fmla="*/ 330772 h 661542"/>
                <a:gd name="connsiteX3" fmla="*/ 330772 w 661543"/>
                <a:gd name="connsiteY3" fmla="*/ 0 h 661542"/>
                <a:gd name="connsiteX4" fmla="*/ 661543 w 661543"/>
                <a:gd name="connsiteY4" fmla="*/ 330772 h 661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1543" h="661542">
                  <a:moveTo>
                    <a:pt x="661543" y="330772"/>
                  </a:moveTo>
                  <a:cubicBezTo>
                    <a:pt x="661543" y="513452"/>
                    <a:pt x="513452" y="661543"/>
                    <a:pt x="330772" y="661543"/>
                  </a:cubicBezTo>
                  <a:cubicBezTo>
                    <a:pt x="148092" y="661543"/>
                    <a:pt x="0" y="513452"/>
                    <a:pt x="0" y="330772"/>
                  </a:cubicBezTo>
                  <a:cubicBezTo>
                    <a:pt x="0" y="148091"/>
                    <a:pt x="148092" y="0"/>
                    <a:pt x="330772" y="0"/>
                  </a:cubicBezTo>
                  <a:cubicBezTo>
                    <a:pt x="513451" y="0"/>
                    <a:pt x="661543" y="148091"/>
                    <a:pt x="661543" y="330772"/>
                  </a:cubicBezTo>
                  <a:close/>
                </a:path>
              </a:pathLst>
            </a:custGeom>
            <a:grpFill/>
            <a:ln w="6350"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F0425B29-CC27-4ED1-B370-C7C181D979EC}"/>
                </a:ext>
              </a:extLst>
            </p:cNvPr>
            <p:cNvSpPr/>
            <p:nvPr/>
          </p:nvSpPr>
          <p:spPr>
            <a:xfrm>
              <a:off x="9442069" y="2085784"/>
              <a:ext cx="661543" cy="661542"/>
            </a:xfrm>
            <a:custGeom>
              <a:avLst/>
              <a:gdLst>
                <a:gd name="connsiteX0" fmla="*/ 661543 w 661543"/>
                <a:gd name="connsiteY0" fmla="*/ 330772 h 661542"/>
                <a:gd name="connsiteX1" fmla="*/ 330771 w 661543"/>
                <a:gd name="connsiteY1" fmla="*/ 661543 h 661542"/>
                <a:gd name="connsiteX2" fmla="*/ 0 w 661543"/>
                <a:gd name="connsiteY2" fmla="*/ 330772 h 661542"/>
                <a:gd name="connsiteX3" fmla="*/ 330771 w 661543"/>
                <a:gd name="connsiteY3" fmla="*/ 0 h 661542"/>
                <a:gd name="connsiteX4" fmla="*/ 661543 w 661543"/>
                <a:gd name="connsiteY4" fmla="*/ 330772 h 661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1543" h="661542">
                  <a:moveTo>
                    <a:pt x="661543" y="330772"/>
                  </a:moveTo>
                  <a:cubicBezTo>
                    <a:pt x="661543" y="513452"/>
                    <a:pt x="513452" y="661543"/>
                    <a:pt x="330771" y="661543"/>
                  </a:cubicBezTo>
                  <a:cubicBezTo>
                    <a:pt x="148091" y="661543"/>
                    <a:pt x="0" y="513452"/>
                    <a:pt x="0" y="330772"/>
                  </a:cubicBezTo>
                  <a:cubicBezTo>
                    <a:pt x="0" y="148091"/>
                    <a:pt x="148091" y="0"/>
                    <a:pt x="330771" y="0"/>
                  </a:cubicBezTo>
                  <a:cubicBezTo>
                    <a:pt x="513451" y="0"/>
                    <a:pt x="661543" y="148091"/>
                    <a:pt x="661543" y="330772"/>
                  </a:cubicBezTo>
                  <a:close/>
                </a:path>
              </a:pathLst>
            </a:custGeom>
            <a:grpFill/>
            <a:ln w="6350"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4F57B763-0DBE-418A-A02B-83F4012359DF}"/>
                </a:ext>
              </a:extLst>
            </p:cNvPr>
            <p:cNvSpPr/>
            <p:nvPr/>
          </p:nvSpPr>
          <p:spPr>
            <a:xfrm>
              <a:off x="10440733" y="2085784"/>
              <a:ext cx="661543" cy="661542"/>
            </a:xfrm>
            <a:custGeom>
              <a:avLst/>
              <a:gdLst>
                <a:gd name="connsiteX0" fmla="*/ 661543 w 661543"/>
                <a:gd name="connsiteY0" fmla="*/ 330772 h 661542"/>
                <a:gd name="connsiteX1" fmla="*/ 330771 w 661543"/>
                <a:gd name="connsiteY1" fmla="*/ 661543 h 661542"/>
                <a:gd name="connsiteX2" fmla="*/ 0 w 661543"/>
                <a:gd name="connsiteY2" fmla="*/ 330772 h 661542"/>
                <a:gd name="connsiteX3" fmla="*/ 330771 w 661543"/>
                <a:gd name="connsiteY3" fmla="*/ 0 h 661542"/>
                <a:gd name="connsiteX4" fmla="*/ 661543 w 661543"/>
                <a:gd name="connsiteY4" fmla="*/ 330772 h 661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1543" h="661542">
                  <a:moveTo>
                    <a:pt x="661543" y="330772"/>
                  </a:moveTo>
                  <a:cubicBezTo>
                    <a:pt x="661543" y="513452"/>
                    <a:pt x="513452" y="661543"/>
                    <a:pt x="330771" y="661543"/>
                  </a:cubicBezTo>
                  <a:cubicBezTo>
                    <a:pt x="148091" y="661543"/>
                    <a:pt x="0" y="513452"/>
                    <a:pt x="0" y="330772"/>
                  </a:cubicBezTo>
                  <a:cubicBezTo>
                    <a:pt x="0" y="148091"/>
                    <a:pt x="148091" y="0"/>
                    <a:pt x="330771" y="0"/>
                  </a:cubicBezTo>
                  <a:cubicBezTo>
                    <a:pt x="513451" y="0"/>
                    <a:pt x="661543" y="148091"/>
                    <a:pt x="661543" y="330772"/>
                  </a:cubicBezTo>
                  <a:close/>
                </a:path>
              </a:pathLst>
            </a:custGeom>
            <a:grpFill/>
            <a:ln w="6350"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51E3DA1A-36CA-4ED0-8E30-880B397CEF93}"/>
                </a:ext>
              </a:extLst>
            </p:cNvPr>
            <p:cNvSpPr/>
            <p:nvPr/>
          </p:nvSpPr>
          <p:spPr>
            <a:xfrm>
              <a:off x="6446012" y="1090993"/>
              <a:ext cx="661543" cy="661543"/>
            </a:xfrm>
            <a:custGeom>
              <a:avLst/>
              <a:gdLst>
                <a:gd name="connsiteX0" fmla="*/ 661543 w 661543"/>
                <a:gd name="connsiteY0" fmla="*/ 330771 h 661543"/>
                <a:gd name="connsiteX1" fmla="*/ 330771 w 661543"/>
                <a:gd name="connsiteY1" fmla="*/ 661543 h 661543"/>
                <a:gd name="connsiteX2" fmla="*/ 0 w 661543"/>
                <a:gd name="connsiteY2" fmla="*/ 330771 h 661543"/>
                <a:gd name="connsiteX3" fmla="*/ 330771 w 661543"/>
                <a:gd name="connsiteY3" fmla="*/ 0 h 661543"/>
                <a:gd name="connsiteX4" fmla="*/ 661543 w 661543"/>
                <a:gd name="connsiteY4" fmla="*/ 330771 h 661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1543" h="661543">
                  <a:moveTo>
                    <a:pt x="661543" y="330771"/>
                  </a:moveTo>
                  <a:cubicBezTo>
                    <a:pt x="661543" y="513452"/>
                    <a:pt x="513451" y="661543"/>
                    <a:pt x="330771" y="661543"/>
                  </a:cubicBezTo>
                  <a:cubicBezTo>
                    <a:pt x="148091" y="661543"/>
                    <a:pt x="0" y="513452"/>
                    <a:pt x="0" y="330771"/>
                  </a:cubicBezTo>
                  <a:cubicBezTo>
                    <a:pt x="0" y="148091"/>
                    <a:pt x="148091" y="0"/>
                    <a:pt x="330771" y="0"/>
                  </a:cubicBezTo>
                  <a:cubicBezTo>
                    <a:pt x="513451" y="0"/>
                    <a:pt x="661543" y="148091"/>
                    <a:pt x="661543" y="330771"/>
                  </a:cubicBezTo>
                  <a:close/>
                </a:path>
              </a:pathLst>
            </a:custGeom>
            <a:grpFill/>
            <a:ln w="6350"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ABA5C2B8-C192-49A0-938B-9F018E40BF28}"/>
                </a:ext>
              </a:extLst>
            </p:cNvPr>
            <p:cNvSpPr/>
            <p:nvPr/>
          </p:nvSpPr>
          <p:spPr>
            <a:xfrm>
              <a:off x="7444676" y="1090993"/>
              <a:ext cx="661543" cy="661543"/>
            </a:xfrm>
            <a:custGeom>
              <a:avLst/>
              <a:gdLst>
                <a:gd name="connsiteX0" fmla="*/ 661543 w 661543"/>
                <a:gd name="connsiteY0" fmla="*/ 330771 h 661543"/>
                <a:gd name="connsiteX1" fmla="*/ 330772 w 661543"/>
                <a:gd name="connsiteY1" fmla="*/ 661543 h 661543"/>
                <a:gd name="connsiteX2" fmla="*/ 0 w 661543"/>
                <a:gd name="connsiteY2" fmla="*/ 330771 h 661543"/>
                <a:gd name="connsiteX3" fmla="*/ 330772 w 661543"/>
                <a:gd name="connsiteY3" fmla="*/ 0 h 661543"/>
                <a:gd name="connsiteX4" fmla="*/ 661543 w 661543"/>
                <a:gd name="connsiteY4" fmla="*/ 330771 h 661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1543" h="661543">
                  <a:moveTo>
                    <a:pt x="661543" y="330771"/>
                  </a:moveTo>
                  <a:cubicBezTo>
                    <a:pt x="661543" y="513452"/>
                    <a:pt x="513452" y="661543"/>
                    <a:pt x="330772" y="661543"/>
                  </a:cubicBezTo>
                  <a:cubicBezTo>
                    <a:pt x="148091" y="661543"/>
                    <a:pt x="0" y="513452"/>
                    <a:pt x="0" y="330771"/>
                  </a:cubicBezTo>
                  <a:cubicBezTo>
                    <a:pt x="0" y="148091"/>
                    <a:pt x="148091" y="0"/>
                    <a:pt x="330772" y="0"/>
                  </a:cubicBezTo>
                  <a:cubicBezTo>
                    <a:pt x="513452" y="0"/>
                    <a:pt x="661543" y="148091"/>
                    <a:pt x="661543" y="330771"/>
                  </a:cubicBezTo>
                  <a:close/>
                </a:path>
              </a:pathLst>
            </a:custGeom>
            <a:grpFill/>
            <a:ln w="6350"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2FA428E6-B4DB-4466-949E-CE465D2D40F3}"/>
                </a:ext>
              </a:extLst>
            </p:cNvPr>
            <p:cNvSpPr/>
            <p:nvPr/>
          </p:nvSpPr>
          <p:spPr>
            <a:xfrm>
              <a:off x="8443341" y="1090993"/>
              <a:ext cx="661543" cy="661543"/>
            </a:xfrm>
            <a:custGeom>
              <a:avLst/>
              <a:gdLst>
                <a:gd name="connsiteX0" fmla="*/ 661543 w 661543"/>
                <a:gd name="connsiteY0" fmla="*/ 330771 h 661543"/>
                <a:gd name="connsiteX1" fmla="*/ 330772 w 661543"/>
                <a:gd name="connsiteY1" fmla="*/ 661543 h 661543"/>
                <a:gd name="connsiteX2" fmla="*/ 0 w 661543"/>
                <a:gd name="connsiteY2" fmla="*/ 330771 h 661543"/>
                <a:gd name="connsiteX3" fmla="*/ 330772 w 661543"/>
                <a:gd name="connsiteY3" fmla="*/ 0 h 661543"/>
                <a:gd name="connsiteX4" fmla="*/ 661543 w 661543"/>
                <a:gd name="connsiteY4" fmla="*/ 330771 h 661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1543" h="661543">
                  <a:moveTo>
                    <a:pt x="661543" y="330771"/>
                  </a:moveTo>
                  <a:cubicBezTo>
                    <a:pt x="661543" y="513452"/>
                    <a:pt x="513452" y="661543"/>
                    <a:pt x="330772" y="661543"/>
                  </a:cubicBezTo>
                  <a:cubicBezTo>
                    <a:pt x="148092" y="661543"/>
                    <a:pt x="0" y="513452"/>
                    <a:pt x="0" y="330771"/>
                  </a:cubicBezTo>
                  <a:cubicBezTo>
                    <a:pt x="0" y="148091"/>
                    <a:pt x="148092" y="0"/>
                    <a:pt x="330772" y="0"/>
                  </a:cubicBezTo>
                  <a:cubicBezTo>
                    <a:pt x="513451" y="0"/>
                    <a:pt x="661543" y="148091"/>
                    <a:pt x="661543" y="330771"/>
                  </a:cubicBezTo>
                  <a:close/>
                </a:path>
              </a:pathLst>
            </a:custGeom>
            <a:grpFill/>
            <a:ln w="6350"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40293EA6-DE52-4A21-B914-8B281D653728}"/>
                </a:ext>
              </a:extLst>
            </p:cNvPr>
            <p:cNvSpPr/>
            <p:nvPr/>
          </p:nvSpPr>
          <p:spPr>
            <a:xfrm>
              <a:off x="9442069" y="1090993"/>
              <a:ext cx="661543" cy="661543"/>
            </a:xfrm>
            <a:custGeom>
              <a:avLst/>
              <a:gdLst>
                <a:gd name="connsiteX0" fmla="*/ 661543 w 661543"/>
                <a:gd name="connsiteY0" fmla="*/ 330771 h 661543"/>
                <a:gd name="connsiteX1" fmla="*/ 330771 w 661543"/>
                <a:gd name="connsiteY1" fmla="*/ 661543 h 661543"/>
                <a:gd name="connsiteX2" fmla="*/ 0 w 661543"/>
                <a:gd name="connsiteY2" fmla="*/ 330771 h 661543"/>
                <a:gd name="connsiteX3" fmla="*/ 330771 w 661543"/>
                <a:gd name="connsiteY3" fmla="*/ 0 h 661543"/>
                <a:gd name="connsiteX4" fmla="*/ 661543 w 661543"/>
                <a:gd name="connsiteY4" fmla="*/ 330771 h 661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1543" h="661543">
                  <a:moveTo>
                    <a:pt x="661543" y="330771"/>
                  </a:moveTo>
                  <a:cubicBezTo>
                    <a:pt x="661543" y="513452"/>
                    <a:pt x="513452" y="661543"/>
                    <a:pt x="330771" y="661543"/>
                  </a:cubicBezTo>
                  <a:cubicBezTo>
                    <a:pt x="148091" y="661543"/>
                    <a:pt x="0" y="513452"/>
                    <a:pt x="0" y="330771"/>
                  </a:cubicBezTo>
                  <a:cubicBezTo>
                    <a:pt x="0" y="148091"/>
                    <a:pt x="148091" y="0"/>
                    <a:pt x="330771" y="0"/>
                  </a:cubicBezTo>
                  <a:cubicBezTo>
                    <a:pt x="513451" y="0"/>
                    <a:pt x="661543" y="148091"/>
                    <a:pt x="661543" y="330771"/>
                  </a:cubicBezTo>
                  <a:close/>
                </a:path>
              </a:pathLst>
            </a:custGeom>
            <a:grpFill/>
            <a:ln w="6350"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04743D59-646B-4796-8132-E9FA29E21352}"/>
                </a:ext>
              </a:extLst>
            </p:cNvPr>
            <p:cNvSpPr/>
            <p:nvPr/>
          </p:nvSpPr>
          <p:spPr>
            <a:xfrm>
              <a:off x="5447347" y="96202"/>
              <a:ext cx="661543" cy="661543"/>
            </a:xfrm>
            <a:custGeom>
              <a:avLst/>
              <a:gdLst>
                <a:gd name="connsiteX0" fmla="*/ 661543 w 661543"/>
                <a:gd name="connsiteY0" fmla="*/ 330772 h 661543"/>
                <a:gd name="connsiteX1" fmla="*/ 330772 w 661543"/>
                <a:gd name="connsiteY1" fmla="*/ 661543 h 661543"/>
                <a:gd name="connsiteX2" fmla="*/ 0 w 661543"/>
                <a:gd name="connsiteY2" fmla="*/ 330772 h 661543"/>
                <a:gd name="connsiteX3" fmla="*/ 330772 w 661543"/>
                <a:gd name="connsiteY3" fmla="*/ 0 h 661543"/>
                <a:gd name="connsiteX4" fmla="*/ 661543 w 661543"/>
                <a:gd name="connsiteY4" fmla="*/ 330772 h 661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1543" h="661543">
                  <a:moveTo>
                    <a:pt x="661543" y="330772"/>
                  </a:moveTo>
                  <a:cubicBezTo>
                    <a:pt x="661543" y="513452"/>
                    <a:pt x="513452" y="661543"/>
                    <a:pt x="330772" y="661543"/>
                  </a:cubicBezTo>
                  <a:cubicBezTo>
                    <a:pt x="148091" y="661543"/>
                    <a:pt x="0" y="513452"/>
                    <a:pt x="0" y="330772"/>
                  </a:cubicBezTo>
                  <a:cubicBezTo>
                    <a:pt x="0" y="148091"/>
                    <a:pt x="148091" y="0"/>
                    <a:pt x="330772" y="0"/>
                  </a:cubicBezTo>
                  <a:cubicBezTo>
                    <a:pt x="513452" y="0"/>
                    <a:pt x="661543" y="148091"/>
                    <a:pt x="661543" y="330772"/>
                  </a:cubicBezTo>
                  <a:close/>
                </a:path>
              </a:pathLst>
            </a:custGeom>
            <a:grpFill/>
            <a:ln w="6350"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9CA0EF3A-88D4-46C3-9D98-14636354D1BE}"/>
                </a:ext>
              </a:extLst>
            </p:cNvPr>
            <p:cNvSpPr/>
            <p:nvPr/>
          </p:nvSpPr>
          <p:spPr>
            <a:xfrm>
              <a:off x="6446012" y="96202"/>
              <a:ext cx="661543" cy="661543"/>
            </a:xfrm>
            <a:custGeom>
              <a:avLst/>
              <a:gdLst>
                <a:gd name="connsiteX0" fmla="*/ 661543 w 661543"/>
                <a:gd name="connsiteY0" fmla="*/ 330772 h 661543"/>
                <a:gd name="connsiteX1" fmla="*/ 330771 w 661543"/>
                <a:gd name="connsiteY1" fmla="*/ 661543 h 661543"/>
                <a:gd name="connsiteX2" fmla="*/ 0 w 661543"/>
                <a:gd name="connsiteY2" fmla="*/ 330772 h 661543"/>
                <a:gd name="connsiteX3" fmla="*/ 330771 w 661543"/>
                <a:gd name="connsiteY3" fmla="*/ 0 h 661543"/>
                <a:gd name="connsiteX4" fmla="*/ 661543 w 661543"/>
                <a:gd name="connsiteY4" fmla="*/ 330772 h 661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1543" h="661543">
                  <a:moveTo>
                    <a:pt x="661543" y="330772"/>
                  </a:moveTo>
                  <a:cubicBezTo>
                    <a:pt x="661543" y="513452"/>
                    <a:pt x="513451" y="661543"/>
                    <a:pt x="330771" y="661543"/>
                  </a:cubicBezTo>
                  <a:cubicBezTo>
                    <a:pt x="148091" y="661543"/>
                    <a:pt x="0" y="513452"/>
                    <a:pt x="0" y="330772"/>
                  </a:cubicBezTo>
                  <a:cubicBezTo>
                    <a:pt x="0" y="148091"/>
                    <a:pt x="148091" y="0"/>
                    <a:pt x="330771" y="0"/>
                  </a:cubicBezTo>
                  <a:cubicBezTo>
                    <a:pt x="513451" y="0"/>
                    <a:pt x="661543" y="148091"/>
                    <a:pt x="661543" y="330772"/>
                  </a:cubicBezTo>
                  <a:close/>
                </a:path>
              </a:pathLst>
            </a:custGeom>
            <a:grpFill/>
            <a:ln w="6350"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366B7CF3-7DDA-4D62-AA02-8ED1F4D6542F}"/>
                </a:ext>
              </a:extLst>
            </p:cNvPr>
            <p:cNvSpPr/>
            <p:nvPr/>
          </p:nvSpPr>
          <p:spPr>
            <a:xfrm>
              <a:off x="7444676" y="96202"/>
              <a:ext cx="661543" cy="661543"/>
            </a:xfrm>
            <a:custGeom>
              <a:avLst/>
              <a:gdLst>
                <a:gd name="connsiteX0" fmla="*/ 661543 w 661543"/>
                <a:gd name="connsiteY0" fmla="*/ 330772 h 661543"/>
                <a:gd name="connsiteX1" fmla="*/ 330772 w 661543"/>
                <a:gd name="connsiteY1" fmla="*/ 661543 h 661543"/>
                <a:gd name="connsiteX2" fmla="*/ 0 w 661543"/>
                <a:gd name="connsiteY2" fmla="*/ 330772 h 661543"/>
                <a:gd name="connsiteX3" fmla="*/ 330772 w 661543"/>
                <a:gd name="connsiteY3" fmla="*/ 0 h 661543"/>
                <a:gd name="connsiteX4" fmla="*/ 661543 w 661543"/>
                <a:gd name="connsiteY4" fmla="*/ 330772 h 661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1543" h="661543">
                  <a:moveTo>
                    <a:pt x="661543" y="330772"/>
                  </a:moveTo>
                  <a:cubicBezTo>
                    <a:pt x="661543" y="513452"/>
                    <a:pt x="513452" y="661543"/>
                    <a:pt x="330772" y="661543"/>
                  </a:cubicBezTo>
                  <a:cubicBezTo>
                    <a:pt x="148091" y="661543"/>
                    <a:pt x="0" y="513452"/>
                    <a:pt x="0" y="330772"/>
                  </a:cubicBezTo>
                  <a:cubicBezTo>
                    <a:pt x="0" y="148091"/>
                    <a:pt x="148091" y="0"/>
                    <a:pt x="330772" y="0"/>
                  </a:cubicBezTo>
                  <a:cubicBezTo>
                    <a:pt x="513452" y="0"/>
                    <a:pt x="661543" y="148091"/>
                    <a:pt x="661543" y="330772"/>
                  </a:cubicBezTo>
                  <a:close/>
                </a:path>
              </a:pathLst>
            </a:custGeom>
            <a:grpFill/>
            <a:ln w="6350"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FDA712F3-5FAA-4D98-B9E2-F2C741A6E6A8}"/>
                </a:ext>
              </a:extLst>
            </p:cNvPr>
            <p:cNvSpPr/>
            <p:nvPr/>
          </p:nvSpPr>
          <p:spPr>
            <a:xfrm>
              <a:off x="8443341" y="96202"/>
              <a:ext cx="661543" cy="661543"/>
            </a:xfrm>
            <a:custGeom>
              <a:avLst/>
              <a:gdLst>
                <a:gd name="connsiteX0" fmla="*/ 661543 w 661543"/>
                <a:gd name="connsiteY0" fmla="*/ 330772 h 661543"/>
                <a:gd name="connsiteX1" fmla="*/ 330772 w 661543"/>
                <a:gd name="connsiteY1" fmla="*/ 661543 h 661543"/>
                <a:gd name="connsiteX2" fmla="*/ 0 w 661543"/>
                <a:gd name="connsiteY2" fmla="*/ 330772 h 661543"/>
                <a:gd name="connsiteX3" fmla="*/ 330772 w 661543"/>
                <a:gd name="connsiteY3" fmla="*/ 0 h 661543"/>
                <a:gd name="connsiteX4" fmla="*/ 661543 w 661543"/>
                <a:gd name="connsiteY4" fmla="*/ 330772 h 661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1543" h="661543">
                  <a:moveTo>
                    <a:pt x="661543" y="330772"/>
                  </a:moveTo>
                  <a:cubicBezTo>
                    <a:pt x="661543" y="513452"/>
                    <a:pt x="513452" y="661543"/>
                    <a:pt x="330772" y="661543"/>
                  </a:cubicBezTo>
                  <a:cubicBezTo>
                    <a:pt x="148092" y="661543"/>
                    <a:pt x="0" y="513452"/>
                    <a:pt x="0" y="330772"/>
                  </a:cubicBezTo>
                  <a:cubicBezTo>
                    <a:pt x="0" y="148091"/>
                    <a:pt x="148092" y="0"/>
                    <a:pt x="330772" y="0"/>
                  </a:cubicBezTo>
                  <a:cubicBezTo>
                    <a:pt x="513451" y="0"/>
                    <a:pt x="661543" y="148091"/>
                    <a:pt x="661543" y="330772"/>
                  </a:cubicBezTo>
                  <a:close/>
                </a:path>
              </a:pathLst>
            </a:custGeom>
            <a:grpFill/>
            <a:ln w="6350" cap="flat">
              <a:noFill/>
              <a:prstDash val="solid"/>
              <a:miter/>
            </a:ln>
          </p:spPr>
          <p:txBody>
            <a:bodyPr rtlCol="0" anchor="ctr"/>
            <a:lstStyle/>
            <a:p>
              <a:endParaRPr lang="en-US"/>
            </a:p>
          </p:txBody>
        </p:sp>
      </p:grpSp>
      <p:sp>
        <p:nvSpPr>
          <p:cNvPr id="4" name="Text Placeholder 3">
            <a:extLst>
              <a:ext uri="{FF2B5EF4-FFF2-40B4-BE49-F238E27FC236}">
                <a16:creationId xmlns:a16="http://schemas.microsoft.com/office/drawing/2014/main" id="{D23FD97E-7D3F-446B-913F-C81E77FE460A}"/>
              </a:ext>
            </a:extLst>
          </p:cNvPr>
          <p:cNvSpPr>
            <a:spLocks noGrp="1"/>
          </p:cNvSpPr>
          <p:nvPr>
            <p:ph type="body" sz="half" idx="2"/>
          </p:nvPr>
        </p:nvSpPr>
        <p:spPr>
          <a:xfrm>
            <a:off x="609602" y="3601712"/>
            <a:ext cx="4571998" cy="1808488"/>
          </a:xfrm>
        </p:spPr>
        <p:txBody>
          <a:bodyPr>
            <a:normAutofit/>
          </a:bodyPr>
          <a:lstStyle>
            <a:lvl1pPr marL="0" indent="0" algn="l">
              <a:buNone/>
              <a:defRPr sz="3200" b="1" cap="all" spc="0" baseline="0">
                <a:latin typeface="+mj-lt"/>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433F2A01-0867-494E-9938-A800A6185845}"/>
              </a:ext>
            </a:extLst>
          </p:cNvPr>
          <p:cNvSpPr>
            <a:spLocks noGrp="1"/>
          </p:cNvSpPr>
          <p:nvPr>
            <p:ph type="sldNum" sz="quarter" idx="12"/>
          </p:nvPr>
        </p:nvSpPr>
        <p:spPr>
          <a:xfrm>
            <a:off x="10172700" y="6492875"/>
            <a:ext cx="1485900" cy="365125"/>
          </a:xfrm>
        </p:spPr>
        <p:txBody>
          <a:bodyPr/>
          <a:lstStyle>
            <a:lvl1pPr>
              <a:defRPr/>
            </a:lvl1pPr>
          </a:lstStyle>
          <a:p>
            <a:fld id="{8293A430-8B18-4F0D-B36E-DE6C33CC0A5A}" type="slidenum">
              <a:rPr lang="en-US" smtClean="0"/>
              <a:pPr/>
              <a:t>‹#›</a:t>
            </a:fld>
            <a:endParaRPr lang="en-US"/>
          </a:p>
        </p:txBody>
      </p:sp>
      <p:sp>
        <p:nvSpPr>
          <p:cNvPr id="12" name="Content Placeholder 11">
            <a:extLst>
              <a:ext uri="{FF2B5EF4-FFF2-40B4-BE49-F238E27FC236}">
                <a16:creationId xmlns:a16="http://schemas.microsoft.com/office/drawing/2014/main" id="{4C770C6B-2913-40C6-B639-E3BD60A508A3}"/>
              </a:ext>
            </a:extLst>
          </p:cNvPr>
          <p:cNvSpPr>
            <a:spLocks noGrp="1"/>
          </p:cNvSpPr>
          <p:nvPr>
            <p:ph sz="quarter" idx="13" hasCustomPrompt="1"/>
          </p:nvPr>
        </p:nvSpPr>
        <p:spPr>
          <a:xfrm>
            <a:off x="6096000" y="685800"/>
            <a:ext cx="5486400" cy="5486400"/>
          </a:xfrm>
        </p:spPr>
        <p:txBody>
          <a:bodyPr anchor="ctr"/>
          <a:lstStyle>
            <a:lvl1pPr>
              <a:defRPr sz="3200" cap="none" baseline="0"/>
            </a:lvl1pPr>
            <a:lvl2pPr>
              <a:defRPr sz="3200"/>
            </a:lvl2pPr>
            <a:lvl3pPr>
              <a:defRPr sz="3200"/>
            </a:lvl3pPr>
            <a:lvl4pPr>
              <a:defRPr sz="3200"/>
            </a:lvl4pPr>
            <a:lvl5pPr>
              <a:defRPr sz="3200"/>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0100C7F5-B880-4E53-894B-4BAE3365F486}"/>
              </a:ext>
            </a:extLst>
          </p:cNvPr>
          <p:cNvSpPr>
            <a:spLocks noGrp="1"/>
          </p:cNvSpPr>
          <p:nvPr>
            <p:ph type="title"/>
          </p:nvPr>
        </p:nvSpPr>
        <p:spPr>
          <a:xfrm>
            <a:off x="609601" y="685800"/>
            <a:ext cx="4571998" cy="2841300"/>
          </a:xfrm>
        </p:spPr>
        <p:txBody>
          <a:bodyPr/>
          <a:lstStyle>
            <a:lvl1pPr>
              <a:defRPr sz="4400" cap="none" baseline="0"/>
            </a:lvl1pPr>
          </a:lstStyle>
          <a:p>
            <a:r>
              <a:rPr lang="en-US"/>
              <a:t>Click to edit Master title style</a:t>
            </a:r>
          </a:p>
        </p:txBody>
      </p:sp>
      <p:grpSp>
        <p:nvGrpSpPr>
          <p:cNvPr id="36" name="Group 35">
            <a:extLst>
              <a:ext uri="{FF2B5EF4-FFF2-40B4-BE49-F238E27FC236}">
                <a16:creationId xmlns:a16="http://schemas.microsoft.com/office/drawing/2014/main" id="{26D36044-BB1F-AA45-8AE5-724C214ECF1A}"/>
              </a:ext>
            </a:extLst>
          </p:cNvPr>
          <p:cNvGrpSpPr/>
          <p:nvPr userDrawn="1"/>
        </p:nvGrpSpPr>
        <p:grpSpPr>
          <a:xfrm>
            <a:off x="10295372" y="0"/>
            <a:ext cx="1591826" cy="694426"/>
            <a:chOff x="-20628" y="0"/>
            <a:chExt cx="2488951" cy="1085792"/>
          </a:xfrm>
        </p:grpSpPr>
        <p:sp>
          <p:nvSpPr>
            <p:cNvPr id="37" name="Parallelogram 36">
              <a:extLst>
                <a:ext uri="{FF2B5EF4-FFF2-40B4-BE49-F238E27FC236}">
                  <a16:creationId xmlns:a16="http://schemas.microsoft.com/office/drawing/2014/main" id="{728A437B-B78E-204A-B8B9-0A409771DC77}"/>
                </a:ext>
              </a:extLst>
            </p:cNvPr>
            <p:cNvSpPr/>
            <p:nvPr/>
          </p:nvSpPr>
          <p:spPr bwMode="auto">
            <a:xfrm>
              <a:off x="-20628" y="0"/>
              <a:ext cx="2488951" cy="1085792"/>
            </a:xfrm>
            <a:prstGeom prst="parallelogram">
              <a:avLst>
                <a:gd name="adj" fmla="val 0"/>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a:latin typeface="Arial" pitchFamily="124" charset="0"/>
                </a:rPr>
                <a:t>               </a:t>
              </a:r>
            </a:p>
          </p:txBody>
        </p:sp>
        <p:pic>
          <p:nvPicPr>
            <p:cNvPr id="67" name="Picture 66">
              <a:extLst>
                <a:ext uri="{FF2B5EF4-FFF2-40B4-BE49-F238E27FC236}">
                  <a16:creationId xmlns:a16="http://schemas.microsoft.com/office/drawing/2014/main" id="{0E864455-93DB-9842-82AC-C9EA2421206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35820" y="154984"/>
              <a:ext cx="2178058" cy="756021"/>
            </a:xfrm>
            <a:prstGeom prst="rect">
              <a:avLst/>
            </a:prstGeom>
          </p:spPr>
        </p:pic>
      </p:grpSp>
    </p:spTree>
    <p:extLst>
      <p:ext uri="{BB962C8B-B14F-4D97-AF65-F5344CB8AC3E}">
        <p14:creationId xmlns:p14="http://schemas.microsoft.com/office/powerpoint/2010/main" val="136985919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 Content + Subtitl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2535702-6B14-40C7-8EA7-749E1708294B}"/>
              </a:ext>
            </a:extLst>
          </p:cNvPr>
          <p:cNvSpPr>
            <a:spLocks noGrp="1"/>
          </p:cNvSpPr>
          <p:nvPr>
            <p:ph type="body" idx="1"/>
          </p:nvPr>
        </p:nvSpPr>
        <p:spPr>
          <a:xfrm>
            <a:off x="609600" y="1828800"/>
            <a:ext cx="10972800" cy="502920"/>
          </a:xfrm>
        </p:spPr>
        <p:txBody>
          <a:bodyPr anchor="b">
            <a:noAutofit/>
          </a:bodyPr>
          <a:lstStyle>
            <a:lvl1pPr marL="0" indent="0">
              <a:buNone/>
              <a:defRPr sz="3200" b="1" cap="all" spc="100" baseline="0">
                <a:latin typeface="+mj-lt"/>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1565723-2D4C-4CAB-873F-6DBB9B08182D}"/>
              </a:ext>
            </a:extLst>
          </p:cNvPr>
          <p:cNvSpPr>
            <a:spLocks noGrp="1"/>
          </p:cNvSpPr>
          <p:nvPr>
            <p:ph sz="half" idx="2"/>
          </p:nvPr>
        </p:nvSpPr>
        <p:spPr>
          <a:xfrm>
            <a:off x="609600" y="2331720"/>
            <a:ext cx="10972800" cy="41579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C9BA84E4-9DE8-41A2-9FF5-7FEEFFE4972D}"/>
              </a:ext>
            </a:extLst>
          </p:cNvPr>
          <p:cNvSpPr>
            <a:spLocks noGrp="1"/>
          </p:cNvSpPr>
          <p:nvPr>
            <p:ph type="sldNum" sz="quarter" idx="12"/>
          </p:nvPr>
        </p:nvSpPr>
        <p:spPr/>
        <p:txBody>
          <a:bodyPr/>
          <a:lstStyle>
            <a:lvl1pPr>
              <a:defRPr/>
            </a:lvl1pPr>
          </a:lstStyle>
          <a:p>
            <a:fld id="{8293A430-8B18-4F0D-B36E-DE6C33CC0A5A}" type="slidenum">
              <a:rPr lang="en-US" smtClean="0"/>
              <a:pPr/>
              <a:t>‹#›</a:t>
            </a:fld>
            <a:endParaRPr lang="en-US"/>
          </a:p>
        </p:txBody>
      </p:sp>
      <p:sp>
        <p:nvSpPr>
          <p:cNvPr id="7" name="Title 6">
            <a:extLst>
              <a:ext uri="{FF2B5EF4-FFF2-40B4-BE49-F238E27FC236}">
                <a16:creationId xmlns:a16="http://schemas.microsoft.com/office/drawing/2014/main" id="{CB30B319-6C62-473A-A18F-FF71068103E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138596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_Title + Content + Subtitle">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C9BA84E4-9DE8-41A2-9FF5-7FEEFFE4972D}"/>
              </a:ext>
            </a:extLst>
          </p:cNvPr>
          <p:cNvSpPr>
            <a:spLocks noGrp="1"/>
          </p:cNvSpPr>
          <p:nvPr>
            <p:ph type="sldNum" sz="quarter" idx="12"/>
          </p:nvPr>
        </p:nvSpPr>
        <p:spPr/>
        <p:txBody>
          <a:bodyPr/>
          <a:lstStyle>
            <a:lvl1pPr>
              <a:defRPr/>
            </a:lvl1pPr>
          </a:lstStyle>
          <a:p>
            <a:fld id="{8293A430-8B18-4F0D-B36E-DE6C33CC0A5A}" type="slidenum">
              <a:rPr lang="en-US" smtClean="0"/>
              <a:pPr/>
              <a:t>‹#›</a:t>
            </a:fld>
            <a:endParaRPr lang="en-US"/>
          </a:p>
        </p:txBody>
      </p:sp>
      <p:sp>
        <p:nvSpPr>
          <p:cNvPr id="3" name="Text Placeholder 2">
            <a:extLst>
              <a:ext uri="{FF2B5EF4-FFF2-40B4-BE49-F238E27FC236}">
                <a16:creationId xmlns:a16="http://schemas.microsoft.com/office/drawing/2014/main" id="{82535702-6B14-40C7-8EA7-749E1708294B}"/>
              </a:ext>
            </a:extLst>
          </p:cNvPr>
          <p:cNvSpPr>
            <a:spLocks noGrp="1"/>
          </p:cNvSpPr>
          <p:nvPr>
            <p:ph type="body" idx="1"/>
          </p:nvPr>
        </p:nvSpPr>
        <p:spPr>
          <a:xfrm>
            <a:off x="609600" y="1828800"/>
            <a:ext cx="10972800" cy="502920"/>
          </a:xfrm>
        </p:spPr>
        <p:txBody>
          <a:bodyPr anchor="t">
            <a:noAutofit/>
          </a:bodyPr>
          <a:lstStyle>
            <a:lvl1pPr marL="0" indent="0" algn="l">
              <a:buNone/>
              <a:defRPr sz="3200" b="1" cap="all" spc="0" baseline="0">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Title 6">
            <a:extLst>
              <a:ext uri="{FF2B5EF4-FFF2-40B4-BE49-F238E27FC236}">
                <a16:creationId xmlns:a16="http://schemas.microsoft.com/office/drawing/2014/main" id="{CB30B319-6C62-473A-A18F-FF71068103E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1807676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F08539-1495-4797-8DDC-7CD0F1C95CC0}"/>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27338597-98C7-4751-BA71-7B339653CB41}"/>
              </a:ext>
            </a:extLst>
          </p:cNvPr>
          <p:cNvSpPr>
            <a:spLocks noGrp="1"/>
          </p:cNvSpPr>
          <p:nvPr>
            <p:ph type="sldNum" sz="quarter" idx="12"/>
          </p:nvPr>
        </p:nvSpPr>
        <p:spPr/>
        <p:txBody>
          <a:bodyPr/>
          <a:lstStyle>
            <a:lvl1pPr>
              <a:defRPr/>
            </a:lvl1pPr>
          </a:lstStyle>
          <a:p>
            <a:fld id="{8293A430-8B18-4F0D-B36E-DE6C33CC0A5A}" type="slidenum">
              <a:rPr lang="en-US" smtClean="0"/>
              <a:pPr/>
              <a:t>‹#›</a:t>
            </a:fld>
            <a:endParaRPr lang="en-US"/>
          </a:p>
        </p:txBody>
      </p:sp>
    </p:spTree>
    <p:extLst>
      <p:ext uri="{BB962C8B-B14F-4D97-AF65-F5344CB8AC3E}">
        <p14:creationId xmlns:p14="http://schemas.microsoft.com/office/powerpoint/2010/main" val="28243640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23851" y="1065217"/>
            <a:ext cx="11569700" cy="4833937"/>
          </a:xfrm>
        </p:spPr>
        <p:txBody>
          <a:bodyPr/>
          <a:lstStyle>
            <a:lvl1pPr>
              <a:defRPr/>
            </a:lvl1pPr>
            <a:lvl2pPr>
              <a:defRPr baseline="0"/>
            </a:lvl2pPr>
            <a:lvl3pPr>
              <a:buClr>
                <a:schemeClr val="accent5">
                  <a:lumMod val="75000"/>
                </a:schemeClr>
              </a:buClr>
              <a:defRPr/>
            </a:lvl3pPr>
          </a:lstStyle>
          <a:p>
            <a:pPr lvl="0"/>
            <a:r>
              <a:rPr lang="en-US"/>
              <a:t>First level: Arial 20pt</a:t>
            </a:r>
          </a:p>
          <a:p>
            <a:pPr lvl="1"/>
            <a:r>
              <a:rPr lang="en-US"/>
              <a:t>Second level: Arial 18pt</a:t>
            </a:r>
          </a:p>
          <a:p>
            <a:pPr lvl="2"/>
            <a:r>
              <a:rPr lang="en-US"/>
              <a:t>Third level: Arial 16pt</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980530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2_Four boxes with takeaway">
    <p:spTree>
      <p:nvGrpSpPr>
        <p:cNvPr id="1" name=""/>
        <p:cNvGrpSpPr/>
        <p:nvPr/>
      </p:nvGrpSpPr>
      <p:grpSpPr>
        <a:xfrm>
          <a:off x="0" y="0"/>
          <a:ext cx="0" cy="0"/>
          <a:chOff x="0" y="0"/>
          <a:chExt cx="0" cy="0"/>
        </a:xfrm>
      </p:grpSpPr>
      <p:sp>
        <p:nvSpPr>
          <p:cNvPr id="5" name="Content Placeholder 2"/>
          <p:cNvSpPr>
            <a:spLocks noGrp="1"/>
          </p:cNvSpPr>
          <p:nvPr>
            <p:ph sz="half" idx="10" hasCustomPrompt="1"/>
          </p:nvPr>
        </p:nvSpPr>
        <p:spPr>
          <a:xfrm>
            <a:off x="0" y="3429004"/>
            <a:ext cx="6096000" cy="2895601"/>
          </a:xfrm>
          <a:prstGeom prst="rect">
            <a:avLst/>
          </a:prstGeom>
          <a:noFill/>
          <a:ln w="38100" cap="flat" algn="ctr">
            <a:noFill/>
            <a:round/>
            <a:headEnd type="none" w="med" len="med"/>
            <a:tailEnd type="none" w="med" len="med"/>
          </a:ln>
          <a:effectLst/>
        </p:spPr>
        <p:txBody>
          <a:bodyPr vert="horz" wrap="square" lIns="274320" tIns="91440" rIns="91430" bIns="91440" numCol="1" anchor="t" anchorCtr="0" compatLnSpc="1">
            <a:prstTxWarp prst="textNoShape">
              <a:avLst/>
            </a:prstTxWarp>
          </a:bodyPr>
          <a:lstStyle>
            <a:lvl1pPr marL="157424" indent="-157424" algn="l" rtl="0" eaLnBrk="1" fontAlgn="base" hangingPunct="1">
              <a:lnSpc>
                <a:spcPct val="100000"/>
              </a:lnSpc>
              <a:spcBef>
                <a:spcPct val="0"/>
              </a:spcBef>
              <a:spcAft>
                <a:spcPts val="600"/>
              </a:spcAft>
              <a:buClr>
                <a:srgbClr val="EE3134"/>
              </a:buClr>
              <a:buSzPts val="2000"/>
              <a:buFont typeface=""/>
              <a:buChar char="•"/>
              <a:defRPr lang="en-US" sz="2000" b="1" kern="1200" dirty="0" smtClean="0">
                <a:solidFill>
                  <a:schemeClr val="accent5"/>
                </a:solidFill>
                <a:latin typeface="Arial"/>
                <a:ea typeface="ＭＳ Ｐゴシック" pitchFamily="100" charset="-128"/>
                <a:cs typeface="+mn-cs"/>
              </a:defRPr>
            </a:lvl1pPr>
            <a:lvl2pPr marL="308603" indent="-154301" algn="l" rtl="0" eaLnBrk="1" fontAlgn="base" hangingPunct="1">
              <a:lnSpc>
                <a:spcPct val="100000"/>
              </a:lnSpc>
              <a:spcBef>
                <a:spcPct val="0"/>
              </a:spcBef>
              <a:spcAft>
                <a:spcPts val="600"/>
              </a:spcAft>
              <a:buClr>
                <a:srgbClr val="3E6181"/>
              </a:buClr>
              <a:buSzPts val="2000"/>
              <a:buFont typeface="Arial"/>
              <a:buChar char="•"/>
              <a:defRPr lang="en-US" sz="1800" b="0" kern="1200" dirty="0" smtClean="0">
                <a:solidFill>
                  <a:schemeClr val="accent5"/>
                </a:solidFill>
                <a:latin typeface="Arial"/>
                <a:ea typeface="ＭＳ Ｐゴシック" pitchFamily="100" charset="-128"/>
                <a:cs typeface="+mn-cs"/>
              </a:defRPr>
            </a:lvl2pPr>
            <a:lvl3pPr marL="507987" indent="-152396" algn="l" rtl="0" eaLnBrk="1" fontAlgn="base" hangingPunct="1">
              <a:lnSpc>
                <a:spcPct val="100000"/>
              </a:lnSpc>
              <a:spcBef>
                <a:spcPct val="0"/>
              </a:spcBef>
              <a:spcAft>
                <a:spcPts val="600"/>
              </a:spcAft>
              <a:buClr>
                <a:srgbClr val="3E6181"/>
              </a:buClr>
              <a:buSzPts val="2000"/>
              <a:buFont typeface="Arial"/>
              <a:buChar char="•"/>
              <a:defRPr lang="en-US" sz="1600" b="0" kern="1200" dirty="0" smtClean="0">
                <a:solidFill>
                  <a:schemeClr val="accent5"/>
                </a:solidFill>
                <a:latin typeface="Arial"/>
                <a:ea typeface="ＭＳ Ｐゴシック" pitchFamily="100" charset="-128"/>
                <a:cs typeface="+mn-cs"/>
              </a:defRPr>
            </a:lvl3pPr>
            <a:lvl4pPr>
              <a:defRPr sz="1800"/>
            </a:lvl4pPr>
            <a:lvl5pPr>
              <a:defRPr sz="1800"/>
            </a:lvl5pPr>
            <a:lvl6pPr>
              <a:defRPr sz="1800"/>
            </a:lvl6pPr>
            <a:lvl7pPr>
              <a:defRPr sz="1800"/>
            </a:lvl7pPr>
            <a:lvl8pPr>
              <a:defRPr sz="1800"/>
            </a:lvl8pPr>
            <a:lvl9pPr>
              <a:defRPr sz="1800"/>
            </a:lvl9pPr>
          </a:lstStyle>
          <a:p>
            <a:pPr lvl="0"/>
            <a:r>
              <a:rPr lang="en-US"/>
              <a:t>First level: Arial 20pt</a:t>
            </a:r>
          </a:p>
          <a:p>
            <a:pPr marL="308603" lvl="1" indent="-154301" algn="l" defTabSz="342891" rtl="0" eaLnBrk="1" fontAlgn="base" hangingPunct="1">
              <a:lnSpc>
                <a:spcPct val="100000"/>
              </a:lnSpc>
              <a:spcBef>
                <a:spcPct val="0"/>
              </a:spcBef>
              <a:spcAft>
                <a:spcPts val="600"/>
              </a:spcAft>
              <a:buClr>
                <a:schemeClr val="accent5"/>
              </a:buClr>
              <a:buSzPct val="100000"/>
              <a:buFont typeface="Arial"/>
              <a:buChar char="•"/>
            </a:pPr>
            <a:r>
              <a:rPr lang="en-US"/>
              <a:t>Second level: Arial 18pt</a:t>
            </a:r>
          </a:p>
          <a:p>
            <a:pPr marL="507987" lvl="2" indent="-152396" algn="l" defTabSz="571486" rtl="0" eaLnBrk="1" fontAlgn="base" hangingPunct="1">
              <a:lnSpc>
                <a:spcPct val="100000"/>
              </a:lnSpc>
              <a:spcBef>
                <a:spcPct val="0"/>
              </a:spcBef>
              <a:spcAft>
                <a:spcPts val="600"/>
              </a:spcAft>
              <a:buClr>
                <a:schemeClr val="accent5"/>
              </a:buClr>
              <a:buSzPct val="100000"/>
              <a:buFont typeface="Arial"/>
              <a:buChar char="•"/>
            </a:pPr>
            <a:r>
              <a:rPr lang="en-US"/>
              <a:t>Third level: Arial 16pt</a:t>
            </a:r>
          </a:p>
        </p:txBody>
      </p:sp>
      <p:sp>
        <p:nvSpPr>
          <p:cNvPr id="9" name="Content Placeholder 2"/>
          <p:cNvSpPr>
            <a:spLocks noGrp="1"/>
          </p:cNvSpPr>
          <p:nvPr>
            <p:ph sz="half" idx="13" hasCustomPrompt="1"/>
          </p:nvPr>
        </p:nvSpPr>
        <p:spPr>
          <a:xfrm>
            <a:off x="6096000" y="533401"/>
            <a:ext cx="6096000" cy="2895600"/>
          </a:xfrm>
          <a:prstGeom prst="rect">
            <a:avLst/>
          </a:prstGeom>
          <a:noFill/>
          <a:ln w="38100" cap="flat" algn="ctr">
            <a:noFill/>
            <a:round/>
            <a:headEnd type="none" w="med" len="med"/>
            <a:tailEnd type="none" w="med" len="med"/>
          </a:ln>
          <a:effectLst/>
        </p:spPr>
        <p:txBody>
          <a:bodyPr vert="horz" wrap="square" lIns="274320" tIns="91440" rIns="91430" bIns="91440" numCol="1" anchor="t" anchorCtr="0" compatLnSpc="1">
            <a:prstTxWarp prst="textNoShape">
              <a:avLst/>
            </a:prstTxWarp>
          </a:bodyPr>
          <a:lstStyle>
            <a:lvl1pPr marL="157424" indent="-157424" algn="l" rtl="0" eaLnBrk="1" fontAlgn="base" hangingPunct="1">
              <a:lnSpc>
                <a:spcPct val="100000"/>
              </a:lnSpc>
              <a:spcBef>
                <a:spcPct val="0"/>
              </a:spcBef>
              <a:spcAft>
                <a:spcPts val="600"/>
              </a:spcAft>
              <a:buClr>
                <a:srgbClr val="EE3134"/>
              </a:buClr>
              <a:buSzPts val="2000"/>
              <a:buFont typeface=""/>
              <a:buChar char="•"/>
              <a:defRPr lang="en-US" sz="2000" b="1" kern="1200" dirty="0" smtClean="0">
                <a:solidFill>
                  <a:schemeClr val="accent5"/>
                </a:solidFill>
                <a:latin typeface="Arial"/>
                <a:ea typeface="ＭＳ Ｐゴシック" pitchFamily="100" charset="-128"/>
                <a:cs typeface="+mn-cs"/>
              </a:defRPr>
            </a:lvl1pPr>
            <a:lvl2pPr marL="308603" indent="-154301" algn="l" rtl="0" eaLnBrk="1" fontAlgn="base" hangingPunct="1">
              <a:lnSpc>
                <a:spcPct val="100000"/>
              </a:lnSpc>
              <a:spcBef>
                <a:spcPct val="0"/>
              </a:spcBef>
              <a:spcAft>
                <a:spcPts val="600"/>
              </a:spcAft>
              <a:buClr>
                <a:srgbClr val="3E6181"/>
              </a:buClr>
              <a:buSzPts val="2000"/>
              <a:buFont typeface="Arial"/>
              <a:buChar char="•"/>
              <a:defRPr lang="en-US" sz="1800" b="0" kern="1200" dirty="0" smtClean="0">
                <a:solidFill>
                  <a:schemeClr val="accent5"/>
                </a:solidFill>
                <a:latin typeface="Arial"/>
                <a:ea typeface="ＭＳ Ｐゴシック" pitchFamily="100" charset="-128"/>
                <a:cs typeface="+mn-cs"/>
              </a:defRPr>
            </a:lvl2pPr>
            <a:lvl3pPr marL="507987" indent="-152396" algn="l" rtl="0" eaLnBrk="1" fontAlgn="base" hangingPunct="1">
              <a:lnSpc>
                <a:spcPct val="100000"/>
              </a:lnSpc>
              <a:spcBef>
                <a:spcPct val="0"/>
              </a:spcBef>
              <a:spcAft>
                <a:spcPts val="600"/>
              </a:spcAft>
              <a:buClr>
                <a:srgbClr val="3E6181"/>
              </a:buClr>
              <a:buSzPts val="2000"/>
              <a:buFont typeface="Arial"/>
              <a:buChar char="•"/>
              <a:defRPr lang="en-US" sz="1600" b="0" kern="1200" dirty="0" smtClean="0">
                <a:solidFill>
                  <a:schemeClr val="accent5"/>
                </a:solidFill>
                <a:latin typeface="Arial"/>
                <a:ea typeface="ＭＳ Ｐゴシック" pitchFamily="100" charset="-128"/>
                <a:cs typeface="+mn-cs"/>
              </a:defRPr>
            </a:lvl3pPr>
            <a:lvl4pPr>
              <a:defRPr sz="1800"/>
            </a:lvl4pPr>
            <a:lvl5pPr>
              <a:defRPr sz="1800"/>
            </a:lvl5pPr>
            <a:lvl6pPr>
              <a:defRPr sz="1800"/>
            </a:lvl6pPr>
            <a:lvl7pPr>
              <a:defRPr sz="1800"/>
            </a:lvl7pPr>
            <a:lvl8pPr>
              <a:defRPr sz="1800"/>
            </a:lvl8pPr>
            <a:lvl9pPr>
              <a:defRPr sz="1800"/>
            </a:lvl9pPr>
          </a:lstStyle>
          <a:p>
            <a:pPr lvl="0"/>
            <a:r>
              <a:rPr lang="en-US"/>
              <a:t>First level: Arial 20pt</a:t>
            </a:r>
          </a:p>
          <a:p>
            <a:pPr marL="308603" lvl="1" indent="-154301" algn="l" defTabSz="342891" rtl="0" eaLnBrk="1" fontAlgn="base" hangingPunct="1">
              <a:lnSpc>
                <a:spcPct val="100000"/>
              </a:lnSpc>
              <a:spcBef>
                <a:spcPct val="0"/>
              </a:spcBef>
              <a:spcAft>
                <a:spcPts val="600"/>
              </a:spcAft>
              <a:buClr>
                <a:schemeClr val="accent5"/>
              </a:buClr>
              <a:buSzPct val="100000"/>
              <a:buFont typeface="Arial"/>
              <a:buChar char="•"/>
            </a:pPr>
            <a:r>
              <a:rPr lang="en-US"/>
              <a:t>Second level: Arial 18pt</a:t>
            </a:r>
          </a:p>
          <a:p>
            <a:pPr marL="507987" lvl="2" indent="-152396" algn="l" defTabSz="571486" rtl="0" eaLnBrk="1" fontAlgn="base" hangingPunct="1">
              <a:lnSpc>
                <a:spcPct val="100000"/>
              </a:lnSpc>
              <a:spcBef>
                <a:spcPct val="0"/>
              </a:spcBef>
              <a:spcAft>
                <a:spcPts val="600"/>
              </a:spcAft>
              <a:buClr>
                <a:schemeClr val="accent5"/>
              </a:buClr>
              <a:buSzPct val="100000"/>
              <a:buFont typeface="Arial"/>
              <a:buChar char="•"/>
            </a:pPr>
            <a:r>
              <a:rPr lang="en-US"/>
              <a:t>Third level: Arial 16pt</a:t>
            </a:r>
          </a:p>
        </p:txBody>
      </p:sp>
      <p:sp>
        <p:nvSpPr>
          <p:cNvPr id="3" name="Content Placeholder 2"/>
          <p:cNvSpPr>
            <a:spLocks noGrp="1"/>
          </p:cNvSpPr>
          <p:nvPr>
            <p:ph sz="half" idx="1" hasCustomPrompt="1"/>
          </p:nvPr>
        </p:nvSpPr>
        <p:spPr>
          <a:xfrm>
            <a:off x="0" y="533400"/>
            <a:ext cx="6096000" cy="2895600"/>
          </a:xfrm>
          <a:prstGeom prst="rect">
            <a:avLst/>
          </a:prstGeom>
          <a:solidFill>
            <a:schemeClr val="bg2">
              <a:lumMod val="75000"/>
            </a:schemeClr>
          </a:solidFill>
          <a:ln w="38100" cap="flat" algn="ctr">
            <a:noFill/>
            <a:round/>
            <a:headEnd type="none" w="med" len="med"/>
            <a:tailEnd type="none" w="med" len="med"/>
          </a:ln>
          <a:effectLst/>
        </p:spPr>
        <p:txBody>
          <a:bodyPr vert="horz" wrap="square" lIns="274320" tIns="91440" rIns="91430" bIns="91440" numCol="1" anchor="t" anchorCtr="0" compatLnSpc="1">
            <a:prstTxWarp prst="textNoShape">
              <a:avLst/>
            </a:prstTxWarp>
          </a:bodyPr>
          <a:lstStyle>
            <a:lvl1pPr marL="157424" indent="-157424" algn="l" rtl="0" eaLnBrk="1" fontAlgn="base" hangingPunct="1">
              <a:lnSpc>
                <a:spcPct val="100000"/>
              </a:lnSpc>
              <a:spcBef>
                <a:spcPct val="0"/>
              </a:spcBef>
              <a:spcAft>
                <a:spcPts val="600"/>
              </a:spcAft>
              <a:buClr>
                <a:schemeClr val="bg1"/>
              </a:buClr>
              <a:buSzPct val="100000"/>
              <a:buFont typeface=""/>
              <a:buChar char="•"/>
              <a:defRPr lang="en-US" sz="2000" b="1" kern="1200" smtClean="0">
                <a:solidFill>
                  <a:schemeClr val="bg1"/>
                </a:solidFill>
                <a:latin typeface="Arial"/>
                <a:ea typeface="ＭＳ Ｐゴシック" pitchFamily="100" charset="-128"/>
                <a:cs typeface="+mn-cs"/>
              </a:defRPr>
            </a:lvl1pPr>
            <a:lvl2pPr marL="308603" indent="-154301" algn="l" rtl="0" eaLnBrk="1" fontAlgn="base" hangingPunct="1">
              <a:lnSpc>
                <a:spcPct val="100000"/>
              </a:lnSpc>
              <a:spcBef>
                <a:spcPct val="0"/>
              </a:spcBef>
              <a:spcAft>
                <a:spcPts val="600"/>
              </a:spcAft>
              <a:buClr>
                <a:schemeClr val="bg1"/>
              </a:buClr>
              <a:buSzPct val="100000"/>
              <a:buFont typeface="Arial"/>
              <a:buChar char="•"/>
              <a:defRPr lang="en-US" sz="1800" b="0" kern="1200" smtClean="0">
                <a:solidFill>
                  <a:schemeClr val="bg1"/>
                </a:solidFill>
                <a:latin typeface="Arial"/>
                <a:ea typeface="ＭＳ Ｐゴシック" pitchFamily="100" charset="-128"/>
                <a:cs typeface="+mn-cs"/>
              </a:defRPr>
            </a:lvl2pPr>
            <a:lvl3pPr marL="507987" indent="-152396" algn="l" rtl="0" eaLnBrk="1" fontAlgn="base" hangingPunct="1">
              <a:lnSpc>
                <a:spcPct val="100000"/>
              </a:lnSpc>
              <a:spcBef>
                <a:spcPct val="0"/>
              </a:spcBef>
              <a:spcAft>
                <a:spcPts val="600"/>
              </a:spcAft>
              <a:buClr>
                <a:schemeClr val="bg1"/>
              </a:buClr>
              <a:buSzPct val="100000"/>
              <a:buFont typeface="Arial"/>
              <a:buChar char="•"/>
              <a:defRPr lang="en-US" sz="1600" b="0" kern="1200" smtClean="0">
                <a:solidFill>
                  <a:schemeClr val="bg1"/>
                </a:solidFill>
                <a:latin typeface="Arial"/>
                <a:ea typeface="ＭＳ Ｐゴシック" pitchFamily="100" charset="-128"/>
                <a:cs typeface="+mn-cs"/>
              </a:defRPr>
            </a:lvl3pPr>
            <a:lvl4pPr>
              <a:defRPr sz="1800"/>
            </a:lvl4pPr>
            <a:lvl5pPr>
              <a:defRPr sz="1800"/>
            </a:lvl5pPr>
            <a:lvl6pPr>
              <a:defRPr sz="1800"/>
            </a:lvl6pPr>
            <a:lvl7pPr>
              <a:defRPr sz="1800"/>
            </a:lvl7pPr>
            <a:lvl8pPr>
              <a:defRPr sz="1800"/>
            </a:lvl8pPr>
            <a:lvl9pPr>
              <a:defRPr sz="1800"/>
            </a:lvl9pPr>
          </a:lstStyle>
          <a:p>
            <a:pPr lvl="0"/>
            <a:r>
              <a:rPr lang="en-US"/>
              <a:t>First level: Arial 20pt</a:t>
            </a:r>
          </a:p>
          <a:p>
            <a:pPr lvl="1"/>
            <a:r>
              <a:rPr lang="en-US"/>
              <a:t>Second level: Arial 18pt</a:t>
            </a:r>
          </a:p>
          <a:p>
            <a:pPr lvl="2"/>
            <a:r>
              <a:rPr lang="en-US"/>
              <a:t>Third level: Arial 16pt2</a:t>
            </a:r>
          </a:p>
        </p:txBody>
      </p:sp>
      <p:sp>
        <p:nvSpPr>
          <p:cNvPr id="10" name="Content Placeholder 2"/>
          <p:cNvSpPr>
            <a:spLocks noGrp="1"/>
          </p:cNvSpPr>
          <p:nvPr>
            <p:ph sz="half" idx="14" hasCustomPrompt="1"/>
          </p:nvPr>
        </p:nvSpPr>
        <p:spPr>
          <a:xfrm>
            <a:off x="6111240" y="3436624"/>
            <a:ext cx="6080760" cy="2860041"/>
          </a:xfrm>
          <a:prstGeom prst="rect">
            <a:avLst/>
          </a:prstGeom>
          <a:solidFill>
            <a:schemeClr val="bg2">
              <a:lumMod val="75000"/>
            </a:schemeClr>
          </a:solidFill>
          <a:ln w="38100" cap="flat" algn="ctr">
            <a:noFill/>
            <a:round/>
            <a:headEnd type="none" w="med" len="med"/>
            <a:tailEnd type="none" w="med" len="med"/>
          </a:ln>
          <a:effectLst/>
        </p:spPr>
        <p:txBody>
          <a:bodyPr vert="horz" wrap="square" lIns="274320" tIns="91440" rIns="91430" bIns="91440" numCol="1" anchor="t" anchorCtr="0" compatLnSpc="1">
            <a:prstTxWarp prst="textNoShape">
              <a:avLst/>
            </a:prstTxWarp>
          </a:bodyPr>
          <a:lstStyle>
            <a:lvl1pPr marL="157424" indent="-157424" algn="l" rtl="0" eaLnBrk="1" fontAlgn="base" hangingPunct="1">
              <a:lnSpc>
                <a:spcPct val="100000"/>
              </a:lnSpc>
              <a:spcBef>
                <a:spcPct val="0"/>
              </a:spcBef>
              <a:spcAft>
                <a:spcPts val="600"/>
              </a:spcAft>
              <a:buClr>
                <a:schemeClr val="bg1"/>
              </a:buClr>
              <a:buSzPts val="2000"/>
              <a:buFont typeface=""/>
              <a:buChar char="•"/>
              <a:defRPr lang="en-US" sz="2000" b="1" kern="1200" dirty="0" smtClean="0">
                <a:solidFill>
                  <a:schemeClr val="bg1"/>
                </a:solidFill>
                <a:latin typeface="Arial"/>
                <a:ea typeface="ＭＳ Ｐゴシック" pitchFamily="100" charset="-128"/>
                <a:cs typeface="+mn-cs"/>
              </a:defRPr>
            </a:lvl1pPr>
            <a:lvl2pPr marL="308603" indent="-154301" algn="l" rtl="0" eaLnBrk="1" fontAlgn="base" hangingPunct="1">
              <a:lnSpc>
                <a:spcPct val="100000"/>
              </a:lnSpc>
              <a:spcBef>
                <a:spcPct val="0"/>
              </a:spcBef>
              <a:spcAft>
                <a:spcPts val="600"/>
              </a:spcAft>
              <a:buClr>
                <a:schemeClr val="bg1"/>
              </a:buClr>
              <a:buSzPts val="2000"/>
              <a:buFont typeface="Arial"/>
              <a:buChar char="•"/>
              <a:defRPr lang="en-US" sz="1800" b="0" kern="1200" dirty="0" smtClean="0">
                <a:solidFill>
                  <a:schemeClr val="bg1"/>
                </a:solidFill>
                <a:latin typeface="Arial"/>
                <a:ea typeface="ＭＳ Ｐゴシック" pitchFamily="100" charset="-128"/>
                <a:cs typeface="+mn-cs"/>
              </a:defRPr>
            </a:lvl2pPr>
            <a:lvl3pPr marL="507987" indent="-152396" algn="l" rtl="0" eaLnBrk="1" fontAlgn="base" hangingPunct="1">
              <a:lnSpc>
                <a:spcPct val="100000"/>
              </a:lnSpc>
              <a:spcBef>
                <a:spcPct val="0"/>
              </a:spcBef>
              <a:spcAft>
                <a:spcPts val="600"/>
              </a:spcAft>
              <a:buClr>
                <a:schemeClr val="bg1"/>
              </a:buClr>
              <a:buSzPts val="2000"/>
              <a:buFont typeface="Arial"/>
              <a:buChar char="•"/>
              <a:defRPr lang="en-US" sz="1600" b="0" kern="1200" dirty="0" smtClean="0">
                <a:solidFill>
                  <a:schemeClr val="bg1"/>
                </a:solidFill>
                <a:latin typeface="Arial"/>
                <a:ea typeface="ＭＳ Ｐゴシック" pitchFamily="100" charset="-128"/>
                <a:cs typeface="+mn-cs"/>
              </a:defRPr>
            </a:lvl3pPr>
            <a:lvl4pPr>
              <a:defRPr sz="1800"/>
            </a:lvl4pPr>
            <a:lvl5pPr>
              <a:defRPr sz="1800"/>
            </a:lvl5pPr>
            <a:lvl6pPr>
              <a:defRPr sz="1800"/>
            </a:lvl6pPr>
            <a:lvl7pPr>
              <a:defRPr sz="1800"/>
            </a:lvl7pPr>
            <a:lvl8pPr>
              <a:defRPr sz="1800"/>
            </a:lvl8pPr>
            <a:lvl9pPr>
              <a:defRPr sz="1800"/>
            </a:lvl9pPr>
          </a:lstStyle>
          <a:p>
            <a:pPr lvl="0"/>
            <a:r>
              <a:rPr lang="en-US"/>
              <a:t>First level: Arial 20pt</a:t>
            </a:r>
          </a:p>
          <a:p>
            <a:pPr marL="308603" lvl="1" indent="-154301" algn="l" defTabSz="342891" rtl="0" eaLnBrk="1" fontAlgn="base" hangingPunct="1">
              <a:lnSpc>
                <a:spcPct val="100000"/>
              </a:lnSpc>
              <a:spcBef>
                <a:spcPct val="0"/>
              </a:spcBef>
              <a:spcAft>
                <a:spcPts val="600"/>
              </a:spcAft>
              <a:buClr>
                <a:schemeClr val="accent5"/>
              </a:buClr>
              <a:buSzPct val="100000"/>
              <a:buFont typeface="Arial"/>
              <a:buChar char="•"/>
            </a:pPr>
            <a:r>
              <a:rPr lang="en-US"/>
              <a:t>Second level: Arial 18pt</a:t>
            </a:r>
          </a:p>
          <a:p>
            <a:pPr marL="507987" lvl="2" indent="-152396" algn="l" defTabSz="571486" rtl="0" eaLnBrk="1" fontAlgn="base" hangingPunct="1">
              <a:lnSpc>
                <a:spcPct val="100000"/>
              </a:lnSpc>
              <a:spcBef>
                <a:spcPct val="0"/>
              </a:spcBef>
              <a:spcAft>
                <a:spcPts val="600"/>
              </a:spcAft>
              <a:buClr>
                <a:schemeClr val="accent5"/>
              </a:buClr>
              <a:buSzPct val="100000"/>
              <a:buFont typeface="Arial"/>
              <a:buChar char="•"/>
            </a:pPr>
            <a:r>
              <a:rPr lang="en-US"/>
              <a:t>Third level: Arial 16pt</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4083418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6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23851" y="1065217"/>
            <a:ext cx="11569700" cy="4833937"/>
          </a:xfrm>
        </p:spPr>
        <p:txBody>
          <a:bodyPr/>
          <a:lstStyle>
            <a:lvl1pPr>
              <a:defRPr/>
            </a:lvl1pPr>
            <a:lvl2pPr>
              <a:defRPr baseline="0"/>
            </a:lvl2pPr>
            <a:lvl3pPr>
              <a:buClr>
                <a:schemeClr val="accent5">
                  <a:lumMod val="75000"/>
                </a:schemeClr>
              </a:buClr>
              <a:defRPr/>
            </a:lvl3pPr>
          </a:lstStyle>
          <a:p>
            <a:pPr lvl="0"/>
            <a:r>
              <a:rPr lang="en-US"/>
              <a:t>First level: Arial 20pt</a:t>
            </a:r>
          </a:p>
          <a:p>
            <a:pPr lvl="1"/>
            <a:r>
              <a:rPr lang="en-US"/>
              <a:t>Second level: Arial 18pt</a:t>
            </a:r>
          </a:p>
          <a:p>
            <a:pPr lvl="2"/>
            <a:r>
              <a:rPr lang="en-US"/>
              <a:t>Third level: Arial 16pt</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8019822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5_Custom Layout">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7881257" cy="6858000"/>
          </a:xfrm>
          <a:prstGeom prst="rect">
            <a:avLst/>
          </a:prstGeom>
        </p:spPr>
      </p:pic>
      <p:sp>
        <p:nvSpPr>
          <p:cNvPr id="10" name="Text Placeholder 6"/>
          <p:cNvSpPr>
            <a:spLocks noGrp="1"/>
          </p:cNvSpPr>
          <p:nvPr>
            <p:ph type="body" sz="quarter" idx="11"/>
          </p:nvPr>
        </p:nvSpPr>
        <p:spPr>
          <a:xfrm>
            <a:off x="3352800" y="1966913"/>
            <a:ext cx="8572500" cy="1447800"/>
          </a:xfrm>
        </p:spPr>
        <p:txBody>
          <a:bodyPr anchor="ctr"/>
          <a:lstStyle>
            <a:lvl1pPr marL="0" indent="0" algn="ctr">
              <a:buNone/>
              <a:defRPr sz="3200" b="1">
                <a:solidFill>
                  <a:schemeClr val="accent4"/>
                </a:solidFill>
              </a:defRPr>
            </a:lvl1pPr>
          </a:lstStyle>
          <a:p>
            <a:pPr lvl="0"/>
            <a:r>
              <a:rPr lang="en-US"/>
              <a:t>Click to edit Master text styles</a:t>
            </a:r>
          </a:p>
        </p:txBody>
      </p:sp>
      <p:pic>
        <p:nvPicPr>
          <p:cNvPr id="2" name="Picture 1"/>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2700" y="1773238"/>
            <a:ext cx="5080687" cy="5084762"/>
          </a:xfrm>
          <a:prstGeom prst="rect">
            <a:avLst/>
          </a:prstGeom>
        </p:spPr>
      </p:pic>
    </p:spTree>
    <p:extLst>
      <p:ext uri="{BB962C8B-B14F-4D97-AF65-F5344CB8AC3E}">
        <p14:creationId xmlns:p14="http://schemas.microsoft.com/office/powerpoint/2010/main" val="1673962754"/>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7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23851" y="1065214"/>
            <a:ext cx="11569700" cy="4833937"/>
          </a:xfrm>
        </p:spPr>
        <p:txBody>
          <a:bodyPr/>
          <a:lstStyle>
            <a:lvl1pPr>
              <a:defRPr/>
            </a:lvl1pPr>
            <a:lvl2pPr>
              <a:defRPr baseline="0"/>
            </a:lvl2pPr>
            <a:lvl3pPr>
              <a:buClr>
                <a:schemeClr val="accent5">
                  <a:lumMod val="75000"/>
                </a:schemeClr>
              </a:buClr>
              <a:defRPr/>
            </a:lvl3pPr>
          </a:lstStyle>
          <a:p>
            <a:pPr lvl="0"/>
            <a:r>
              <a:rPr lang="en-US"/>
              <a:t>First level: Arial 20pt</a:t>
            </a:r>
          </a:p>
          <a:p>
            <a:pPr lvl="1"/>
            <a:r>
              <a:rPr lang="en-US"/>
              <a:t>Second level: Arial 18pt</a:t>
            </a:r>
          </a:p>
          <a:p>
            <a:pPr lvl="2"/>
            <a:r>
              <a:rPr lang="en-US"/>
              <a:t>Third level: Arial 16pt</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90973422"/>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8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23851" y="1065217"/>
            <a:ext cx="11569700" cy="4833937"/>
          </a:xfrm>
        </p:spPr>
        <p:txBody>
          <a:bodyPr/>
          <a:lstStyle>
            <a:lvl1pPr>
              <a:defRPr/>
            </a:lvl1pPr>
            <a:lvl2pPr>
              <a:defRPr baseline="0"/>
            </a:lvl2pPr>
            <a:lvl3pPr>
              <a:buClr>
                <a:schemeClr val="accent5">
                  <a:lumMod val="75000"/>
                </a:schemeClr>
              </a:buClr>
              <a:defRPr/>
            </a:lvl3pPr>
          </a:lstStyle>
          <a:p>
            <a:pPr lvl="0"/>
            <a:r>
              <a:rPr lang="en-US"/>
              <a:t>First level: Arial 20pt</a:t>
            </a:r>
          </a:p>
          <a:p>
            <a:pPr lvl="1"/>
            <a:r>
              <a:rPr lang="en-US"/>
              <a:t>Second level: Arial 18pt</a:t>
            </a:r>
          </a:p>
          <a:p>
            <a:pPr lvl="2"/>
            <a:r>
              <a:rPr lang="en-US"/>
              <a:t>Third level: Arial 16pt</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74329843"/>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Title Only (White Background)">
    <p:spTree>
      <p:nvGrpSpPr>
        <p:cNvPr id="1" name=""/>
        <p:cNvGrpSpPr/>
        <p:nvPr/>
      </p:nvGrpSpPr>
      <p:grpSpPr>
        <a:xfrm>
          <a:off x="0" y="0"/>
          <a:ext cx="0" cy="0"/>
          <a:chOff x="0" y="0"/>
          <a:chExt cx="0" cy="0"/>
        </a:xfrm>
      </p:grpSpPr>
      <p:sp>
        <p:nvSpPr>
          <p:cNvPr id="4" name="Rectangle 3"/>
          <p:cNvSpPr/>
          <p:nvPr userDrawn="1"/>
        </p:nvSpPr>
        <p:spPr bwMode="auto">
          <a:xfrm>
            <a:off x="0" y="4"/>
            <a:ext cx="12192000" cy="6297613"/>
          </a:xfrm>
          <a:prstGeom prst="rect">
            <a:avLst/>
          </a:prstGeom>
          <a:gradFill>
            <a:gsLst>
              <a:gs pos="0">
                <a:schemeClr val="bg1"/>
              </a:gs>
              <a:gs pos="45000">
                <a:schemeClr val="bg1"/>
              </a:gs>
              <a:gs pos="100000">
                <a:schemeClr val="bg2"/>
              </a:gs>
            </a:gsLst>
            <a:lin ang="1080000" scaled="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lang="en-US" sz="1800">
              <a:latin typeface="Arial" pitchFamily="124" charset="0"/>
            </a:endParaRP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951222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23851" y="1065214"/>
            <a:ext cx="11569700" cy="4833937"/>
          </a:xfrm>
        </p:spPr>
        <p:txBody>
          <a:bodyPr/>
          <a:lstStyle>
            <a:lvl1pPr>
              <a:defRPr/>
            </a:lvl1pPr>
            <a:lvl2pPr>
              <a:defRPr baseline="0"/>
            </a:lvl2pPr>
            <a:lvl3pPr>
              <a:buClr>
                <a:schemeClr val="accent5">
                  <a:lumMod val="75000"/>
                </a:schemeClr>
              </a:buClr>
              <a:defRPr/>
            </a:lvl3pPr>
          </a:lstStyle>
          <a:p>
            <a:pPr lvl="0"/>
            <a:r>
              <a:rPr lang="en-US"/>
              <a:t>First level: Arial 20pt</a:t>
            </a:r>
          </a:p>
          <a:p>
            <a:pPr lvl="1"/>
            <a:r>
              <a:rPr lang="en-US"/>
              <a:t>Second level: Arial 18pt</a:t>
            </a:r>
          </a:p>
          <a:p>
            <a:pPr lvl="2"/>
            <a:r>
              <a:rPr lang="en-US"/>
              <a:t>Third level: Arial 16pt</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415825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23851" y="1065214"/>
            <a:ext cx="11569700" cy="4833937"/>
          </a:xfrm>
        </p:spPr>
        <p:txBody>
          <a:bodyPr/>
          <a:lstStyle>
            <a:lvl1pPr>
              <a:defRPr/>
            </a:lvl1pPr>
            <a:lvl2pPr>
              <a:defRPr baseline="0"/>
            </a:lvl2pPr>
            <a:lvl3pPr>
              <a:buClr>
                <a:schemeClr val="accent5">
                  <a:lumMod val="75000"/>
                </a:schemeClr>
              </a:buClr>
              <a:defRPr/>
            </a:lvl3pPr>
          </a:lstStyle>
          <a:p>
            <a:pPr lvl="0"/>
            <a:r>
              <a:rPr lang="en-US"/>
              <a:t>First level: Arial 20pt</a:t>
            </a:r>
          </a:p>
          <a:p>
            <a:pPr lvl="1"/>
            <a:r>
              <a:rPr lang="en-US"/>
              <a:t>Second level: Arial 18pt</a:t>
            </a:r>
          </a:p>
          <a:p>
            <a:pPr lvl="2"/>
            <a:r>
              <a:rPr lang="en-US"/>
              <a:t>Third level: Arial 16pt</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402158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Title with content bar">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0" hasCustomPrompt="1"/>
          </p:nvPr>
        </p:nvSpPr>
        <p:spPr>
          <a:xfrm>
            <a:off x="0" y="533401"/>
            <a:ext cx="12192000" cy="1979613"/>
          </a:xfrm>
          <a:solidFill>
            <a:srgbClr val="7FBA00"/>
          </a:solidFill>
        </p:spPr>
        <p:txBody>
          <a:bodyPr lIns="274320" anchor="ctr" anchorCtr="0"/>
          <a:lstStyle>
            <a:lvl1pPr marL="0" indent="0">
              <a:spcBef>
                <a:spcPts val="600"/>
              </a:spcBef>
              <a:buClr>
                <a:schemeClr val="bg1"/>
              </a:buClr>
              <a:buFontTx/>
              <a:buNone/>
              <a:defRPr sz="1800" baseline="0">
                <a:solidFill>
                  <a:schemeClr val="bg1"/>
                </a:solidFill>
              </a:defRPr>
            </a:lvl1pPr>
            <a:lvl2pPr marL="171450" indent="0">
              <a:buFontTx/>
              <a:buNone/>
              <a:defRPr sz="1600"/>
            </a:lvl2pPr>
          </a:lstStyle>
          <a:p>
            <a:pPr marL="0" indent="0">
              <a:spcBef>
                <a:spcPts val="600"/>
              </a:spcBef>
              <a:buClr>
                <a:schemeClr val="bg1"/>
              </a:buClr>
              <a:buNone/>
            </a:pPr>
            <a:r>
              <a:rPr lang="en-US" sz="2400" kern="0">
                <a:solidFill>
                  <a:schemeClr val="bg1"/>
                </a:solidFill>
              </a:rPr>
              <a:t>Place sub-head or framing statement text in this box. </a:t>
            </a:r>
            <a:br>
              <a:rPr lang="en-US" sz="2400" kern="0">
                <a:solidFill>
                  <a:schemeClr val="bg1"/>
                </a:solidFill>
              </a:rPr>
            </a:br>
            <a:r>
              <a:rPr lang="en-US" sz="2400" kern="0">
                <a:solidFill>
                  <a:schemeClr val="bg1"/>
                </a:solidFill>
              </a:rPr>
              <a:t>Change box color and transparency as desired.</a:t>
            </a:r>
            <a:br>
              <a:rPr lang="en-US" sz="2400" kern="0">
                <a:solidFill>
                  <a:schemeClr val="bg1"/>
                </a:solidFill>
              </a:rPr>
            </a:br>
            <a:r>
              <a:rPr lang="en-US" sz="2400" kern="0">
                <a:solidFill>
                  <a:schemeClr val="bg1"/>
                </a:solidFill>
              </a:rPr>
              <a:t>Vertically reposition as desired.</a:t>
            </a:r>
          </a:p>
        </p:txBody>
      </p:sp>
    </p:spTree>
    <p:extLst>
      <p:ext uri="{BB962C8B-B14F-4D97-AF65-F5344CB8AC3E}">
        <p14:creationId xmlns:p14="http://schemas.microsoft.com/office/powerpoint/2010/main" val="3494329428"/>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Section divider with photo background">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FE7B338-1383-7843-9E8D-F295A0DFF59D}"/>
              </a:ext>
            </a:extLst>
          </p:cNvPr>
          <p:cNvSpPr>
            <a:spLocks noGrp="1"/>
          </p:cNvSpPr>
          <p:nvPr>
            <p:ph type="pic" sz="quarter" idx="13" hasCustomPrompt="1"/>
          </p:nvPr>
        </p:nvSpPr>
        <p:spPr>
          <a:xfrm>
            <a:off x="-1" y="0"/>
            <a:ext cx="12191999" cy="6858000"/>
          </a:xfrm>
          <a:custGeom>
            <a:avLst/>
            <a:gdLst>
              <a:gd name="connsiteX0" fmla="*/ 0 w 12191999"/>
              <a:gd name="connsiteY0" fmla="*/ 0 h 6858000"/>
              <a:gd name="connsiteX1" fmla="*/ 10321761 w 12191999"/>
              <a:gd name="connsiteY1" fmla="*/ 0 h 6858000"/>
              <a:gd name="connsiteX2" fmla="*/ 10321761 w 12191999"/>
              <a:gd name="connsiteY2" fmla="*/ 673804 h 6858000"/>
              <a:gd name="connsiteX3" fmla="*/ 11887200 w 12191999"/>
              <a:gd name="connsiteY3" fmla="*/ 673804 h 6858000"/>
              <a:gd name="connsiteX4" fmla="*/ 11887200 w 12191999"/>
              <a:gd name="connsiteY4" fmla="*/ 0 h 6858000"/>
              <a:gd name="connsiteX5" fmla="*/ 12191999 w 12191999"/>
              <a:gd name="connsiteY5" fmla="*/ 0 h 6858000"/>
              <a:gd name="connsiteX6" fmla="*/ 12191999 w 12191999"/>
              <a:gd name="connsiteY6" fmla="*/ 6858000 h 6858000"/>
              <a:gd name="connsiteX7" fmla="*/ 0 w 12191999"/>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1999" h="6858000">
                <a:moveTo>
                  <a:pt x="0" y="0"/>
                </a:moveTo>
                <a:lnTo>
                  <a:pt x="10321761" y="0"/>
                </a:lnTo>
                <a:lnTo>
                  <a:pt x="10321761" y="673804"/>
                </a:lnTo>
                <a:lnTo>
                  <a:pt x="11887200" y="673804"/>
                </a:lnTo>
                <a:lnTo>
                  <a:pt x="11887200" y="0"/>
                </a:lnTo>
                <a:lnTo>
                  <a:pt x="12191999" y="0"/>
                </a:lnTo>
                <a:lnTo>
                  <a:pt x="12191999" y="6858000"/>
                </a:lnTo>
                <a:lnTo>
                  <a:pt x="0" y="6858000"/>
                </a:lnTo>
                <a:close/>
              </a:path>
            </a:pathLst>
          </a:custGeom>
          <a:pattFill prst="pct5">
            <a:fgClr>
              <a:schemeClr val="bg1"/>
            </a:fgClr>
            <a:bgClr>
              <a:schemeClr val="bg2"/>
            </a:bgClr>
          </a:pattFill>
        </p:spPr>
        <p:txBody>
          <a:bodyPr vert="horz" wrap="square" lIns="0" tIns="0" rIns="0" bIns="0" rtlCol="0" anchor="ctr">
            <a:noAutofit/>
          </a:bodyPr>
          <a:lstStyle>
            <a:lvl1pPr marL="0" indent="0" algn="ctr">
              <a:buFontTx/>
              <a:buNone/>
              <a:defRPr lang="en-US" sz="1400">
                <a:solidFill>
                  <a:schemeClr val="tx1"/>
                </a:solidFill>
              </a:defRPr>
            </a:lvl1pPr>
          </a:lstStyle>
          <a:p>
            <a:pPr lvl="0" algn="ctr">
              <a:buNone/>
            </a:pPr>
            <a:r>
              <a:rPr lang="en-US"/>
              <a:t>Add photo</a:t>
            </a:r>
          </a:p>
        </p:txBody>
      </p:sp>
      <p:sp>
        <p:nvSpPr>
          <p:cNvPr id="5" name="Slide Number Placeholder 2">
            <a:extLst>
              <a:ext uri="{FF2B5EF4-FFF2-40B4-BE49-F238E27FC236}">
                <a16:creationId xmlns:a16="http://schemas.microsoft.com/office/drawing/2014/main" id="{A634E9F6-D24E-5141-81EF-69349B9658EA}"/>
              </a:ext>
            </a:extLst>
          </p:cNvPr>
          <p:cNvSpPr>
            <a:spLocks noGrp="1"/>
          </p:cNvSpPr>
          <p:nvPr>
            <p:ph type="sldNum" sz="quarter" idx="10"/>
          </p:nvPr>
        </p:nvSpPr>
        <p:spPr>
          <a:xfrm>
            <a:off x="1" y="6553200"/>
            <a:ext cx="304799" cy="304799"/>
          </a:xfrm>
        </p:spPr>
        <p:txBody>
          <a:bodyPr/>
          <a:lstStyle>
            <a:lvl1pPr>
              <a:defRPr>
                <a:solidFill>
                  <a:schemeClr val="bg1"/>
                </a:solidFill>
              </a:defRPr>
            </a:lvl1pPr>
          </a:lstStyle>
          <a:p>
            <a:fld id="{89006F1E-66CD-4A4B-9370-B4A3080F0E6C}" type="slidenum">
              <a:rPr lang="en-US" smtClean="0"/>
              <a:pPr/>
              <a:t>‹#›</a:t>
            </a:fld>
            <a:endParaRPr lang="en-US"/>
          </a:p>
        </p:txBody>
      </p:sp>
      <p:sp>
        <p:nvSpPr>
          <p:cNvPr id="6" name="Footer Placeholder 1">
            <a:extLst>
              <a:ext uri="{FF2B5EF4-FFF2-40B4-BE49-F238E27FC236}">
                <a16:creationId xmlns:a16="http://schemas.microsoft.com/office/drawing/2014/main" id="{B41A9DDB-F5FB-5046-B179-F07475B09908}"/>
              </a:ext>
            </a:extLst>
          </p:cNvPr>
          <p:cNvSpPr>
            <a:spLocks noGrp="1"/>
          </p:cNvSpPr>
          <p:nvPr>
            <p:ph type="ftr" sz="quarter" idx="14"/>
          </p:nvPr>
        </p:nvSpPr>
        <p:spPr>
          <a:xfrm>
            <a:off x="304799" y="6553201"/>
            <a:ext cx="3657601" cy="304800"/>
          </a:xfrm>
          <a:prstGeom prst="rect">
            <a:avLst/>
          </a:prstGeom>
        </p:spPr>
        <p:txBody>
          <a:bodyPr/>
          <a:lstStyle>
            <a:lvl1pPr>
              <a:defRPr>
                <a:solidFill>
                  <a:schemeClr val="bg1"/>
                </a:solidFill>
              </a:defRPr>
            </a:lvl1pPr>
          </a:lstStyle>
          <a:p>
            <a:r>
              <a:rPr lang="en-US">
                <a:ea typeface="MS PGothic" panose="020B0600070205080204" pitchFamily="34" charset="-128"/>
              </a:rPr>
              <a:t>Proprietary &amp; Confidential |  authoremail@thermofisher.com | 12-April-2021</a:t>
            </a:r>
          </a:p>
        </p:txBody>
      </p:sp>
      <p:sp>
        <p:nvSpPr>
          <p:cNvPr id="8" name="Content Placeholder 2">
            <a:extLst>
              <a:ext uri="{FF2B5EF4-FFF2-40B4-BE49-F238E27FC236}">
                <a16:creationId xmlns:a16="http://schemas.microsoft.com/office/drawing/2014/main" id="{5DC4D9F1-5E1A-DD4A-946F-32414E026F44}"/>
              </a:ext>
            </a:extLst>
          </p:cNvPr>
          <p:cNvSpPr>
            <a:spLocks noGrp="1"/>
          </p:cNvSpPr>
          <p:nvPr>
            <p:ph sz="quarter" idx="15" hasCustomPrompt="1"/>
          </p:nvPr>
        </p:nvSpPr>
        <p:spPr>
          <a:xfrm>
            <a:off x="0" y="3742192"/>
            <a:ext cx="6096000" cy="1071062"/>
          </a:xfrm>
          <a:solidFill>
            <a:schemeClr val="bg1"/>
          </a:solidFill>
        </p:spPr>
        <p:txBody>
          <a:bodyPr wrap="square" lIns="292608" tIns="201168" rIns="292608" bIns="91440" anchor="b">
            <a:spAutoFit/>
          </a:bodyPr>
          <a:lstStyle>
            <a:lvl1pPr marL="0" indent="0">
              <a:lnSpc>
                <a:spcPct val="90000"/>
              </a:lnSpc>
              <a:buNone/>
              <a:defRPr sz="2800" b="1">
                <a:solidFill>
                  <a:schemeClr val="tx2"/>
                </a:solidFill>
              </a:defRPr>
            </a:lvl1pPr>
          </a:lstStyle>
          <a:p>
            <a:pPr lvl="0"/>
            <a:r>
              <a:rPr lang="en-US"/>
              <a:t>Section title with full photo background</a:t>
            </a:r>
          </a:p>
        </p:txBody>
      </p:sp>
      <p:sp>
        <p:nvSpPr>
          <p:cNvPr id="10" name="Content Placeholder 2">
            <a:extLst>
              <a:ext uri="{FF2B5EF4-FFF2-40B4-BE49-F238E27FC236}">
                <a16:creationId xmlns:a16="http://schemas.microsoft.com/office/drawing/2014/main" id="{15406226-911A-D441-8417-8C4961D7AEF2}"/>
              </a:ext>
            </a:extLst>
          </p:cNvPr>
          <p:cNvSpPr>
            <a:spLocks noGrp="1"/>
          </p:cNvSpPr>
          <p:nvPr>
            <p:ph sz="quarter" idx="16" hasCustomPrompt="1"/>
          </p:nvPr>
        </p:nvSpPr>
        <p:spPr>
          <a:xfrm>
            <a:off x="0" y="4813254"/>
            <a:ext cx="6096000" cy="630814"/>
          </a:xfrm>
          <a:solidFill>
            <a:schemeClr val="bg1"/>
          </a:solidFill>
        </p:spPr>
        <p:txBody>
          <a:bodyPr wrap="square" lIns="292608" tIns="91440" rIns="292608" bIns="201168" anchor="t">
            <a:spAutoFit/>
          </a:bodyPr>
          <a:lstStyle>
            <a:lvl1pPr marL="0" marR="0" indent="0" algn="l" defTabSz="914400" rtl="0" eaLnBrk="1" fontAlgn="auto" latinLnBrk="0" hangingPunct="1">
              <a:lnSpc>
                <a:spcPct val="100000"/>
              </a:lnSpc>
              <a:spcBef>
                <a:spcPts val="200"/>
              </a:spcBef>
              <a:spcAft>
                <a:spcPts val="0"/>
              </a:spcAft>
              <a:buClr>
                <a:schemeClr val="tx2"/>
              </a:buClr>
              <a:buSzPct val="100000"/>
              <a:buFont typeface="Arial" panose="020B0604020202020204" pitchFamily="34" charset="0"/>
              <a:buNone/>
              <a:tabLst/>
              <a:defRPr lang="en-US" sz="2000" b="0" kern="1200" dirty="0">
                <a:solidFill>
                  <a:schemeClr val="tx1"/>
                </a:solidFill>
                <a:latin typeface="+mn-lt"/>
                <a:ea typeface="+mn-ea"/>
                <a:cs typeface="+mn-cs"/>
              </a:defRPr>
            </a:lvl1pPr>
          </a:lstStyle>
          <a:p>
            <a:pPr marL="0" marR="0" lvl="0" indent="0" algn="l" defTabSz="914400" rtl="0" eaLnBrk="1" fontAlgn="auto" latinLnBrk="0" hangingPunct="1">
              <a:lnSpc>
                <a:spcPct val="120000"/>
              </a:lnSpc>
              <a:spcBef>
                <a:spcPts val="200"/>
              </a:spcBef>
              <a:spcAft>
                <a:spcPts val="0"/>
              </a:spcAft>
              <a:buClr>
                <a:schemeClr val="tx2"/>
              </a:buClr>
              <a:buSzPct val="100000"/>
              <a:buFont typeface="Arial" panose="020B0604020202020204" pitchFamily="34" charset="0"/>
              <a:buNone/>
              <a:tabLst/>
              <a:defRPr/>
            </a:pPr>
            <a:r>
              <a:rPr lang="en-US"/>
              <a:t>Sub title and or description of next section</a:t>
            </a:r>
          </a:p>
        </p:txBody>
      </p:sp>
    </p:spTree>
    <p:extLst>
      <p:ext uri="{BB962C8B-B14F-4D97-AF65-F5344CB8AC3E}">
        <p14:creationId xmlns:p14="http://schemas.microsoft.com/office/powerpoint/2010/main" val="358076191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mportant Disclaimer">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0081F8D7-94E1-D14A-9B72-83893197CFDB}"/>
              </a:ext>
            </a:extLst>
          </p:cNvPr>
          <p:cNvSpPr/>
          <p:nvPr userDrawn="1"/>
        </p:nvSpPr>
        <p:spPr>
          <a:xfrm>
            <a:off x="304799" y="1447799"/>
            <a:ext cx="4876801" cy="234730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 Placeholder 9">
            <a:extLst>
              <a:ext uri="{FF2B5EF4-FFF2-40B4-BE49-F238E27FC236}">
                <a16:creationId xmlns:a16="http://schemas.microsoft.com/office/drawing/2014/main" id="{4DB97ED0-9771-E044-B63D-01D4F8A70AD0}"/>
              </a:ext>
            </a:extLst>
          </p:cNvPr>
          <p:cNvSpPr txBox="1">
            <a:spLocks/>
          </p:cNvSpPr>
          <p:nvPr userDrawn="1"/>
        </p:nvSpPr>
        <p:spPr>
          <a:xfrm>
            <a:off x="300227" y="3966983"/>
            <a:ext cx="4869914" cy="2586217"/>
          </a:xfrm>
          <a:prstGeom prst="rect">
            <a:avLst/>
          </a:prstGeom>
        </p:spPr>
        <p:txBody>
          <a:bodyPr vert="horz" lIns="0" tIns="0" rIns="0" bIns="0" numCol="1" rtlCol="0" anchor="t">
            <a:noAutofit/>
          </a:bodyPr>
          <a:lstStyle>
            <a:lvl1pPr marL="0" indent="0" algn="l" defTabSz="914400" rtl="0" eaLnBrk="1" latinLnBrk="0" hangingPunct="1">
              <a:lnSpc>
                <a:spcPct val="100000"/>
              </a:lnSpc>
              <a:spcBef>
                <a:spcPts val="400"/>
              </a:spcBef>
              <a:buClr>
                <a:schemeClr val="accent4"/>
              </a:buClr>
              <a:buSzPct val="100000"/>
              <a:buFont typeface="Arial" panose="020B0604020202020204" pitchFamily="34" charset="0"/>
              <a:buNone/>
              <a:tabLst/>
              <a:defRPr sz="2000" b="0" kern="1200">
                <a:solidFill>
                  <a:schemeClr val="tx1"/>
                </a:solidFill>
                <a:latin typeface="+mn-lt"/>
                <a:ea typeface="+mn-ea"/>
                <a:cs typeface="+mn-cs"/>
              </a:defRPr>
            </a:lvl1pPr>
            <a:lvl2pPr marL="236537" marR="0" indent="0" algn="l" defTabSz="914400" rtl="0" eaLnBrk="1" fontAlgn="auto" latinLnBrk="0" hangingPunct="1">
              <a:lnSpc>
                <a:spcPct val="100000"/>
              </a:lnSpc>
              <a:spcBef>
                <a:spcPts val="400"/>
              </a:spcBef>
              <a:spcAft>
                <a:spcPts val="0"/>
              </a:spcAft>
              <a:buClrTx/>
              <a:buSzPct val="76000"/>
              <a:buFont typeface="Arial" panose="020B0604020202020204" pitchFamily="34" charset="0"/>
              <a:buNone/>
              <a:tabLst/>
              <a:defRPr sz="1800" b="0" kern="1200">
                <a:solidFill>
                  <a:schemeClr val="tx1"/>
                </a:solidFill>
                <a:latin typeface="+mn-lt"/>
                <a:ea typeface="+mn-ea"/>
                <a:cs typeface="+mn-cs"/>
              </a:defRPr>
            </a:lvl2pPr>
            <a:lvl3pPr marL="749300" marR="0" indent="-285750" algn="l" defTabSz="914400" rtl="0" eaLnBrk="1" fontAlgn="auto" latinLnBrk="0" hangingPunct="1">
              <a:lnSpc>
                <a:spcPct val="100000"/>
              </a:lnSpc>
              <a:spcBef>
                <a:spcPts val="400"/>
              </a:spcBef>
              <a:spcAft>
                <a:spcPts val="0"/>
              </a:spcAft>
              <a:buClrTx/>
              <a:buSzPct val="80000"/>
              <a:buFont typeface="System Font Regular"/>
              <a:buChar char="-"/>
              <a:tabLst/>
              <a:defRPr sz="1400" b="0" kern="1200">
                <a:solidFill>
                  <a:schemeClr val="tx1"/>
                </a:solidFill>
                <a:latin typeface="+mn-lt"/>
                <a:ea typeface="+mn-ea"/>
                <a:cs typeface="+mn-cs"/>
              </a:defRPr>
            </a:lvl3pPr>
            <a:lvl4pPr marL="690563" marR="0" indent="0" algn="l" defTabSz="914400" rtl="0" eaLnBrk="1" fontAlgn="auto" latinLnBrk="0" hangingPunct="1">
              <a:lnSpc>
                <a:spcPct val="100000"/>
              </a:lnSpc>
              <a:spcBef>
                <a:spcPts val="400"/>
              </a:spcBef>
              <a:spcAft>
                <a:spcPts val="0"/>
              </a:spcAft>
              <a:buClrTx/>
              <a:buSzPct val="80000"/>
              <a:buFont typeface="Arial" panose="020B0604020202020204" pitchFamily="34" charset="0"/>
              <a:buNone/>
              <a:tabLst/>
              <a:defRPr sz="1200" b="0" kern="1200">
                <a:solidFill>
                  <a:schemeClr val="tx1"/>
                </a:solidFill>
                <a:latin typeface="+mn-lt"/>
                <a:ea typeface="+mn-ea"/>
                <a:cs typeface="+mn-cs"/>
              </a:defRPr>
            </a:lvl4pPr>
            <a:lvl5pPr marL="909637" marR="0" indent="0" algn="l" defTabSz="914400" rtl="0" eaLnBrk="1" fontAlgn="auto" latinLnBrk="0" hangingPunct="1">
              <a:lnSpc>
                <a:spcPct val="100000"/>
              </a:lnSpc>
              <a:spcBef>
                <a:spcPts val="400"/>
              </a:spcBef>
              <a:spcAft>
                <a:spcPts val="0"/>
              </a:spcAft>
              <a:buClrTx/>
              <a:buSzPct val="80000"/>
              <a:buFont typeface="Arial" panose="020B0604020202020204" pitchFamily="34" charset="0"/>
              <a:buNone/>
              <a:tabLst/>
              <a:defRPr sz="11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40000"/>
              </a:lnSpc>
            </a:pPr>
            <a:r>
              <a:rPr lang="en-US" sz="1200" b="1"/>
              <a:t>External disclaimer criteria:</a:t>
            </a:r>
          </a:p>
          <a:p>
            <a:pPr marL="171450" indent="-171450">
              <a:lnSpc>
                <a:spcPct val="140000"/>
              </a:lnSpc>
              <a:buFont typeface="Arial" panose="020B0604020202020204" pitchFamily="34" charset="0"/>
              <a:buChar char="•"/>
            </a:pPr>
            <a:r>
              <a:rPr lang="en-US" sz="900"/>
              <a:t>Before sharing confidential information externally, ensure you have a confidential disclosure agreement (CDA) in place. The </a:t>
            </a:r>
            <a:r>
              <a:rPr lang="en-US" sz="900" b="1"/>
              <a:t>“Proprietary &amp; Confidential” </a:t>
            </a:r>
            <a:r>
              <a:rPr lang="en-US" sz="900"/>
              <a:t>disclaimer does not replace a CDA.</a:t>
            </a:r>
          </a:p>
          <a:p>
            <a:pPr marL="171450" indent="-171450">
              <a:lnSpc>
                <a:spcPct val="140000"/>
              </a:lnSpc>
              <a:buFont typeface="Arial" panose="020B0604020202020204" pitchFamily="34" charset="0"/>
              <a:buChar char="•"/>
            </a:pPr>
            <a:r>
              <a:rPr lang="en-US" sz="900"/>
              <a:t>Before removing the </a:t>
            </a:r>
            <a:r>
              <a:rPr lang="en-US" sz="900" b="1"/>
              <a:t>“Proprietary &amp; Confidential” </a:t>
            </a:r>
            <a:r>
              <a:rPr lang="en-US" sz="900"/>
              <a:t>disclaimer to exhibit content externally, you must ensure the content is appropriate from a Business, Division or Group entity; Legal; and Regulatory Affairs perspective. This means following your business’s, division’s or group’s process for obtaining Legal and Regulatory Affairs approval.</a:t>
            </a:r>
          </a:p>
          <a:p>
            <a:pPr marL="171450" indent="-171450">
              <a:lnSpc>
                <a:spcPct val="140000"/>
              </a:lnSpc>
              <a:buFont typeface="Arial" panose="020B0604020202020204" pitchFamily="34" charset="0"/>
              <a:buChar char="•"/>
            </a:pPr>
            <a:r>
              <a:rPr lang="en-US" sz="900"/>
              <a:t>If you’re importing slides from the </a:t>
            </a:r>
            <a:r>
              <a:rPr lang="en-US" sz="900">
                <a:hlinkClick r:id="rId2">
                  <a:extLst>
                    <a:ext uri="{A12FA001-AC4F-418D-AE19-62706E023703}">
                      <ahyp:hlinkClr xmlns:ahyp="http://schemas.microsoft.com/office/drawing/2018/hyperlinkcolor" val="tx"/>
                    </a:ext>
                  </a:extLst>
                </a:hlinkClick>
              </a:rPr>
              <a:t>Customer Value Proposition</a:t>
            </a:r>
            <a:r>
              <a:rPr lang="en-US" sz="900"/>
              <a:t> deck, which is cleared for external use and not considered Proprietary &amp; Confidential, you can leave a disclaimer off those slides and simply list the author’s email and date published on those slides.</a:t>
            </a:r>
          </a:p>
        </p:txBody>
      </p:sp>
      <p:pic>
        <p:nvPicPr>
          <p:cNvPr id="47" name="Graphic 46">
            <a:extLst>
              <a:ext uri="{FF2B5EF4-FFF2-40B4-BE49-F238E27FC236}">
                <a16:creationId xmlns:a16="http://schemas.microsoft.com/office/drawing/2014/main" id="{5957BB70-3758-2241-95DE-E49DED9F761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44034" y="1665184"/>
            <a:ext cx="356616" cy="365760"/>
          </a:xfrm>
          <a:prstGeom prst="rect">
            <a:avLst/>
          </a:prstGeom>
        </p:spPr>
      </p:pic>
      <p:cxnSp>
        <p:nvCxnSpPr>
          <p:cNvPr id="48" name="Straight Connector 47">
            <a:extLst>
              <a:ext uri="{FF2B5EF4-FFF2-40B4-BE49-F238E27FC236}">
                <a16:creationId xmlns:a16="http://schemas.microsoft.com/office/drawing/2014/main" id="{63783495-6D28-834A-90D4-F810D049B150}"/>
              </a:ext>
            </a:extLst>
          </p:cNvPr>
          <p:cNvCxnSpPr>
            <a:cxnSpLocks/>
          </p:cNvCxnSpPr>
          <p:nvPr userDrawn="1"/>
        </p:nvCxnSpPr>
        <p:spPr>
          <a:xfrm>
            <a:off x="5505901" y="1481339"/>
            <a:ext cx="0" cy="472440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23692791-F43E-EE45-B104-207B0D8D1E5C}"/>
              </a:ext>
            </a:extLst>
          </p:cNvPr>
          <p:cNvSpPr txBox="1"/>
          <p:nvPr userDrawn="1"/>
        </p:nvSpPr>
        <p:spPr>
          <a:xfrm>
            <a:off x="1143000" y="1667690"/>
            <a:ext cx="3807135" cy="1873031"/>
          </a:xfrm>
          <a:prstGeom prst="rect">
            <a:avLst/>
          </a:prstGeom>
          <a:noFill/>
        </p:spPr>
        <p:txBody>
          <a:bodyPr wrap="square" lIns="0" tIns="0" rIns="0" bIns="0" rtlCol="0">
            <a:normAutofit lnSpcReduction="10000"/>
          </a:bodyPr>
          <a:lstStyle/>
          <a:p>
            <a:pPr defTabSz="914400">
              <a:lnSpc>
                <a:spcPct val="120000"/>
              </a:lnSpc>
              <a:spcBef>
                <a:spcPts val="200"/>
              </a:spcBef>
              <a:buClr>
                <a:schemeClr val="tx2"/>
              </a:buClr>
              <a:buSzPct val="100000"/>
            </a:pPr>
            <a:r>
              <a:rPr lang="en-US" sz="1100" b="1">
                <a:solidFill>
                  <a:schemeClr val="bg1"/>
                </a:solidFill>
              </a:rPr>
              <a:t>Important:</a:t>
            </a:r>
            <a:r>
              <a:rPr lang="en-US" sz="1100">
                <a:solidFill>
                  <a:schemeClr val="bg1"/>
                </a:solidFill>
              </a:rPr>
              <a:t> This template contains a default </a:t>
            </a:r>
            <a:r>
              <a:rPr lang="en-US" sz="1100" b="1">
                <a:solidFill>
                  <a:schemeClr val="bg1"/>
                </a:solidFill>
              </a:rPr>
              <a:t>“Proprietary &amp; Confidential” </a:t>
            </a:r>
            <a:r>
              <a:rPr lang="en-US" sz="1100">
                <a:solidFill>
                  <a:schemeClr val="bg1"/>
                </a:solidFill>
              </a:rPr>
              <a:t>disclaimer in the footer. It is designed to protect information that we want to protect as </a:t>
            </a:r>
            <a:r>
              <a:rPr lang="en-US" sz="1100" b="1">
                <a:solidFill>
                  <a:schemeClr val="bg1"/>
                </a:solidFill>
              </a:rPr>
              <a:t>internal use only </a:t>
            </a:r>
            <a:r>
              <a:rPr lang="en-US" sz="1100">
                <a:solidFill>
                  <a:schemeClr val="bg1"/>
                </a:solidFill>
              </a:rPr>
              <a:t>and don't want to share with third parties.  You should use this unless your material meets criteria that would allow it be shared externally.</a:t>
            </a:r>
            <a:br>
              <a:rPr lang="en-US" sz="1100">
                <a:solidFill>
                  <a:schemeClr val="bg1"/>
                </a:solidFill>
              </a:rPr>
            </a:br>
            <a:endParaRPr lang="en-US" sz="1100">
              <a:solidFill>
                <a:schemeClr val="bg1"/>
              </a:solidFill>
            </a:endParaRPr>
          </a:p>
          <a:p>
            <a:pPr defTabSz="914400">
              <a:lnSpc>
                <a:spcPct val="120000"/>
              </a:lnSpc>
              <a:spcBef>
                <a:spcPts val="200"/>
              </a:spcBef>
              <a:buClr>
                <a:schemeClr val="tx2"/>
              </a:buClr>
              <a:buSzPct val="100000"/>
            </a:pPr>
            <a:r>
              <a:rPr lang="en-US" sz="1100">
                <a:solidFill>
                  <a:schemeClr val="bg1"/>
                </a:solidFill>
              </a:rPr>
              <a:t>To edit the footer, click Insert &gt; Header &amp; Footer, make the change in the pop-up window, and then choose “Apply” for one slide or “Apply to all” for the entire deck.</a:t>
            </a:r>
          </a:p>
        </p:txBody>
      </p:sp>
      <p:sp>
        <p:nvSpPr>
          <p:cNvPr id="55" name="Rectangle 54">
            <a:extLst>
              <a:ext uri="{FF2B5EF4-FFF2-40B4-BE49-F238E27FC236}">
                <a16:creationId xmlns:a16="http://schemas.microsoft.com/office/drawing/2014/main" id="{E6B688F3-C9F4-2446-9F51-2EF949ECB180}"/>
              </a:ext>
            </a:extLst>
          </p:cNvPr>
          <p:cNvSpPr/>
          <p:nvPr/>
        </p:nvSpPr>
        <p:spPr>
          <a:xfrm>
            <a:off x="5788336" y="2637630"/>
            <a:ext cx="1952553" cy="184666"/>
          </a:xfrm>
          <a:prstGeom prst="rect">
            <a:avLst/>
          </a:prstGeom>
        </p:spPr>
        <p:txBody>
          <a:bodyPr wrap="square" lIns="0" tIns="0" rIns="0" bIns="0">
            <a:spAutoFit/>
          </a:bodyPr>
          <a:lstStyle/>
          <a:p>
            <a:r>
              <a:rPr lang="en-US" sz="1200" b="1"/>
              <a:t>Footer examples</a:t>
            </a:r>
            <a:endParaRPr lang="en-US" sz="1200"/>
          </a:p>
        </p:txBody>
      </p:sp>
      <p:sp>
        <p:nvSpPr>
          <p:cNvPr id="79" name="Footer Placeholder 1">
            <a:extLst>
              <a:ext uri="{FF2B5EF4-FFF2-40B4-BE49-F238E27FC236}">
                <a16:creationId xmlns:a16="http://schemas.microsoft.com/office/drawing/2014/main" id="{555EAE1F-5676-C34A-8CF6-B38C31AF80D9}"/>
              </a:ext>
            </a:extLst>
          </p:cNvPr>
          <p:cNvSpPr>
            <a:spLocks noGrp="1"/>
          </p:cNvSpPr>
          <p:nvPr>
            <p:ph type="ftr" sz="quarter" idx="11"/>
          </p:nvPr>
        </p:nvSpPr>
        <p:spPr>
          <a:xfrm>
            <a:off x="304799" y="6553200"/>
            <a:ext cx="7619995" cy="304799"/>
          </a:xfrm>
        </p:spPr>
        <p:txBody>
          <a:bodyPr/>
          <a:lstStyle/>
          <a:p>
            <a:r>
              <a:rPr lang="en-US"/>
              <a:t>Proprietary &amp; Confidential | Molecular Biology STRAP | XX-April-2021</a:t>
            </a:r>
          </a:p>
        </p:txBody>
      </p:sp>
      <p:sp>
        <p:nvSpPr>
          <p:cNvPr id="80" name="Slide Number Placeholder 2">
            <a:extLst>
              <a:ext uri="{FF2B5EF4-FFF2-40B4-BE49-F238E27FC236}">
                <a16:creationId xmlns:a16="http://schemas.microsoft.com/office/drawing/2014/main" id="{B2F62D11-9A5D-6545-93AD-739D274B4BC5}"/>
              </a:ext>
            </a:extLst>
          </p:cNvPr>
          <p:cNvSpPr>
            <a:spLocks noGrp="1"/>
          </p:cNvSpPr>
          <p:nvPr>
            <p:ph type="sldNum" sz="quarter" idx="13"/>
          </p:nvPr>
        </p:nvSpPr>
        <p:spPr>
          <a:xfrm>
            <a:off x="1" y="6553200"/>
            <a:ext cx="304799" cy="304799"/>
          </a:xfrm>
        </p:spPr>
        <p:txBody>
          <a:bodyPr/>
          <a:lstStyle/>
          <a:p>
            <a:fld id="{89006F1E-66CD-4A4B-9370-B4A3080F0E6C}" type="slidenum">
              <a:rPr lang="en-US" smtClean="0"/>
              <a:pPr/>
              <a:t>‹#›</a:t>
            </a:fld>
            <a:endParaRPr lang="en-US"/>
          </a:p>
        </p:txBody>
      </p:sp>
      <p:sp>
        <p:nvSpPr>
          <p:cNvPr id="82" name="Title 6">
            <a:extLst>
              <a:ext uri="{FF2B5EF4-FFF2-40B4-BE49-F238E27FC236}">
                <a16:creationId xmlns:a16="http://schemas.microsoft.com/office/drawing/2014/main" id="{E671D4F8-A815-C84C-8B84-2BC0FD804D52}"/>
              </a:ext>
            </a:extLst>
          </p:cNvPr>
          <p:cNvSpPr txBox="1">
            <a:spLocks/>
          </p:cNvSpPr>
          <p:nvPr/>
        </p:nvSpPr>
        <p:spPr>
          <a:xfrm>
            <a:off x="304801" y="304799"/>
            <a:ext cx="9753600" cy="381001"/>
          </a:xfrm>
          <a:prstGeom prst="rect">
            <a:avLst/>
          </a:prstGeom>
        </p:spPr>
        <p:txBody>
          <a:bodyPr lIns="0" tIns="0" rIns="0" bIns="0"/>
          <a:lst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a:lstStyle>
          <a:p>
            <a:r>
              <a:rPr lang="en-US"/>
              <a:t>Footer content</a:t>
            </a:r>
          </a:p>
        </p:txBody>
      </p:sp>
      <p:sp>
        <p:nvSpPr>
          <p:cNvPr id="83" name="Text Placeholder 9">
            <a:extLst>
              <a:ext uri="{FF2B5EF4-FFF2-40B4-BE49-F238E27FC236}">
                <a16:creationId xmlns:a16="http://schemas.microsoft.com/office/drawing/2014/main" id="{B9D80A7B-7EE9-C344-B667-9AC3E29BB508}"/>
              </a:ext>
            </a:extLst>
          </p:cNvPr>
          <p:cNvSpPr txBox="1">
            <a:spLocks/>
          </p:cNvSpPr>
          <p:nvPr/>
        </p:nvSpPr>
        <p:spPr>
          <a:xfrm>
            <a:off x="300226" y="893063"/>
            <a:ext cx="11591547" cy="381001"/>
          </a:xfrm>
          <a:prstGeom prst="rect">
            <a:avLst/>
          </a:prstGeom>
        </p:spPr>
        <p:txBody>
          <a:bodyPr vert="horz" lIns="0" tIns="0" rIns="0" bIns="0" rtlCol="0" anchor="t">
            <a:noAutofit/>
          </a:bodyPr>
          <a:lstStyle>
            <a:defPPr>
              <a:defRPr lang="en-US"/>
            </a:defPPr>
            <a:lvl1pPr marL="0" algn="l" defTabSz="457200" rtl="0" eaLnBrk="1" latinLnBrk="0" hangingPunct="1">
              <a:defRPr lang="en-US" sz="800" kern="1200">
                <a:solidFill>
                  <a:schemeClr val="accent5"/>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2000" b="0">
                <a:solidFill>
                  <a:schemeClr val="tx1"/>
                </a:solidFill>
              </a:rPr>
              <a:t>Including confidentiality, product-use disclaimers, author, and date</a:t>
            </a:r>
          </a:p>
        </p:txBody>
      </p:sp>
      <p:sp>
        <p:nvSpPr>
          <p:cNvPr id="38" name="Rectangle 37">
            <a:extLst>
              <a:ext uri="{FF2B5EF4-FFF2-40B4-BE49-F238E27FC236}">
                <a16:creationId xmlns:a16="http://schemas.microsoft.com/office/drawing/2014/main" id="{6FB8D2FA-59F0-460A-99A9-F06354EC3F07}"/>
              </a:ext>
            </a:extLst>
          </p:cNvPr>
          <p:cNvSpPr/>
          <p:nvPr/>
        </p:nvSpPr>
        <p:spPr>
          <a:xfrm>
            <a:off x="5788336" y="1447800"/>
            <a:ext cx="6098864" cy="1135775"/>
          </a:xfrm>
          <a:prstGeom prst="rect">
            <a:avLst/>
          </a:prstGeom>
          <a:noFill/>
        </p:spPr>
        <p:txBody>
          <a:bodyPr wrap="square" lIns="0" tIns="0" rIns="0" bIns="0" rtlCol="0">
            <a:noAutofit/>
          </a:bodyPr>
          <a:lstStyle/>
          <a:p>
            <a:pPr defTabSz="914400">
              <a:lnSpc>
                <a:spcPct val="120000"/>
              </a:lnSpc>
              <a:spcBef>
                <a:spcPts val="200"/>
              </a:spcBef>
              <a:buClr>
                <a:schemeClr val="tx2"/>
              </a:buClr>
              <a:buSzPct val="100000"/>
            </a:pPr>
            <a:r>
              <a:rPr lang="en-US" sz="1200" b="1"/>
              <a:t>All footers should contain an author’s or group’s email address and publication date for future reference.  </a:t>
            </a:r>
            <a:r>
              <a:rPr lang="en-US" sz="1100" b="0"/>
              <a:t>Always use four digits for the year.</a:t>
            </a:r>
          </a:p>
          <a:p>
            <a:pPr marL="0" marR="0" lvl="0" indent="0" algn="l" defTabSz="914400" rtl="0" eaLnBrk="1" fontAlgn="auto" latinLnBrk="0" hangingPunct="1">
              <a:lnSpc>
                <a:spcPct val="120000"/>
              </a:lnSpc>
              <a:spcBef>
                <a:spcPts val="200"/>
              </a:spcBef>
              <a:spcAft>
                <a:spcPts val="0"/>
              </a:spcAft>
              <a:buClr>
                <a:schemeClr val="tx2"/>
              </a:buClr>
              <a:buSzPct val="100000"/>
              <a:buFontTx/>
              <a:buNone/>
              <a:tabLst/>
              <a:defRPr/>
            </a:pPr>
            <a:r>
              <a:rPr lang="en-US" sz="1100"/>
              <a:t>A </a:t>
            </a:r>
            <a:r>
              <a:rPr lang="en-US" sz="1100" b="1"/>
              <a:t>“</a:t>
            </a:r>
            <a:r>
              <a:rPr lang="en-US" sz="1100" b="1" kern="1200">
                <a:solidFill>
                  <a:schemeClr val="tx1"/>
                </a:solidFill>
                <a:latin typeface="+mn-lt"/>
                <a:ea typeface="+mn-ea"/>
                <a:cs typeface="+mn-cs"/>
              </a:rPr>
              <a:t>For Research Use Only</a:t>
            </a:r>
            <a:r>
              <a:rPr lang="en-US" sz="1100" b="1"/>
              <a:t>” </a:t>
            </a:r>
            <a:r>
              <a:rPr lang="en-US" sz="1100"/>
              <a:t>or similar product-use disclaimer should appear on select slides as directed by Regulatory Affairs or Legal only. It should be added on appropriate slides as directed vs being added across the entire deck.</a:t>
            </a:r>
          </a:p>
          <a:p>
            <a:pPr defTabSz="914400">
              <a:lnSpc>
                <a:spcPct val="120000"/>
              </a:lnSpc>
              <a:spcBef>
                <a:spcPts val="200"/>
              </a:spcBef>
              <a:buClr>
                <a:schemeClr val="tx2"/>
              </a:buClr>
              <a:buSzPct val="100000"/>
            </a:pPr>
            <a:endParaRPr lang="en-US" sz="1100" b="1"/>
          </a:p>
        </p:txBody>
      </p:sp>
      <p:sp>
        <p:nvSpPr>
          <p:cNvPr id="40" name="TextBox 39">
            <a:extLst>
              <a:ext uri="{FF2B5EF4-FFF2-40B4-BE49-F238E27FC236}">
                <a16:creationId xmlns:a16="http://schemas.microsoft.com/office/drawing/2014/main" id="{0EA872B5-983E-40B7-B51D-F6388C360F37}"/>
              </a:ext>
            </a:extLst>
          </p:cNvPr>
          <p:cNvSpPr txBox="1"/>
          <p:nvPr/>
        </p:nvSpPr>
        <p:spPr>
          <a:xfrm>
            <a:off x="9038023" y="6553200"/>
            <a:ext cx="2849177" cy="304800"/>
          </a:xfrm>
          <a:prstGeom prst="rect">
            <a:avLst/>
          </a:prstGeom>
          <a:noFill/>
        </p:spPr>
        <p:txBody>
          <a:bodyPr wrap="square" lIns="0" tIns="0" rIns="0" bIns="0" rtlCol="0" anchor="ctr">
            <a:noAutofit/>
          </a:bodyPr>
          <a:lstStyle/>
          <a:p>
            <a:pPr marL="0" indent="0" algn="r" defTabSz="914400">
              <a:lnSpc>
                <a:spcPct val="120000"/>
              </a:lnSpc>
              <a:spcBef>
                <a:spcPts val="200"/>
              </a:spcBef>
              <a:buClr>
                <a:schemeClr val="tx2"/>
              </a:buClr>
              <a:buSzPct val="100000"/>
              <a:buFont typeface="Arial" panose="020B0604020202020204" pitchFamily="34" charset="0"/>
              <a:buNone/>
            </a:pPr>
            <a:r>
              <a:rPr lang="en-US" sz="800" kern="1200">
                <a:solidFill>
                  <a:schemeClr val="accent5"/>
                </a:solidFill>
                <a:latin typeface="+mn-lt"/>
                <a:ea typeface="+mn-ea"/>
                <a:cs typeface="+mn-cs"/>
              </a:rPr>
              <a:t>2020 Template V1 published 5-August-2020</a:t>
            </a:r>
          </a:p>
        </p:txBody>
      </p:sp>
      <p:grpSp>
        <p:nvGrpSpPr>
          <p:cNvPr id="7" name="Group 6">
            <a:extLst>
              <a:ext uri="{FF2B5EF4-FFF2-40B4-BE49-F238E27FC236}">
                <a16:creationId xmlns:a16="http://schemas.microsoft.com/office/drawing/2014/main" id="{B0B1E50A-3432-A641-BCCD-ACF714BEB8A1}"/>
              </a:ext>
            </a:extLst>
          </p:cNvPr>
          <p:cNvGrpSpPr/>
          <p:nvPr userDrawn="1"/>
        </p:nvGrpSpPr>
        <p:grpSpPr>
          <a:xfrm>
            <a:off x="5788335" y="2980949"/>
            <a:ext cx="6281431" cy="592961"/>
            <a:chOff x="5788335" y="3097907"/>
            <a:chExt cx="6281431" cy="592961"/>
          </a:xfrm>
        </p:grpSpPr>
        <p:sp>
          <p:nvSpPr>
            <p:cNvPr id="63" name="Rectangle 62">
              <a:extLst>
                <a:ext uri="{FF2B5EF4-FFF2-40B4-BE49-F238E27FC236}">
                  <a16:creationId xmlns:a16="http://schemas.microsoft.com/office/drawing/2014/main" id="{44FC36BA-981A-8040-9AD4-2C91026E0E7E}"/>
                </a:ext>
              </a:extLst>
            </p:cNvPr>
            <p:cNvSpPr/>
            <p:nvPr/>
          </p:nvSpPr>
          <p:spPr>
            <a:xfrm>
              <a:off x="5826081" y="3529285"/>
              <a:ext cx="6017673" cy="161583"/>
            </a:xfrm>
            <a:prstGeom prst="rect">
              <a:avLst/>
            </a:prstGeom>
          </p:spPr>
          <p:txBody>
            <a:bodyPr wrap="none" lIns="0" tIns="0" rIns="0" bIns="0">
              <a:spAutoFit/>
            </a:bodyPr>
            <a:lstStyle/>
            <a:p>
              <a:r>
                <a:rPr lang="en-US" sz="1050"/>
                <a:t>Proprietary &amp; Confidential | For Research Use Only | </a:t>
              </a:r>
              <a:r>
                <a:rPr lang="en-US" sz="1050" err="1"/>
                <a:t>authoremail@thermofisher.com</a:t>
              </a:r>
              <a:r>
                <a:rPr lang="en-US" sz="1050"/>
                <a:t> | 5-August-2020</a:t>
              </a:r>
            </a:p>
          </p:txBody>
        </p:sp>
        <p:sp>
          <p:nvSpPr>
            <p:cNvPr id="64" name="Rectangle 63">
              <a:extLst>
                <a:ext uri="{FF2B5EF4-FFF2-40B4-BE49-F238E27FC236}">
                  <a16:creationId xmlns:a16="http://schemas.microsoft.com/office/drawing/2014/main" id="{E2A130EC-B68F-B445-B64A-32B5ED358BF4}"/>
                </a:ext>
              </a:extLst>
            </p:cNvPr>
            <p:cNvSpPr/>
            <p:nvPr/>
          </p:nvSpPr>
          <p:spPr>
            <a:xfrm>
              <a:off x="6938635" y="3097910"/>
              <a:ext cx="764953" cy="215444"/>
            </a:xfrm>
            <a:prstGeom prst="rect">
              <a:avLst/>
            </a:prstGeom>
          </p:spPr>
          <p:txBody>
            <a:bodyPr wrap="none">
              <a:spAutoFit/>
            </a:bodyPr>
            <a:lstStyle/>
            <a:p>
              <a:pPr algn="ctr"/>
              <a:r>
                <a:rPr lang="en-US" sz="800" b="1"/>
                <a:t>Disclaimers</a:t>
              </a:r>
            </a:p>
          </p:txBody>
        </p:sp>
        <p:sp>
          <p:nvSpPr>
            <p:cNvPr id="65" name="Rectangle 64">
              <a:extLst>
                <a:ext uri="{FF2B5EF4-FFF2-40B4-BE49-F238E27FC236}">
                  <a16:creationId xmlns:a16="http://schemas.microsoft.com/office/drawing/2014/main" id="{A268EC47-4888-C147-936E-C2DFB656768D}"/>
                </a:ext>
              </a:extLst>
            </p:cNvPr>
            <p:cNvSpPr/>
            <p:nvPr/>
          </p:nvSpPr>
          <p:spPr>
            <a:xfrm>
              <a:off x="9207383" y="3097908"/>
              <a:ext cx="1380506" cy="215444"/>
            </a:xfrm>
            <a:prstGeom prst="rect">
              <a:avLst/>
            </a:prstGeom>
          </p:spPr>
          <p:txBody>
            <a:bodyPr wrap="none">
              <a:spAutoFit/>
            </a:bodyPr>
            <a:lstStyle/>
            <a:p>
              <a:pPr algn="ctr"/>
              <a:r>
                <a:rPr lang="en-US" sz="800" b="1"/>
                <a:t>Author’s email </a:t>
              </a:r>
              <a:r>
                <a:rPr lang="en-US" sz="800" b="0"/>
                <a:t>(Optional)</a:t>
              </a:r>
              <a:endParaRPr lang="en-US" sz="800" b="1"/>
            </a:p>
          </p:txBody>
        </p:sp>
        <p:sp>
          <p:nvSpPr>
            <p:cNvPr id="66" name="Rectangle 65">
              <a:extLst>
                <a:ext uri="{FF2B5EF4-FFF2-40B4-BE49-F238E27FC236}">
                  <a16:creationId xmlns:a16="http://schemas.microsoft.com/office/drawing/2014/main" id="{12AFD803-CD3C-B640-909F-2ABD27360115}"/>
                </a:ext>
              </a:extLst>
            </p:cNvPr>
            <p:cNvSpPr/>
            <p:nvPr/>
          </p:nvSpPr>
          <p:spPr>
            <a:xfrm>
              <a:off x="10666818" y="3097907"/>
              <a:ext cx="1402948" cy="215444"/>
            </a:xfrm>
            <a:prstGeom prst="rect">
              <a:avLst/>
            </a:prstGeom>
          </p:spPr>
          <p:txBody>
            <a:bodyPr wrap="none">
              <a:spAutoFit/>
            </a:bodyPr>
            <a:lstStyle/>
            <a:p>
              <a:pPr algn="ctr"/>
              <a:r>
                <a:rPr lang="en-US" sz="800" b="1"/>
                <a:t>Date published </a:t>
              </a:r>
              <a:r>
                <a:rPr lang="en-US" sz="800" b="0"/>
                <a:t>(Optional)</a:t>
              </a:r>
              <a:endParaRPr lang="en-US" sz="800" b="1"/>
            </a:p>
          </p:txBody>
        </p:sp>
        <p:sp>
          <p:nvSpPr>
            <p:cNvPr id="67" name="Left Brace 66">
              <a:extLst>
                <a:ext uri="{FF2B5EF4-FFF2-40B4-BE49-F238E27FC236}">
                  <a16:creationId xmlns:a16="http://schemas.microsoft.com/office/drawing/2014/main" id="{D4EB443D-82BE-E344-B5A3-2F86AFEAC7AC}"/>
                </a:ext>
              </a:extLst>
            </p:cNvPr>
            <p:cNvSpPr/>
            <p:nvPr/>
          </p:nvSpPr>
          <p:spPr>
            <a:xfrm rot="5400000">
              <a:off x="7252434" y="1882734"/>
              <a:ext cx="137356" cy="3065553"/>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8" name="Left Brace 67">
              <a:extLst>
                <a:ext uri="{FF2B5EF4-FFF2-40B4-BE49-F238E27FC236}">
                  <a16:creationId xmlns:a16="http://schemas.microsoft.com/office/drawing/2014/main" id="{2B4BC0EB-F12B-7043-BF8F-40852B335856}"/>
                </a:ext>
              </a:extLst>
            </p:cNvPr>
            <p:cNvSpPr/>
            <p:nvPr/>
          </p:nvSpPr>
          <p:spPr>
            <a:xfrm rot="5400000">
              <a:off x="9824590" y="2447952"/>
              <a:ext cx="137355" cy="193512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4" name="Left Brace 83">
              <a:extLst>
                <a:ext uri="{FF2B5EF4-FFF2-40B4-BE49-F238E27FC236}">
                  <a16:creationId xmlns:a16="http://schemas.microsoft.com/office/drawing/2014/main" id="{F99E05C5-33FF-2C41-8C38-CD5A5ABAF438}"/>
                </a:ext>
              </a:extLst>
            </p:cNvPr>
            <p:cNvSpPr/>
            <p:nvPr userDrawn="1"/>
          </p:nvSpPr>
          <p:spPr>
            <a:xfrm rot="5400000">
              <a:off x="11295692" y="2963632"/>
              <a:ext cx="137354" cy="90376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6" name="Group 5">
            <a:extLst>
              <a:ext uri="{FF2B5EF4-FFF2-40B4-BE49-F238E27FC236}">
                <a16:creationId xmlns:a16="http://schemas.microsoft.com/office/drawing/2014/main" id="{2DC07A68-BCDB-2843-B8A2-AEB2604FB5C9}"/>
              </a:ext>
            </a:extLst>
          </p:cNvPr>
          <p:cNvGrpSpPr/>
          <p:nvPr userDrawn="1"/>
        </p:nvGrpSpPr>
        <p:grpSpPr>
          <a:xfrm>
            <a:off x="5788334" y="3890006"/>
            <a:ext cx="4643262" cy="582033"/>
            <a:chOff x="5788335" y="3923409"/>
            <a:chExt cx="4643262" cy="582033"/>
          </a:xfrm>
        </p:grpSpPr>
        <p:sp>
          <p:nvSpPr>
            <p:cNvPr id="39" name="Rectangle 38">
              <a:extLst>
                <a:ext uri="{FF2B5EF4-FFF2-40B4-BE49-F238E27FC236}">
                  <a16:creationId xmlns:a16="http://schemas.microsoft.com/office/drawing/2014/main" id="{2D253AE8-30D4-4225-8030-6894D59F21AC}"/>
                </a:ext>
              </a:extLst>
            </p:cNvPr>
            <p:cNvSpPr/>
            <p:nvPr/>
          </p:nvSpPr>
          <p:spPr>
            <a:xfrm>
              <a:off x="5826081" y="4343859"/>
              <a:ext cx="4398640" cy="161583"/>
            </a:xfrm>
            <a:prstGeom prst="rect">
              <a:avLst/>
            </a:prstGeom>
          </p:spPr>
          <p:txBody>
            <a:bodyPr wrap="none" lIns="0" tIns="0" rIns="0" bIns="0">
              <a:spAutoFit/>
            </a:bodyPr>
            <a:lstStyle/>
            <a:p>
              <a:r>
                <a:rPr lang="en-US" sz="1050"/>
                <a:t>For Research Use Only | </a:t>
              </a:r>
              <a:r>
                <a:rPr lang="en-US" sz="1050" err="1"/>
                <a:t>authoremail@thermofisher.com</a:t>
              </a:r>
              <a:r>
                <a:rPr lang="en-US" sz="1050"/>
                <a:t> | 5-August-2020</a:t>
              </a:r>
            </a:p>
          </p:txBody>
        </p:sp>
        <p:sp>
          <p:nvSpPr>
            <p:cNvPr id="87" name="Rectangle 86">
              <a:extLst>
                <a:ext uri="{FF2B5EF4-FFF2-40B4-BE49-F238E27FC236}">
                  <a16:creationId xmlns:a16="http://schemas.microsoft.com/office/drawing/2014/main" id="{220D7651-D269-A54E-BCE1-39173FB1F79F}"/>
                </a:ext>
              </a:extLst>
            </p:cNvPr>
            <p:cNvSpPr/>
            <p:nvPr userDrawn="1"/>
          </p:nvSpPr>
          <p:spPr>
            <a:xfrm>
              <a:off x="6138216" y="3923412"/>
              <a:ext cx="764953" cy="215444"/>
            </a:xfrm>
            <a:prstGeom prst="rect">
              <a:avLst/>
            </a:prstGeom>
          </p:spPr>
          <p:txBody>
            <a:bodyPr wrap="none">
              <a:spAutoFit/>
            </a:bodyPr>
            <a:lstStyle/>
            <a:p>
              <a:pPr algn="ctr"/>
              <a:r>
                <a:rPr lang="en-US" sz="800" b="1"/>
                <a:t>Disclaimers</a:t>
              </a:r>
            </a:p>
          </p:txBody>
        </p:sp>
        <p:sp>
          <p:nvSpPr>
            <p:cNvPr id="88" name="Rectangle 87">
              <a:extLst>
                <a:ext uri="{FF2B5EF4-FFF2-40B4-BE49-F238E27FC236}">
                  <a16:creationId xmlns:a16="http://schemas.microsoft.com/office/drawing/2014/main" id="{20E99F6E-6B65-1E43-8606-EC8AA34E2356}"/>
                </a:ext>
              </a:extLst>
            </p:cNvPr>
            <p:cNvSpPr/>
            <p:nvPr userDrawn="1"/>
          </p:nvSpPr>
          <p:spPr>
            <a:xfrm>
              <a:off x="7583652" y="3923410"/>
              <a:ext cx="1380507" cy="215444"/>
            </a:xfrm>
            <a:prstGeom prst="rect">
              <a:avLst/>
            </a:prstGeom>
          </p:spPr>
          <p:txBody>
            <a:bodyPr wrap="none">
              <a:spAutoFit/>
            </a:bodyPr>
            <a:lstStyle/>
            <a:p>
              <a:pPr algn="ctr"/>
              <a:r>
                <a:rPr lang="en-US" sz="800" b="1"/>
                <a:t>Author’s email</a:t>
              </a:r>
              <a:r>
                <a:rPr lang="en-US" sz="800" b="0"/>
                <a:t> (Optional)</a:t>
              </a:r>
              <a:endParaRPr lang="en-US" sz="800" b="1"/>
            </a:p>
          </p:txBody>
        </p:sp>
        <p:sp>
          <p:nvSpPr>
            <p:cNvPr id="89" name="Rectangle 88">
              <a:extLst>
                <a:ext uri="{FF2B5EF4-FFF2-40B4-BE49-F238E27FC236}">
                  <a16:creationId xmlns:a16="http://schemas.microsoft.com/office/drawing/2014/main" id="{11DDA901-77B4-C14D-A259-991F339BCE31}"/>
                </a:ext>
              </a:extLst>
            </p:cNvPr>
            <p:cNvSpPr/>
            <p:nvPr userDrawn="1"/>
          </p:nvSpPr>
          <p:spPr>
            <a:xfrm>
              <a:off x="9028648" y="3923409"/>
              <a:ext cx="1402949" cy="215444"/>
            </a:xfrm>
            <a:prstGeom prst="rect">
              <a:avLst/>
            </a:prstGeom>
          </p:spPr>
          <p:txBody>
            <a:bodyPr wrap="none">
              <a:spAutoFit/>
            </a:bodyPr>
            <a:lstStyle/>
            <a:p>
              <a:pPr algn="ctr"/>
              <a:r>
                <a:rPr lang="en-US" sz="800" b="1"/>
                <a:t>Date published</a:t>
              </a:r>
              <a:r>
                <a:rPr lang="en-US" sz="800" b="0"/>
                <a:t> (Optional)</a:t>
              </a:r>
              <a:endParaRPr lang="en-US" sz="800" b="1"/>
            </a:p>
          </p:txBody>
        </p:sp>
        <p:sp>
          <p:nvSpPr>
            <p:cNvPr id="90" name="Left Brace 89">
              <a:extLst>
                <a:ext uri="{FF2B5EF4-FFF2-40B4-BE49-F238E27FC236}">
                  <a16:creationId xmlns:a16="http://schemas.microsoft.com/office/drawing/2014/main" id="{CF3AA15B-0D57-184C-A86A-FEB4A0B54E61}"/>
                </a:ext>
              </a:extLst>
            </p:cNvPr>
            <p:cNvSpPr/>
            <p:nvPr userDrawn="1"/>
          </p:nvSpPr>
          <p:spPr>
            <a:xfrm rot="5400000">
              <a:off x="6449400" y="3511270"/>
              <a:ext cx="137356" cy="1459485"/>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1" name="Left Brace 90">
              <a:extLst>
                <a:ext uri="{FF2B5EF4-FFF2-40B4-BE49-F238E27FC236}">
                  <a16:creationId xmlns:a16="http://schemas.microsoft.com/office/drawing/2014/main" id="{91627E8E-568F-1747-A212-4664A2213D18}"/>
                </a:ext>
              </a:extLst>
            </p:cNvPr>
            <p:cNvSpPr/>
            <p:nvPr userDrawn="1"/>
          </p:nvSpPr>
          <p:spPr>
            <a:xfrm rot="5400000">
              <a:off x="8200860" y="3273454"/>
              <a:ext cx="137355" cy="193512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2" name="Left Brace 91">
              <a:extLst>
                <a:ext uri="{FF2B5EF4-FFF2-40B4-BE49-F238E27FC236}">
                  <a16:creationId xmlns:a16="http://schemas.microsoft.com/office/drawing/2014/main" id="{B0909EE3-0761-E34E-81D3-9D5CC6CCA561}"/>
                </a:ext>
              </a:extLst>
            </p:cNvPr>
            <p:cNvSpPr/>
            <p:nvPr userDrawn="1"/>
          </p:nvSpPr>
          <p:spPr>
            <a:xfrm rot="5400000">
              <a:off x="9657523" y="3789134"/>
              <a:ext cx="137354" cy="90376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5" name="Group 4">
            <a:extLst>
              <a:ext uri="{FF2B5EF4-FFF2-40B4-BE49-F238E27FC236}">
                <a16:creationId xmlns:a16="http://schemas.microsoft.com/office/drawing/2014/main" id="{5547D4DB-A88D-5049-9C5B-32D0C1262519}"/>
              </a:ext>
            </a:extLst>
          </p:cNvPr>
          <p:cNvGrpSpPr/>
          <p:nvPr userDrawn="1"/>
        </p:nvGrpSpPr>
        <p:grpSpPr>
          <a:xfrm>
            <a:off x="5788335" y="4788135"/>
            <a:ext cx="4773443" cy="587731"/>
            <a:chOff x="5788336" y="4908696"/>
            <a:chExt cx="4773443" cy="587731"/>
          </a:xfrm>
        </p:grpSpPr>
        <p:sp>
          <p:nvSpPr>
            <p:cNvPr id="70" name="Rectangle 69">
              <a:extLst>
                <a:ext uri="{FF2B5EF4-FFF2-40B4-BE49-F238E27FC236}">
                  <a16:creationId xmlns:a16="http://schemas.microsoft.com/office/drawing/2014/main" id="{DA3765F3-2DE6-184B-9871-C97E4EA7B993}"/>
                </a:ext>
              </a:extLst>
            </p:cNvPr>
            <p:cNvSpPr/>
            <p:nvPr/>
          </p:nvSpPr>
          <p:spPr>
            <a:xfrm>
              <a:off x="5842103" y="5334844"/>
              <a:ext cx="4528484" cy="161583"/>
            </a:xfrm>
            <a:prstGeom prst="rect">
              <a:avLst/>
            </a:prstGeom>
          </p:spPr>
          <p:txBody>
            <a:bodyPr wrap="none" lIns="0" tIns="0" rIns="0" bIns="0">
              <a:spAutoFit/>
            </a:bodyPr>
            <a:lstStyle/>
            <a:p>
              <a:r>
                <a:rPr lang="en-US" sz="1050"/>
                <a:t>Proprietary &amp; Confidential | </a:t>
              </a:r>
              <a:r>
                <a:rPr lang="en-US" sz="1050" err="1"/>
                <a:t>authoremail@thermofisher.com</a:t>
              </a:r>
              <a:r>
                <a:rPr lang="en-US" sz="1050"/>
                <a:t> | 5-August-2020</a:t>
              </a:r>
            </a:p>
          </p:txBody>
        </p:sp>
        <p:sp>
          <p:nvSpPr>
            <p:cNvPr id="93" name="Rectangle 92">
              <a:extLst>
                <a:ext uri="{FF2B5EF4-FFF2-40B4-BE49-F238E27FC236}">
                  <a16:creationId xmlns:a16="http://schemas.microsoft.com/office/drawing/2014/main" id="{0662301A-4740-1E4A-99D4-4C7CDFD8B49B}"/>
                </a:ext>
              </a:extLst>
            </p:cNvPr>
            <p:cNvSpPr/>
            <p:nvPr userDrawn="1"/>
          </p:nvSpPr>
          <p:spPr>
            <a:xfrm>
              <a:off x="6205057" y="4908699"/>
              <a:ext cx="764953" cy="215444"/>
            </a:xfrm>
            <a:prstGeom prst="rect">
              <a:avLst/>
            </a:prstGeom>
          </p:spPr>
          <p:txBody>
            <a:bodyPr wrap="none">
              <a:spAutoFit/>
            </a:bodyPr>
            <a:lstStyle/>
            <a:p>
              <a:pPr algn="ctr"/>
              <a:r>
                <a:rPr lang="en-US" sz="800" b="1"/>
                <a:t>Disclaimers</a:t>
              </a:r>
            </a:p>
          </p:txBody>
        </p:sp>
        <p:sp>
          <p:nvSpPr>
            <p:cNvPr id="94" name="Rectangle 93">
              <a:extLst>
                <a:ext uri="{FF2B5EF4-FFF2-40B4-BE49-F238E27FC236}">
                  <a16:creationId xmlns:a16="http://schemas.microsoft.com/office/drawing/2014/main" id="{04C7B6C7-EC70-7D40-A4C5-05A267DCD6DA}"/>
                </a:ext>
              </a:extLst>
            </p:cNvPr>
            <p:cNvSpPr/>
            <p:nvPr userDrawn="1"/>
          </p:nvSpPr>
          <p:spPr>
            <a:xfrm>
              <a:off x="7713834" y="4908697"/>
              <a:ext cx="1380507" cy="215444"/>
            </a:xfrm>
            <a:prstGeom prst="rect">
              <a:avLst/>
            </a:prstGeom>
          </p:spPr>
          <p:txBody>
            <a:bodyPr wrap="none">
              <a:spAutoFit/>
            </a:bodyPr>
            <a:lstStyle/>
            <a:p>
              <a:pPr algn="ctr"/>
              <a:r>
                <a:rPr lang="en-US" sz="800" b="1"/>
                <a:t>Author’s email</a:t>
              </a:r>
              <a:r>
                <a:rPr lang="en-US" sz="800" b="0"/>
                <a:t> (Optional)</a:t>
              </a:r>
              <a:endParaRPr lang="en-US" sz="800" b="1"/>
            </a:p>
          </p:txBody>
        </p:sp>
        <p:sp>
          <p:nvSpPr>
            <p:cNvPr id="95" name="Rectangle 94">
              <a:extLst>
                <a:ext uri="{FF2B5EF4-FFF2-40B4-BE49-F238E27FC236}">
                  <a16:creationId xmlns:a16="http://schemas.microsoft.com/office/drawing/2014/main" id="{DDFAB2D7-0A5B-724F-99BA-4E89383C2B34}"/>
                </a:ext>
              </a:extLst>
            </p:cNvPr>
            <p:cNvSpPr/>
            <p:nvPr userDrawn="1"/>
          </p:nvSpPr>
          <p:spPr>
            <a:xfrm>
              <a:off x="9158830" y="4908696"/>
              <a:ext cx="1402949" cy="215444"/>
            </a:xfrm>
            <a:prstGeom prst="rect">
              <a:avLst/>
            </a:prstGeom>
          </p:spPr>
          <p:txBody>
            <a:bodyPr wrap="none">
              <a:spAutoFit/>
            </a:bodyPr>
            <a:lstStyle/>
            <a:p>
              <a:pPr algn="ctr"/>
              <a:r>
                <a:rPr lang="en-US" sz="800" b="1"/>
                <a:t>Date published</a:t>
              </a:r>
              <a:r>
                <a:rPr lang="en-US" sz="800" b="0"/>
                <a:t> (Optional)</a:t>
              </a:r>
              <a:endParaRPr lang="en-US" sz="800" b="1"/>
            </a:p>
          </p:txBody>
        </p:sp>
        <p:sp>
          <p:nvSpPr>
            <p:cNvPr id="96" name="Left Brace 95">
              <a:extLst>
                <a:ext uri="{FF2B5EF4-FFF2-40B4-BE49-F238E27FC236}">
                  <a16:creationId xmlns:a16="http://schemas.microsoft.com/office/drawing/2014/main" id="{544F13B6-76EE-CC4D-A7CA-B63CCE7DC774}"/>
                </a:ext>
              </a:extLst>
            </p:cNvPr>
            <p:cNvSpPr/>
            <p:nvPr userDrawn="1"/>
          </p:nvSpPr>
          <p:spPr>
            <a:xfrm rot="5400000">
              <a:off x="6520304" y="4425654"/>
              <a:ext cx="137356" cy="1601292"/>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7" name="Left Brace 96">
              <a:extLst>
                <a:ext uri="{FF2B5EF4-FFF2-40B4-BE49-F238E27FC236}">
                  <a16:creationId xmlns:a16="http://schemas.microsoft.com/office/drawing/2014/main" id="{CE8E6BC8-A00E-F748-BAB1-06B8485A72AA}"/>
                </a:ext>
              </a:extLst>
            </p:cNvPr>
            <p:cNvSpPr/>
            <p:nvPr userDrawn="1"/>
          </p:nvSpPr>
          <p:spPr>
            <a:xfrm rot="5400000">
              <a:off x="8331042" y="4258741"/>
              <a:ext cx="137355" cy="193512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8" name="Left Brace 97">
              <a:extLst>
                <a:ext uri="{FF2B5EF4-FFF2-40B4-BE49-F238E27FC236}">
                  <a16:creationId xmlns:a16="http://schemas.microsoft.com/office/drawing/2014/main" id="{889E3AE0-344F-1641-902E-B7F3805E81B1}"/>
                </a:ext>
              </a:extLst>
            </p:cNvPr>
            <p:cNvSpPr/>
            <p:nvPr userDrawn="1"/>
          </p:nvSpPr>
          <p:spPr>
            <a:xfrm rot="5400000">
              <a:off x="9787705" y="4774421"/>
              <a:ext cx="137354" cy="90376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4" name="Group 3">
            <a:extLst>
              <a:ext uri="{FF2B5EF4-FFF2-40B4-BE49-F238E27FC236}">
                <a16:creationId xmlns:a16="http://schemas.microsoft.com/office/drawing/2014/main" id="{E9C94B1B-22EB-0F46-8139-CF807DB87CC2}"/>
              </a:ext>
            </a:extLst>
          </p:cNvPr>
          <p:cNvGrpSpPr/>
          <p:nvPr userDrawn="1"/>
        </p:nvGrpSpPr>
        <p:grpSpPr>
          <a:xfrm>
            <a:off x="5788335" y="5691963"/>
            <a:ext cx="3144609" cy="566939"/>
            <a:chOff x="5826081" y="5638800"/>
            <a:chExt cx="3144609" cy="566939"/>
          </a:xfrm>
        </p:grpSpPr>
        <p:sp>
          <p:nvSpPr>
            <p:cNvPr id="58" name="Rectangle 57">
              <a:extLst>
                <a:ext uri="{FF2B5EF4-FFF2-40B4-BE49-F238E27FC236}">
                  <a16:creationId xmlns:a16="http://schemas.microsoft.com/office/drawing/2014/main" id="{46FD419A-E86C-1745-9E7B-C8DF02B5FD90}"/>
                </a:ext>
              </a:extLst>
            </p:cNvPr>
            <p:cNvSpPr/>
            <p:nvPr/>
          </p:nvSpPr>
          <p:spPr>
            <a:xfrm>
              <a:off x="5826081" y="6068384"/>
              <a:ext cx="2917465" cy="137355"/>
            </a:xfrm>
            <a:prstGeom prst="rect">
              <a:avLst/>
            </a:prstGeom>
          </p:spPr>
          <p:txBody>
            <a:bodyPr wrap="none" lIns="0" tIns="0" rIns="0" bIns="0">
              <a:sp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50"/>
                <a:t> authoremail@thermofisher.com | 5-August-2020</a:t>
              </a:r>
            </a:p>
          </p:txBody>
        </p:sp>
        <p:sp>
          <p:nvSpPr>
            <p:cNvPr id="99" name="Rectangle 98">
              <a:extLst>
                <a:ext uri="{FF2B5EF4-FFF2-40B4-BE49-F238E27FC236}">
                  <a16:creationId xmlns:a16="http://schemas.microsoft.com/office/drawing/2014/main" id="{D4600AD8-6C66-E84E-AD96-C01F836DD7B4}"/>
                </a:ext>
              </a:extLst>
            </p:cNvPr>
            <p:cNvSpPr/>
            <p:nvPr userDrawn="1"/>
          </p:nvSpPr>
          <p:spPr>
            <a:xfrm>
              <a:off x="6092290" y="5638801"/>
              <a:ext cx="1412567" cy="215444"/>
            </a:xfrm>
            <a:prstGeom prst="rect">
              <a:avLst/>
            </a:prstGeom>
          </p:spPr>
          <p:txBody>
            <a:bodyPr wrap="none">
              <a:spAutoFit/>
            </a:bodyPr>
            <a:lstStyle/>
            <a:p>
              <a:pPr algn="ctr"/>
              <a:r>
                <a:rPr lang="en-US" sz="800" b="1"/>
                <a:t>Author’s email </a:t>
              </a:r>
              <a:r>
                <a:rPr lang="en-US" sz="800" b="0"/>
                <a:t>(Optional)</a:t>
              </a:r>
            </a:p>
          </p:txBody>
        </p:sp>
        <p:sp>
          <p:nvSpPr>
            <p:cNvPr id="100" name="Rectangle 99">
              <a:extLst>
                <a:ext uri="{FF2B5EF4-FFF2-40B4-BE49-F238E27FC236}">
                  <a16:creationId xmlns:a16="http://schemas.microsoft.com/office/drawing/2014/main" id="{6D59122D-D94B-A440-B8CF-8558F9A1E3D1}"/>
                </a:ext>
              </a:extLst>
            </p:cNvPr>
            <p:cNvSpPr/>
            <p:nvPr userDrawn="1"/>
          </p:nvSpPr>
          <p:spPr>
            <a:xfrm>
              <a:off x="7538888" y="5638800"/>
              <a:ext cx="1431802" cy="215444"/>
            </a:xfrm>
            <a:prstGeom prst="rect">
              <a:avLst/>
            </a:prstGeom>
          </p:spPr>
          <p:txBody>
            <a:bodyPr wrap="none">
              <a:spAutoFit/>
            </a:bodyPr>
            <a:lstStyle/>
            <a:p>
              <a:pPr algn="ctr"/>
              <a:r>
                <a:rPr lang="en-US" sz="800" b="1"/>
                <a:t>Date published </a:t>
              </a:r>
              <a:r>
                <a:rPr lang="en-US" sz="800" b="0"/>
                <a:t>(Optional)</a:t>
              </a:r>
              <a:r>
                <a:rPr lang="en-US" sz="800" b="1"/>
                <a:t> </a:t>
              </a:r>
            </a:p>
          </p:txBody>
        </p:sp>
        <p:sp>
          <p:nvSpPr>
            <p:cNvPr id="101" name="Left Brace 100">
              <a:extLst>
                <a:ext uri="{FF2B5EF4-FFF2-40B4-BE49-F238E27FC236}">
                  <a16:creationId xmlns:a16="http://schemas.microsoft.com/office/drawing/2014/main" id="{AEE82C77-552E-364A-81F1-E9B9FCA2D6FD}"/>
                </a:ext>
              </a:extLst>
            </p:cNvPr>
            <p:cNvSpPr/>
            <p:nvPr userDrawn="1"/>
          </p:nvSpPr>
          <p:spPr>
            <a:xfrm rot="5400000">
              <a:off x="6725526" y="4988845"/>
              <a:ext cx="137355" cy="193512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2" name="Left Brace 101">
              <a:extLst>
                <a:ext uri="{FF2B5EF4-FFF2-40B4-BE49-F238E27FC236}">
                  <a16:creationId xmlns:a16="http://schemas.microsoft.com/office/drawing/2014/main" id="{10100607-49A2-2D47-BA45-46A4B8279F34}"/>
                </a:ext>
              </a:extLst>
            </p:cNvPr>
            <p:cNvSpPr/>
            <p:nvPr userDrawn="1"/>
          </p:nvSpPr>
          <p:spPr>
            <a:xfrm rot="5400000">
              <a:off x="8182189" y="5504525"/>
              <a:ext cx="137354" cy="90376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394887003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efault title slide 1">
    <p:bg>
      <p:bgPr>
        <a:gradFill>
          <a:gsLst>
            <a:gs pos="0">
              <a:schemeClr val="bg1"/>
            </a:gs>
            <a:gs pos="41000">
              <a:schemeClr val="bg1"/>
            </a:gs>
            <a:gs pos="63000">
              <a:schemeClr val="bg2"/>
            </a:gs>
          </a:gsLst>
          <a:lin ang="1080000" scaled="0"/>
        </a:gra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77DF418-A9B4-B748-8DE9-21DBD7EA3747}"/>
              </a:ext>
            </a:extLst>
          </p:cNvPr>
          <p:cNvPicPr>
            <a:picLocks noChangeAspect="1"/>
          </p:cNvPicPr>
          <p:nvPr userDrawn="1"/>
        </p:nvPicPr>
        <p:blipFill>
          <a:blip r:embed="rId2" cstate="screen">
            <a:extLst>
              <a:ext uri="{28A0092B-C50C-407E-A947-70E740481C1C}">
                <a14:useLocalDpi xmlns:a14="http://schemas.microsoft.com/office/drawing/2010/main"/>
              </a:ext>
            </a:extLst>
          </a:blip>
          <a:srcRect l="2177" r="2177"/>
          <a:stretch>
            <a:fillRect/>
          </a:stretch>
        </p:blipFill>
        <p:spPr>
          <a:xfrm>
            <a:off x="5560459" y="1"/>
            <a:ext cx="6631541" cy="6857999"/>
          </a:xfrm>
          <a:custGeom>
            <a:avLst/>
            <a:gdLst>
              <a:gd name="connsiteX0" fmla="*/ 2183862 w 6631541"/>
              <a:gd name="connsiteY0" fmla="*/ 0 h 6857999"/>
              <a:gd name="connsiteX1" fmla="*/ 6631541 w 6631541"/>
              <a:gd name="connsiteY1" fmla="*/ 0 h 6857999"/>
              <a:gd name="connsiteX2" fmla="*/ 6631541 w 6631541"/>
              <a:gd name="connsiteY2" fmla="*/ 6857999 h 6857999"/>
              <a:gd name="connsiteX3" fmla="*/ 0 w 66315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6631541" h="6857999">
                <a:moveTo>
                  <a:pt x="2183862" y="0"/>
                </a:moveTo>
                <a:lnTo>
                  <a:pt x="6631541" y="0"/>
                </a:lnTo>
                <a:lnTo>
                  <a:pt x="6631541" y="6857999"/>
                </a:lnTo>
                <a:lnTo>
                  <a:pt x="0" y="6857999"/>
                </a:lnTo>
                <a:close/>
              </a:path>
            </a:pathLst>
          </a:custGeom>
        </p:spPr>
      </p:pic>
      <p:grpSp>
        <p:nvGrpSpPr>
          <p:cNvPr id="7" name="Group 6">
            <a:extLst>
              <a:ext uri="{FF2B5EF4-FFF2-40B4-BE49-F238E27FC236}">
                <a16:creationId xmlns:a16="http://schemas.microsoft.com/office/drawing/2014/main" id="{B1F511C6-A535-A245-B123-CC04435D2DAF}"/>
              </a:ext>
            </a:extLst>
          </p:cNvPr>
          <p:cNvGrpSpPr/>
          <p:nvPr userDrawn="1"/>
        </p:nvGrpSpPr>
        <p:grpSpPr>
          <a:xfrm>
            <a:off x="304799" y="0"/>
            <a:ext cx="2427681" cy="1044934"/>
            <a:chOff x="0" y="0"/>
            <a:chExt cx="2447693" cy="1053548"/>
          </a:xfrm>
        </p:grpSpPr>
        <p:sp>
          <p:nvSpPr>
            <p:cNvPr id="8" name="Parallelogram 7">
              <a:extLst>
                <a:ext uri="{FF2B5EF4-FFF2-40B4-BE49-F238E27FC236}">
                  <a16:creationId xmlns:a16="http://schemas.microsoft.com/office/drawing/2014/main" id="{6399281C-FD14-2942-9A9B-13B5E50B7517}"/>
                </a:ext>
              </a:extLst>
            </p:cNvPr>
            <p:cNvSpPr/>
            <p:nvPr userDrawn="1"/>
          </p:nvSpPr>
          <p:spPr bwMode="auto">
            <a:xfrm>
              <a:off x="0" y="0"/>
              <a:ext cx="2447693" cy="1053548"/>
            </a:xfrm>
            <a:prstGeom prst="parallelogram">
              <a:avLst>
                <a:gd name="adj" fmla="val 0"/>
              </a:avLst>
            </a:prstGeom>
            <a:solidFill>
              <a:srgbClr val="E7131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a:latin typeface="Arial" pitchFamily="124" charset="0"/>
                </a:rPr>
                <a:t>               </a:t>
              </a:r>
            </a:p>
          </p:txBody>
        </p:sp>
        <p:pic>
          <p:nvPicPr>
            <p:cNvPr id="9" name="Picture 8">
              <a:extLst>
                <a:ext uri="{FF2B5EF4-FFF2-40B4-BE49-F238E27FC236}">
                  <a16:creationId xmlns:a16="http://schemas.microsoft.com/office/drawing/2014/main" id="{7D60AD95-BD80-6049-9976-D024EC4ECDE8}"/>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35820" y="154984"/>
              <a:ext cx="2178058" cy="756021"/>
            </a:xfrm>
            <a:prstGeom prst="rect">
              <a:avLst/>
            </a:prstGeom>
          </p:spPr>
        </p:pic>
      </p:grpSp>
      <p:grpSp>
        <p:nvGrpSpPr>
          <p:cNvPr id="29" name="Group 28">
            <a:extLst>
              <a:ext uri="{FF2B5EF4-FFF2-40B4-BE49-F238E27FC236}">
                <a16:creationId xmlns:a16="http://schemas.microsoft.com/office/drawing/2014/main" id="{C22F9FBA-8765-F543-9501-7F99893993AB}"/>
              </a:ext>
            </a:extLst>
          </p:cNvPr>
          <p:cNvGrpSpPr/>
          <p:nvPr userDrawn="1"/>
        </p:nvGrpSpPr>
        <p:grpSpPr>
          <a:xfrm>
            <a:off x="283193" y="5970590"/>
            <a:ext cx="5053203" cy="441233"/>
            <a:chOff x="5155556" y="6168462"/>
            <a:chExt cx="5053203" cy="441233"/>
          </a:xfrm>
        </p:grpSpPr>
        <p:sp>
          <p:nvSpPr>
            <p:cNvPr id="30" name="TextBox 29">
              <a:extLst>
                <a:ext uri="{FF2B5EF4-FFF2-40B4-BE49-F238E27FC236}">
                  <a16:creationId xmlns:a16="http://schemas.microsoft.com/office/drawing/2014/main" id="{AA7B3D6A-876F-BF4D-9180-BC91EE9697B0}"/>
                </a:ext>
              </a:extLst>
            </p:cNvPr>
            <p:cNvSpPr txBox="1"/>
            <p:nvPr userDrawn="1"/>
          </p:nvSpPr>
          <p:spPr>
            <a:xfrm>
              <a:off x="5656050" y="6168462"/>
              <a:ext cx="4552709" cy="441233"/>
            </a:xfrm>
            <a:prstGeom prst="rect">
              <a:avLst/>
            </a:prstGeom>
            <a:noFill/>
          </p:spPr>
          <p:txBody>
            <a:bodyPr vert="horz" wrap="square" lIns="0" tIns="0" rIns="0" bIns="0" rtlCol="0" anchor="ctr" anchorCtr="0">
              <a:noAutofit/>
            </a:bodyPr>
            <a:lstStyle/>
            <a:p>
              <a:pPr algn="l"/>
              <a:r>
                <a:rPr lang="en-US" sz="2000">
                  <a:solidFill>
                    <a:schemeClr val="tx1"/>
                  </a:solidFill>
                  <a:latin typeface="Arial"/>
                </a:rPr>
                <a:t>The world leader in serving science</a:t>
              </a:r>
            </a:p>
          </p:txBody>
        </p:sp>
        <p:sp>
          <p:nvSpPr>
            <p:cNvPr id="31" name="Parallelogram 30">
              <a:extLst>
                <a:ext uri="{FF2B5EF4-FFF2-40B4-BE49-F238E27FC236}">
                  <a16:creationId xmlns:a16="http://schemas.microsoft.com/office/drawing/2014/main" id="{05D00626-6EB1-244B-9ADB-13C2AE5E1907}"/>
                </a:ext>
              </a:extLst>
            </p:cNvPr>
            <p:cNvSpPr/>
            <p:nvPr userDrawn="1"/>
          </p:nvSpPr>
          <p:spPr bwMode="auto">
            <a:xfrm>
              <a:off x="5155556" y="6302295"/>
              <a:ext cx="310510" cy="188737"/>
            </a:xfrm>
            <a:prstGeom prst="parallelogram">
              <a:avLst>
                <a:gd name="adj" fmla="val 31844"/>
              </a:avLst>
            </a:prstGeom>
            <a:solidFill>
              <a:srgbClr val="E7131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a:latin typeface="Arial" pitchFamily="124" charset="0"/>
                </a:rPr>
                <a:t>               </a:t>
              </a:r>
            </a:p>
          </p:txBody>
        </p:sp>
      </p:grpSp>
      <p:sp>
        <p:nvSpPr>
          <p:cNvPr id="2" name="Footer Placeholder 1">
            <a:extLst>
              <a:ext uri="{FF2B5EF4-FFF2-40B4-BE49-F238E27FC236}">
                <a16:creationId xmlns:a16="http://schemas.microsoft.com/office/drawing/2014/main" id="{BA129332-E471-D44D-8711-996E85A9EE29}"/>
              </a:ext>
            </a:extLst>
          </p:cNvPr>
          <p:cNvSpPr>
            <a:spLocks noGrp="1"/>
          </p:cNvSpPr>
          <p:nvPr>
            <p:ph type="ftr" sz="quarter" idx="11"/>
          </p:nvPr>
        </p:nvSpPr>
        <p:spPr>
          <a:xfrm>
            <a:off x="304800" y="6553200"/>
            <a:ext cx="7620000" cy="304799"/>
          </a:xfrm>
        </p:spPr>
        <p:txBody>
          <a:bodyPr/>
          <a:lstStyle/>
          <a:p>
            <a:r>
              <a:rPr lang="en-US"/>
              <a:t>Proprietary &amp; Confidential | Molecular Biology STRAP | XX-April-2021</a:t>
            </a:r>
          </a:p>
        </p:txBody>
      </p:sp>
      <p:sp>
        <p:nvSpPr>
          <p:cNvPr id="3" name="Slide Number Placeholder 2">
            <a:extLst>
              <a:ext uri="{FF2B5EF4-FFF2-40B4-BE49-F238E27FC236}">
                <a16:creationId xmlns:a16="http://schemas.microsoft.com/office/drawing/2014/main" id="{B4F77913-5D2C-C141-AB22-388096EB8230}"/>
              </a:ext>
            </a:extLst>
          </p:cNvPr>
          <p:cNvSpPr>
            <a:spLocks noGrp="1"/>
          </p:cNvSpPr>
          <p:nvPr>
            <p:ph type="sldNum" sz="quarter" idx="12"/>
          </p:nvPr>
        </p:nvSpPr>
        <p:spPr/>
        <p:txBody>
          <a:bodyPr/>
          <a:lstStyle/>
          <a:p>
            <a:fld id="{89006F1E-66CD-4A4B-9370-B4A3080F0E6C}" type="slidenum">
              <a:rPr lang="en-US" smtClean="0"/>
              <a:pPr/>
              <a:t>‹#›</a:t>
            </a:fld>
            <a:endParaRPr lang="en-US"/>
          </a:p>
        </p:txBody>
      </p:sp>
      <p:sp>
        <p:nvSpPr>
          <p:cNvPr id="15" name="Text Placeholder 15">
            <a:extLst>
              <a:ext uri="{FF2B5EF4-FFF2-40B4-BE49-F238E27FC236}">
                <a16:creationId xmlns:a16="http://schemas.microsoft.com/office/drawing/2014/main" id="{8209BE38-5C75-4E48-AACA-BEDC106131D5}"/>
              </a:ext>
            </a:extLst>
          </p:cNvPr>
          <p:cNvSpPr>
            <a:spLocks noGrp="1"/>
          </p:cNvSpPr>
          <p:nvPr>
            <p:ph type="body" sz="quarter" idx="10" hasCustomPrompt="1"/>
          </p:nvPr>
        </p:nvSpPr>
        <p:spPr>
          <a:xfrm>
            <a:off x="304800" y="3903896"/>
            <a:ext cx="5791199" cy="308120"/>
          </a:xfrm>
          <a:prstGeom prst="rect">
            <a:avLst/>
          </a:prstGeom>
        </p:spPr>
        <p:txBody>
          <a:bodyPr lIns="0" tIns="0" rIns="0" bIns="0" anchor="b"/>
          <a:lstStyle>
            <a:lvl1pPr>
              <a:spcBef>
                <a:spcPts val="0"/>
              </a:spcBef>
              <a:spcAft>
                <a:spcPts val="0"/>
              </a:spcAft>
              <a:buFontTx/>
              <a:buNone/>
              <a:defRPr sz="1600" b="0" baseline="0">
                <a:solidFill>
                  <a:schemeClr val="tx2"/>
                </a:solidFill>
              </a:defRPr>
            </a:lvl1pPr>
            <a:lvl2pPr marL="114300" indent="4763">
              <a:spcAft>
                <a:spcPts val="0"/>
              </a:spcAft>
              <a:buFontTx/>
              <a:buNone/>
              <a:defRPr sz="1400" i="1" baseline="0">
                <a:solidFill>
                  <a:schemeClr val="tx1"/>
                </a:solidFill>
              </a:defRPr>
            </a:lvl2pPr>
          </a:lstStyle>
          <a:p>
            <a:pPr lvl="0"/>
            <a:r>
              <a:rPr lang="en-US"/>
              <a:t>Presenter name [16pt Arial] </a:t>
            </a:r>
          </a:p>
        </p:txBody>
      </p:sp>
      <p:sp>
        <p:nvSpPr>
          <p:cNvPr id="16" name="Title 16">
            <a:extLst>
              <a:ext uri="{FF2B5EF4-FFF2-40B4-BE49-F238E27FC236}">
                <a16:creationId xmlns:a16="http://schemas.microsoft.com/office/drawing/2014/main" id="{B2B8D3D1-6FA6-C04D-951C-FD0E7458C808}"/>
              </a:ext>
            </a:extLst>
          </p:cNvPr>
          <p:cNvSpPr>
            <a:spLocks noGrp="1"/>
          </p:cNvSpPr>
          <p:nvPr>
            <p:ph type="title" hasCustomPrompt="1"/>
          </p:nvPr>
        </p:nvSpPr>
        <p:spPr>
          <a:xfrm>
            <a:off x="304801" y="1726100"/>
            <a:ext cx="5791199" cy="2071868"/>
          </a:xfrm>
          <a:prstGeom prst="rect">
            <a:avLst/>
          </a:prstGeom>
          <a:noFill/>
        </p:spPr>
        <p:txBody>
          <a:bodyPr wrap="square" lIns="0" tIns="0" rIns="0" bIns="0" anchor="b">
            <a:noAutofit/>
          </a:bodyPr>
          <a:lstStyle>
            <a:lvl1pPr>
              <a:lnSpc>
                <a:spcPct val="110000"/>
              </a:lnSpc>
              <a:defRPr sz="2800" b="1">
                <a:solidFill>
                  <a:schemeClr val="tx1"/>
                </a:solidFill>
              </a:defRPr>
            </a:lvl1pPr>
          </a:lstStyle>
          <a:p>
            <a:r>
              <a:rPr lang="en-US"/>
              <a:t>Title [28pt Arial Bold] </a:t>
            </a:r>
          </a:p>
        </p:txBody>
      </p:sp>
      <p:sp>
        <p:nvSpPr>
          <p:cNvPr id="21" name="Text Placeholder 15">
            <a:extLst>
              <a:ext uri="{FF2B5EF4-FFF2-40B4-BE49-F238E27FC236}">
                <a16:creationId xmlns:a16="http://schemas.microsoft.com/office/drawing/2014/main" id="{046B4CC3-134E-7548-B9F5-FA5784CFD5AE}"/>
              </a:ext>
            </a:extLst>
          </p:cNvPr>
          <p:cNvSpPr>
            <a:spLocks noGrp="1"/>
          </p:cNvSpPr>
          <p:nvPr>
            <p:ph type="body" sz="quarter" idx="14" hasCustomPrompt="1"/>
          </p:nvPr>
        </p:nvSpPr>
        <p:spPr>
          <a:xfrm>
            <a:off x="304800" y="4255834"/>
            <a:ext cx="5791199" cy="1097215"/>
          </a:xfrm>
          <a:prstGeom prst="rect">
            <a:avLst/>
          </a:prstGeom>
        </p:spPr>
        <p:txBody>
          <a:bodyPr lIns="0" tIns="0" rIns="0" bIns="0" anchor="t">
            <a:normAutofit/>
          </a:bodyPr>
          <a:lstStyle>
            <a:lvl1pPr marL="179388" marR="0" indent="-179388" algn="l" defTabSz="914400" rtl="0" eaLnBrk="1" fontAlgn="auto" latinLnBrk="0" hangingPunct="1">
              <a:lnSpc>
                <a:spcPct val="120000"/>
              </a:lnSpc>
              <a:spcBef>
                <a:spcPts val="0"/>
              </a:spcBef>
              <a:spcAft>
                <a:spcPts val="0"/>
              </a:spcAft>
              <a:buClr>
                <a:schemeClr val="accent4"/>
              </a:buClr>
              <a:buSzPct val="100000"/>
              <a:buFontTx/>
              <a:buNone/>
              <a:tabLst/>
              <a:defRPr sz="1400" b="0" baseline="0">
                <a:solidFill>
                  <a:schemeClr val="tx1"/>
                </a:solidFill>
              </a:defRPr>
            </a:lvl1pPr>
            <a:lvl2pPr marL="114300" indent="4763">
              <a:spcAft>
                <a:spcPts val="0"/>
              </a:spcAft>
              <a:buFontTx/>
              <a:buNone/>
              <a:defRPr sz="1400" i="1" baseline="0">
                <a:solidFill>
                  <a:schemeClr val="tx1"/>
                </a:solidFill>
              </a:defRPr>
            </a:lvl2pPr>
          </a:lstStyle>
          <a:p>
            <a:pPr marL="411480" marR="0" lvl="0" indent="-411480" algn="l" defTabSz="914400" rtl="0" eaLnBrk="1" fontAlgn="auto" latinLnBrk="0" hangingPunct="1">
              <a:lnSpc>
                <a:spcPct val="120000"/>
              </a:lnSpc>
              <a:spcBef>
                <a:spcPts val="0"/>
              </a:spcBef>
              <a:spcAft>
                <a:spcPts val="0"/>
              </a:spcAft>
              <a:buClr>
                <a:schemeClr val="accent4"/>
              </a:buClr>
              <a:buSzPct val="100000"/>
              <a:buFontTx/>
              <a:buNone/>
              <a:tabLst/>
              <a:defRPr/>
            </a:pPr>
            <a:r>
              <a:rPr lang="en-US"/>
              <a:t>Presenter Title [14pt Arial]</a:t>
            </a:r>
            <a:br>
              <a:rPr lang="en-US"/>
            </a:br>
            <a:r>
              <a:rPr lang="en-US"/>
              <a:t>Date [14pt Arial] </a:t>
            </a:r>
          </a:p>
        </p:txBody>
      </p:sp>
    </p:spTree>
    <p:extLst>
      <p:ext uri="{BB962C8B-B14F-4D97-AF65-F5344CB8AC3E}">
        <p14:creationId xmlns:p14="http://schemas.microsoft.com/office/powerpoint/2010/main" val="294341912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efault title slide 2">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7D997E8D-54A7-034E-BB18-43BE9D8B72AF}"/>
              </a:ext>
            </a:extLst>
          </p:cNvPr>
          <p:cNvGrpSpPr/>
          <p:nvPr userDrawn="1"/>
        </p:nvGrpSpPr>
        <p:grpSpPr>
          <a:xfrm>
            <a:off x="10015961" y="24564"/>
            <a:ext cx="2176039" cy="6833436"/>
            <a:chOff x="10024536" y="24564"/>
            <a:chExt cx="2176039" cy="6833436"/>
          </a:xfrm>
        </p:grpSpPr>
        <p:sp>
          <p:nvSpPr>
            <p:cNvPr id="25" name="Freeform 24">
              <a:extLst>
                <a:ext uri="{FF2B5EF4-FFF2-40B4-BE49-F238E27FC236}">
                  <a16:creationId xmlns:a16="http://schemas.microsoft.com/office/drawing/2014/main" id="{72CE4260-6521-4748-93CA-26778BA70D03}"/>
                </a:ext>
              </a:extLst>
            </p:cNvPr>
            <p:cNvSpPr/>
            <p:nvPr userDrawn="1"/>
          </p:nvSpPr>
          <p:spPr bwMode="auto">
            <a:xfrm>
              <a:off x="10024536" y="24564"/>
              <a:ext cx="2176039" cy="6833436"/>
            </a:xfrm>
            <a:custGeom>
              <a:avLst/>
              <a:gdLst>
                <a:gd name="connsiteX0" fmla="*/ 1745961 w 1745961"/>
                <a:gd name="connsiteY0" fmla="*/ 0 h 5482857"/>
                <a:gd name="connsiteX1" fmla="*/ 1745961 w 1745961"/>
                <a:gd name="connsiteY1" fmla="*/ 5482857 h 5482857"/>
                <a:gd name="connsiteX2" fmla="*/ 0 w 1745961"/>
                <a:gd name="connsiteY2" fmla="*/ 5482857 h 5482857"/>
              </a:gdLst>
              <a:ahLst/>
              <a:cxnLst>
                <a:cxn ang="0">
                  <a:pos x="connsiteX0" y="connsiteY0"/>
                </a:cxn>
                <a:cxn ang="0">
                  <a:pos x="connsiteX1" y="connsiteY1"/>
                </a:cxn>
                <a:cxn ang="0">
                  <a:pos x="connsiteX2" y="connsiteY2"/>
                </a:cxn>
              </a:cxnLst>
              <a:rect l="l" t="t" r="r" b="b"/>
              <a:pathLst>
                <a:path w="1745961" h="5482857">
                  <a:moveTo>
                    <a:pt x="1745961" y="0"/>
                  </a:moveTo>
                  <a:lnTo>
                    <a:pt x="1745961" y="5482857"/>
                  </a:lnTo>
                  <a:lnTo>
                    <a:pt x="0" y="5482857"/>
                  </a:lnTo>
                  <a:close/>
                </a:path>
              </a:pathLst>
            </a:custGeom>
            <a:solidFill>
              <a:schemeClr val="tx2">
                <a:lumMod val="75000"/>
                <a:alpha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a:latin typeface="Arial" pitchFamily="124" charset="0"/>
                </a:rPr>
                <a:t> </a:t>
              </a:r>
            </a:p>
          </p:txBody>
        </p:sp>
        <p:sp>
          <p:nvSpPr>
            <p:cNvPr id="26" name="Freeform 25">
              <a:extLst>
                <a:ext uri="{FF2B5EF4-FFF2-40B4-BE49-F238E27FC236}">
                  <a16:creationId xmlns:a16="http://schemas.microsoft.com/office/drawing/2014/main" id="{312BDDE4-0CBA-1748-A49D-A2A5F2CE8891}"/>
                </a:ext>
              </a:extLst>
            </p:cNvPr>
            <p:cNvSpPr/>
            <p:nvPr userDrawn="1"/>
          </p:nvSpPr>
          <p:spPr bwMode="auto">
            <a:xfrm>
              <a:off x="10805603" y="2477356"/>
              <a:ext cx="1394972" cy="4380644"/>
            </a:xfrm>
            <a:custGeom>
              <a:avLst/>
              <a:gdLst>
                <a:gd name="connsiteX0" fmla="*/ 1745961 w 1745961"/>
                <a:gd name="connsiteY0" fmla="*/ 0 h 5482857"/>
                <a:gd name="connsiteX1" fmla="*/ 1745961 w 1745961"/>
                <a:gd name="connsiteY1" fmla="*/ 5482857 h 5482857"/>
                <a:gd name="connsiteX2" fmla="*/ 0 w 1745961"/>
                <a:gd name="connsiteY2" fmla="*/ 5482857 h 5482857"/>
              </a:gdLst>
              <a:ahLst/>
              <a:cxnLst>
                <a:cxn ang="0">
                  <a:pos x="connsiteX0" y="connsiteY0"/>
                </a:cxn>
                <a:cxn ang="0">
                  <a:pos x="connsiteX1" y="connsiteY1"/>
                </a:cxn>
                <a:cxn ang="0">
                  <a:pos x="connsiteX2" y="connsiteY2"/>
                </a:cxn>
              </a:cxnLst>
              <a:rect l="l" t="t" r="r" b="b"/>
              <a:pathLst>
                <a:path w="1745961" h="5482857">
                  <a:moveTo>
                    <a:pt x="1745961" y="0"/>
                  </a:moveTo>
                  <a:lnTo>
                    <a:pt x="1745961" y="5482857"/>
                  </a:lnTo>
                  <a:lnTo>
                    <a:pt x="0" y="5482857"/>
                  </a:lnTo>
                  <a:close/>
                </a:path>
              </a:pathLst>
            </a:cu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US" sz="1800">
                <a:latin typeface="Arial" pitchFamily="124" charset="0"/>
              </a:endParaRPr>
            </a:p>
          </p:txBody>
        </p:sp>
      </p:grpSp>
      <p:grpSp>
        <p:nvGrpSpPr>
          <p:cNvPr id="27" name="Group 26">
            <a:extLst>
              <a:ext uri="{FF2B5EF4-FFF2-40B4-BE49-F238E27FC236}">
                <a16:creationId xmlns:a16="http://schemas.microsoft.com/office/drawing/2014/main" id="{50A6D8E5-0F1B-4F46-A75F-B4236465A272}"/>
              </a:ext>
            </a:extLst>
          </p:cNvPr>
          <p:cNvGrpSpPr/>
          <p:nvPr userDrawn="1"/>
        </p:nvGrpSpPr>
        <p:grpSpPr>
          <a:xfrm>
            <a:off x="9662260" y="818784"/>
            <a:ext cx="2529740" cy="6039216"/>
            <a:chOff x="9662260" y="818784"/>
            <a:chExt cx="2529740" cy="6039216"/>
          </a:xfrm>
        </p:grpSpPr>
        <p:pic>
          <p:nvPicPr>
            <p:cNvPr id="28" name="Picture 27">
              <a:extLst>
                <a:ext uri="{FF2B5EF4-FFF2-40B4-BE49-F238E27FC236}">
                  <a16:creationId xmlns:a16="http://schemas.microsoft.com/office/drawing/2014/main" id="{F29E788A-C660-B84C-99A5-D234AA41381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662260" y="1471202"/>
              <a:ext cx="2529740" cy="5386798"/>
            </a:xfrm>
            <a:prstGeom prst="rect">
              <a:avLst/>
            </a:prstGeom>
          </p:spPr>
        </p:pic>
        <p:pic>
          <p:nvPicPr>
            <p:cNvPr id="29" name="Picture 28">
              <a:extLst>
                <a:ext uri="{FF2B5EF4-FFF2-40B4-BE49-F238E27FC236}">
                  <a16:creationId xmlns:a16="http://schemas.microsoft.com/office/drawing/2014/main" id="{DFD590AF-386B-9048-ABEA-59B6BE9DA72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539851" y="4300794"/>
              <a:ext cx="1652148" cy="2095226"/>
            </a:xfrm>
            <a:prstGeom prst="rect">
              <a:avLst/>
            </a:prstGeom>
          </p:spPr>
        </p:pic>
        <p:pic>
          <p:nvPicPr>
            <p:cNvPr id="30" name="Picture 29">
              <a:extLst>
                <a:ext uri="{FF2B5EF4-FFF2-40B4-BE49-F238E27FC236}">
                  <a16:creationId xmlns:a16="http://schemas.microsoft.com/office/drawing/2014/main" id="{E2756107-63E2-5F45-8CC3-D5261B2411F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rot="20585276">
              <a:off x="10888776" y="3404437"/>
              <a:ext cx="841085" cy="888470"/>
            </a:xfrm>
            <a:prstGeom prst="rect">
              <a:avLst/>
            </a:prstGeom>
          </p:spPr>
        </p:pic>
        <p:pic>
          <p:nvPicPr>
            <p:cNvPr id="31" name="Picture 30">
              <a:extLst>
                <a:ext uri="{FF2B5EF4-FFF2-40B4-BE49-F238E27FC236}">
                  <a16:creationId xmlns:a16="http://schemas.microsoft.com/office/drawing/2014/main" id="{0BBAF86D-A33D-1F45-96FF-45390C30D2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839843" y="4683251"/>
              <a:ext cx="608076" cy="626643"/>
            </a:xfrm>
            <a:prstGeom prst="rect">
              <a:avLst/>
            </a:prstGeom>
          </p:spPr>
        </p:pic>
        <p:pic>
          <p:nvPicPr>
            <p:cNvPr id="32" name="Picture 31">
              <a:extLst>
                <a:ext uri="{FF2B5EF4-FFF2-40B4-BE49-F238E27FC236}">
                  <a16:creationId xmlns:a16="http://schemas.microsoft.com/office/drawing/2014/main" id="{48104F42-09E4-4B40-858C-D0F13E205AD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rot="19848158">
              <a:off x="10621861" y="5789703"/>
              <a:ext cx="593846" cy="634660"/>
            </a:xfrm>
            <a:prstGeom prst="rect">
              <a:avLst/>
            </a:prstGeom>
          </p:spPr>
        </p:pic>
        <p:pic>
          <p:nvPicPr>
            <p:cNvPr id="33" name="Picture 32">
              <a:extLst>
                <a:ext uri="{FF2B5EF4-FFF2-40B4-BE49-F238E27FC236}">
                  <a16:creationId xmlns:a16="http://schemas.microsoft.com/office/drawing/2014/main" id="{02EBF489-D968-EB46-B15F-78B5BB5FD92E}"/>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38854"/>
            <a:stretch/>
          </p:blipFill>
          <p:spPr>
            <a:xfrm>
              <a:off x="10588564" y="818784"/>
              <a:ext cx="1603435" cy="1703758"/>
            </a:xfrm>
            <a:prstGeom prst="rect">
              <a:avLst/>
            </a:prstGeom>
          </p:spPr>
        </p:pic>
      </p:grpSp>
      <p:grpSp>
        <p:nvGrpSpPr>
          <p:cNvPr id="21" name="Group 20">
            <a:extLst>
              <a:ext uri="{FF2B5EF4-FFF2-40B4-BE49-F238E27FC236}">
                <a16:creationId xmlns:a16="http://schemas.microsoft.com/office/drawing/2014/main" id="{529B2BDF-CCF7-1348-A3D5-D71BE6DC81B3}"/>
              </a:ext>
            </a:extLst>
          </p:cNvPr>
          <p:cNvGrpSpPr/>
          <p:nvPr userDrawn="1"/>
        </p:nvGrpSpPr>
        <p:grpSpPr>
          <a:xfrm>
            <a:off x="304800" y="0"/>
            <a:ext cx="2427681" cy="1044934"/>
            <a:chOff x="0" y="0"/>
            <a:chExt cx="2447693" cy="1053548"/>
          </a:xfrm>
        </p:grpSpPr>
        <p:sp>
          <p:nvSpPr>
            <p:cNvPr id="22" name="Parallelogram 21">
              <a:extLst>
                <a:ext uri="{FF2B5EF4-FFF2-40B4-BE49-F238E27FC236}">
                  <a16:creationId xmlns:a16="http://schemas.microsoft.com/office/drawing/2014/main" id="{5AC29362-88F4-1D4E-981B-656DAC0CCDA0}"/>
                </a:ext>
              </a:extLst>
            </p:cNvPr>
            <p:cNvSpPr/>
            <p:nvPr userDrawn="1"/>
          </p:nvSpPr>
          <p:spPr bwMode="auto">
            <a:xfrm>
              <a:off x="0" y="0"/>
              <a:ext cx="2447693" cy="1053548"/>
            </a:xfrm>
            <a:prstGeom prst="parallelogram">
              <a:avLst>
                <a:gd name="adj" fmla="val 0"/>
              </a:avLst>
            </a:prstGeom>
            <a:solidFill>
              <a:srgbClr val="E7131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a:latin typeface="Arial" pitchFamily="124" charset="0"/>
                </a:rPr>
                <a:t>               </a:t>
              </a:r>
            </a:p>
          </p:txBody>
        </p:sp>
        <p:pic>
          <p:nvPicPr>
            <p:cNvPr id="23" name="Picture 22">
              <a:extLst>
                <a:ext uri="{FF2B5EF4-FFF2-40B4-BE49-F238E27FC236}">
                  <a16:creationId xmlns:a16="http://schemas.microsoft.com/office/drawing/2014/main" id="{3FDEE4BE-E092-CA4F-AF35-8DF125AB2591}"/>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135820" y="154984"/>
              <a:ext cx="2178058" cy="756021"/>
            </a:xfrm>
            <a:prstGeom prst="rect">
              <a:avLst/>
            </a:prstGeom>
          </p:spPr>
        </p:pic>
      </p:grpSp>
      <p:grpSp>
        <p:nvGrpSpPr>
          <p:cNvPr id="34" name="Group 33">
            <a:extLst>
              <a:ext uri="{FF2B5EF4-FFF2-40B4-BE49-F238E27FC236}">
                <a16:creationId xmlns:a16="http://schemas.microsoft.com/office/drawing/2014/main" id="{229B0B5C-E093-DA4B-806C-77D92FB04B00}"/>
              </a:ext>
            </a:extLst>
          </p:cNvPr>
          <p:cNvGrpSpPr/>
          <p:nvPr userDrawn="1"/>
        </p:nvGrpSpPr>
        <p:grpSpPr>
          <a:xfrm>
            <a:off x="283193" y="5970590"/>
            <a:ext cx="5053203" cy="441233"/>
            <a:chOff x="5155556" y="6168462"/>
            <a:chExt cx="5053203" cy="441233"/>
          </a:xfrm>
        </p:grpSpPr>
        <p:sp>
          <p:nvSpPr>
            <p:cNvPr id="35" name="TextBox 34">
              <a:extLst>
                <a:ext uri="{FF2B5EF4-FFF2-40B4-BE49-F238E27FC236}">
                  <a16:creationId xmlns:a16="http://schemas.microsoft.com/office/drawing/2014/main" id="{8E3D34E8-07DE-DB49-893D-0283BBF248E0}"/>
                </a:ext>
              </a:extLst>
            </p:cNvPr>
            <p:cNvSpPr txBox="1"/>
            <p:nvPr userDrawn="1"/>
          </p:nvSpPr>
          <p:spPr>
            <a:xfrm>
              <a:off x="5656050" y="6168462"/>
              <a:ext cx="4552709" cy="441233"/>
            </a:xfrm>
            <a:prstGeom prst="rect">
              <a:avLst/>
            </a:prstGeom>
            <a:noFill/>
          </p:spPr>
          <p:txBody>
            <a:bodyPr vert="horz" wrap="square" lIns="0" tIns="0" rIns="0" bIns="0" rtlCol="0" anchor="ctr" anchorCtr="0">
              <a:noAutofit/>
            </a:bodyPr>
            <a:lstStyle/>
            <a:p>
              <a:pPr algn="l"/>
              <a:r>
                <a:rPr lang="en-US" sz="2000">
                  <a:solidFill>
                    <a:schemeClr val="tx1"/>
                  </a:solidFill>
                  <a:latin typeface="Arial"/>
                </a:rPr>
                <a:t>The world leader in serving science</a:t>
              </a:r>
            </a:p>
          </p:txBody>
        </p:sp>
        <p:sp>
          <p:nvSpPr>
            <p:cNvPr id="36" name="Parallelogram 35">
              <a:extLst>
                <a:ext uri="{FF2B5EF4-FFF2-40B4-BE49-F238E27FC236}">
                  <a16:creationId xmlns:a16="http://schemas.microsoft.com/office/drawing/2014/main" id="{BC757F20-58AC-5B4E-ACFF-20D22B6D507B}"/>
                </a:ext>
              </a:extLst>
            </p:cNvPr>
            <p:cNvSpPr/>
            <p:nvPr userDrawn="1"/>
          </p:nvSpPr>
          <p:spPr bwMode="auto">
            <a:xfrm>
              <a:off x="5155556" y="6302295"/>
              <a:ext cx="310510" cy="188737"/>
            </a:xfrm>
            <a:prstGeom prst="parallelogram">
              <a:avLst>
                <a:gd name="adj" fmla="val 31844"/>
              </a:avLst>
            </a:prstGeom>
            <a:solidFill>
              <a:srgbClr val="E7131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a:latin typeface="Arial" pitchFamily="124" charset="0"/>
                </a:rPr>
                <a:t>               </a:t>
              </a:r>
            </a:p>
          </p:txBody>
        </p:sp>
      </p:grpSp>
      <p:sp>
        <p:nvSpPr>
          <p:cNvPr id="45" name="Footer Placeholder 1">
            <a:extLst>
              <a:ext uri="{FF2B5EF4-FFF2-40B4-BE49-F238E27FC236}">
                <a16:creationId xmlns:a16="http://schemas.microsoft.com/office/drawing/2014/main" id="{F96EC45B-102C-174F-9F23-FF784CDB7AB8}"/>
              </a:ext>
            </a:extLst>
          </p:cNvPr>
          <p:cNvSpPr>
            <a:spLocks noGrp="1"/>
          </p:cNvSpPr>
          <p:nvPr>
            <p:ph type="ftr" sz="quarter" idx="15"/>
          </p:nvPr>
        </p:nvSpPr>
        <p:spPr>
          <a:xfrm>
            <a:off x="304800" y="6553200"/>
            <a:ext cx="7619998" cy="304799"/>
          </a:xfrm>
        </p:spPr>
        <p:txBody>
          <a:bodyPr/>
          <a:lstStyle/>
          <a:p>
            <a:r>
              <a:rPr lang="en-US"/>
              <a:t>Proprietary &amp; Confidential | Molecular Biology STRAP | XX-April-2021</a:t>
            </a:r>
          </a:p>
        </p:txBody>
      </p:sp>
      <p:sp>
        <p:nvSpPr>
          <p:cNvPr id="46" name="Slide Number Placeholder 2">
            <a:extLst>
              <a:ext uri="{FF2B5EF4-FFF2-40B4-BE49-F238E27FC236}">
                <a16:creationId xmlns:a16="http://schemas.microsoft.com/office/drawing/2014/main" id="{8D006509-7DB4-6541-835F-3B6972AE0860}"/>
              </a:ext>
            </a:extLst>
          </p:cNvPr>
          <p:cNvSpPr>
            <a:spLocks noGrp="1"/>
          </p:cNvSpPr>
          <p:nvPr>
            <p:ph type="sldNum" sz="quarter" idx="12"/>
          </p:nvPr>
        </p:nvSpPr>
        <p:spPr>
          <a:xfrm>
            <a:off x="1" y="6553200"/>
            <a:ext cx="304799" cy="304799"/>
          </a:xfrm>
        </p:spPr>
        <p:txBody>
          <a:bodyPr/>
          <a:lstStyle/>
          <a:p>
            <a:fld id="{89006F1E-66CD-4A4B-9370-B4A3080F0E6C}" type="slidenum">
              <a:rPr lang="en-US" smtClean="0"/>
              <a:pPr/>
              <a:t>‹#›</a:t>
            </a:fld>
            <a:endParaRPr lang="en-US"/>
          </a:p>
        </p:txBody>
      </p:sp>
      <p:sp>
        <p:nvSpPr>
          <p:cNvPr id="37" name="Text Placeholder 15">
            <a:extLst>
              <a:ext uri="{FF2B5EF4-FFF2-40B4-BE49-F238E27FC236}">
                <a16:creationId xmlns:a16="http://schemas.microsoft.com/office/drawing/2014/main" id="{108EBC16-514C-7740-843A-F5174EAA96DC}"/>
              </a:ext>
            </a:extLst>
          </p:cNvPr>
          <p:cNvSpPr>
            <a:spLocks noGrp="1"/>
          </p:cNvSpPr>
          <p:nvPr>
            <p:ph type="body" sz="quarter" idx="10" hasCustomPrompt="1"/>
          </p:nvPr>
        </p:nvSpPr>
        <p:spPr>
          <a:xfrm>
            <a:off x="304800" y="3903896"/>
            <a:ext cx="7619999" cy="308120"/>
          </a:xfrm>
          <a:prstGeom prst="rect">
            <a:avLst/>
          </a:prstGeom>
        </p:spPr>
        <p:txBody>
          <a:bodyPr lIns="0" tIns="0" rIns="0" bIns="0" anchor="b"/>
          <a:lstStyle>
            <a:lvl1pPr>
              <a:spcBef>
                <a:spcPts val="0"/>
              </a:spcBef>
              <a:spcAft>
                <a:spcPts val="0"/>
              </a:spcAft>
              <a:buFontTx/>
              <a:buNone/>
              <a:defRPr sz="1600" b="0" baseline="0">
                <a:solidFill>
                  <a:schemeClr val="tx2"/>
                </a:solidFill>
              </a:defRPr>
            </a:lvl1pPr>
            <a:lvl2pPr marL="114300" indent="4763">
              <a:spcAft>
                <a:spcPts val="0"/>
              </a:spcAft>
              <a:buFontTx/>
              <a:buNone/>
              <a:defRPr sz="1400" i="1" baseline="0">
                <a:solidFill>
                  <a:schemeClr val="tx1"/>
                </a:solidFill>
              </a:defRPr>
            </a:lvl2pPr>
          </a:lstStyle>
          <a:p>
            <a:pPr lvl="0"/>
            <a:r>
              <a:rPr lang="en-US"/>
              <a:t>Presenter name [16pt Arial] </a:t>
            </a:r>
          </a:p>
        </p:txBody>
      </p:sp>
      <p:sp>
        <p:nvSpPr>
          <p:cNvPr id="38" name="Title 16">
            <a:extLst>
              <a:ext uri="{FF2B5EF4-FFF2-40B4-BE49-F238E27FC236}">
                <a16:creationId xmlns:a16="http://schemas.microsoft.com/office/drawing/2014/main" id="{124A4A7F-4904-4645-AEF7-28AEBD45D1C3}"/>
              </a:ext>
            </a:extLst>
          </p:cNvPr>
          <p:cNvSpPr>
            <a:spLocks noGrp="1"/>
          </p:cNvSpPr>
          <p:nvPr>
            <p:ph type="title" hasCustomPrompt="1"/>
          </p:nvPr>
        </p:nvSpPr>
        <p:spPr>
          <a:xfrm>
            <a:off x="304801" y="1726100"/>
            <a:ext cx="7619999" cy="2071868"/>
          </a:xfrm>
          <a:prstGeom prst="rect">
            <a:avLst/>
          </a:prstGeom>
          <a:noFill/>
        </p:spPr>
        <p:txBody>
          <a:bodyPr wrap="square" lIns="0" tIns="0" rIns="0" bIns="0" anchor="b">
            <a:noAutofit/>
          </a:bodyPr>
          <a:lstStyle>
            <a:lvl1pPr>
              <a:lnSpc>
                <a:spcPct val="110000"/>
              </a:lnSpc>
              <a:defRPr sz="2800" b="1">
                <a:solidFill>
                  <a:schemeClr val="tx1"/>
                </a:solidFill>
              </a:defRPr>
            </a:lvl1pPr>
          </a:lstStyle>
          <a:p>
            <a:r>
              <a:rPr lang="en-US"/>
              <a:t>Title [28pt Arial Bold] </a:t>
            </a:r>
          </a:p>
        </p:txBody>
      </p:sp>
      <p:sp>
        <p:nvSpPr>
          <p:cNvPr id="39" name="Text Placeholder 15">
            <a:extLst>
              <a:ext uri="{FF2B5EF4-FFF2-40B4-BE49-F238E27FC236}">
                <a16:creationId xmlns:a16="http://schemas.microsoft.com/office/drawing/2014/main" id="{0DF0839E-0C0A-8E4B-9B47-CC686D239594}"/>
              </a:ext>
            </a:extLst>
          </p:cNvPr>
          <p:cNvSpPr>
            <a:spLocks noGrp="1"/>
          </p:cNvSpPr>
          <p:nvPr>
            <p:ph type="body" sz="quarter" idx="14" hasCustomPrompt="1"/>
          </p:nvPr>
        </p:nvSpPr>
        <p:spPr>
          <a:xfrm>
            <a:off x="304800" y="4255834"/>
            <a:ext cx="7619999" cy="1097215"/>
          </a:xfrm>
          <a:prstGeom prst="rect">
            <a:avLst/>
          </a:prstGeom>
        </p:spPr>
        <p:txBody>
          <a:bodyPr lIns="0" tIns="0" rIns="0" bIns="0" anchor="t">
            <a:normAutofit/>
          </a:bodyPr>
          <a:lstStyle>
            <a:lvl1pPr marL="179388" marR="0" indent="-179388" algn="l" defTabSz="914400" rtl="0" eaLnBrk="1" fontAlgn="auto" latinLnBrk="0" hangingPunct="1">
              <a:lnSpc>
                <a:spcPct val="120000"/>
              </a:lnSpc>
              <a:spcBef>
                <a:spcPts val="0"/>
              </a:spcBef>
              <a:spcAft>
                <a:spcPts val="0"/>
              </a:spcAft>
              <a:buClr>
                <a:schemeClr val="accent4"/>
              </a:buClr>
              <a:buSzPct val="100000"/>
              <a:buFontTx/>
              <a:buNone/>
              <a:tabLst/>
              <a:defRPr sz="1400" b="0" baseline="0">
                <a:solidFill>
                  <a:schemeClr val="tx1"/>
                </a:solidFill>
              </a:defRPr>
            </a:lvl1pPr>
            <a:lvl2pPr marL="114300" indent="4763">
              <a:spcAft>
                <a:spcPts val="0"/>
              </a:spcAft>
              <a:buFontTx/>
              <a:buNone/>
              <a:defRPr sz="1400" i="1" baseline="0">
                <a:solidFill>
                  <a:schemeClr val="tx1"/>
                </a:solidFill>
              </a:defRPr>
            </a:lvl2pPr>
          </a:lstStyle>
          <a:p>
            <a:pPr marL="411480" marR="0" lvl="0" indent="-411480" algn="l" defTabSz="914400" rtl="0" eaLnBrk="1" fontAlgn="auto" latinLnBrk="0" hangingPunct="1">
              <a:lnSpc>
                <a:spcPct val="120000"/>
              </a:lnSpc>
              <a:spcBef>
                <a:spcPts val="0"/>
              </a:spcBef>
              <a:spcAft>
                <a:spcPts val="0"/>
              </a:spcAft>
              <a:buClr>
                <a:schemeClr val="accent4"/>
              </a:buClr>
              <a:buSzPct val="100000"/>
              <a:buFontTx/>
              <a:buNone/>
              <a:tabLst/>
              <a:defRPr/>
            </a:pPr>
            <a:r>
              <a:rPr lang="en-US"/>
              <a:t>Presenter Title [14pt Arial]</a:t>
            </a:r>
            <a:br>
              <a:rPr lang="en-US"/>
            </a:br>
            <a:r>
              <a:rPr lang="en-US"/>
              <a:t>Date [14pt Arial] </a:t>
            </a:r>
          </a:p>
        </p:txBody>
      </p:sp>
    </p:spTree>
    <p:extLst>
      <p:ext uri="{BB962C8B-B14F-4D97-AF65-F5344CB8AC3E}">
        <p14:creationId xmlns:p14="http://schemas.microsoft.com/office/powerpoint/2010/main" val="19457793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6_Custom Layout">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7874001" cy="6858000"/>
          </a:xfrm>
          <a:prstGeom prst="rect">
            <a:avLst/>
          </a:prstGeom>
        </p:spPr>
      </p:pic>
      <p:pic>
        <p:nvPicPr>
          <p:cNvPr id="2" name="Picture 1"/>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2700" y="1773238"/>
            <a:ext cx="5080687" cy="5084762"/>
          </a:xfrm>
          <a:prstGeom prst="rect">
            <a:avLst/>
          </a:prstGeom>
        </p:spPr>
      </p:pic>
      <p:sp>
        <p:nvSpPr>
          <p:cNvPr id="10" name="Text Placeholder 6"/>
          <p:cNvSpPr>
            <a:spLocks noGrp="1"/>
          </p:cNvSpPr>
          <p:nvPr>
            <p:ph type="body" sz="quarter" idx="11"/>
          </p:nvPr>
        </p:nvSpPr>
        <p:spPr>
          <a:xfrm>
            <a:off x="3352800" y="1966913"/>
            <a:ext cx="8572500" cy="1447800"/>
          </a:xfrm>
        </p:spPr>
        <p:txBody>
          <a:bodyPr anchor="ctr"/>
          <a:lstStyle>
            <a:lvl1pPr marL="0" indent="0" algn="ctr">
              <a:buNone/>
              <a:defRPr sz="3200" b="1">
                <a:solidFill>
                  <a:schemeClr val="accent4"/>
                </a:solidFill>
              </a:defRPr>
            </a:lvl1pPr>
          </a:lstStyle>
          <a:p>
            <a:pPr lvl="0"/>
            <a:r>
              <a:rPr lang="en-US"/>
              <a:t>Click to edit Master text styles</a:t>
            </a:r>
          </a:p>
        </p:txBody>
      </p:sp>
    </p:spTree>
    <p:extLst>
      <p:ext uri="{BB962C8B-B14F-4D97-AF65-F5344CB8AC3E}">
        <p14:creationId xmlns:p14="http://schemas.microsoft.com/office/powerpoint/2010/main" val="244928449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Custom title slide">
    <p:bg>
      <p:bgPr>
        <a:gradFill>
          <a:gsLst>
            <a:gs pos="0">
              <a:schemeClr val="bg1"/>
            </a:gs>
            <a:gs pos="45000">
              <a:schemeClr val="bg1"/>
            </a:gs>
            <a:gs pos="66000">
              <a:schemeClr val="bg2"/>
            </a:gs>
          </a:gsLst>
          <a:lin ang="1080000" scaled="0"/>
        </a:gra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2DF2EB01-DB3A-564C-8485-CADA3C9CF3AF}"/>
              </a:ext>
            </a:extLst>
          </p:cNvPr>
          <p:cNvSpPr>
            <a:spLocks noGrp="1"/>
          </p:cNvSpPr>
          <p:nvPr>
            <p:ph type="pic" sz="quarter" idx="11" hasCustomPrompt="1"/>
          </p:nvPr>
        </p:nvSpPr>
        <p:spPr>
          <a:xfrm>
            <a:off x="5560459" y="1"/>
            <a:ext cx="6631541" cy="6857999"/>
          </a:xfrm>
          <a:custGeom>
            <a:avLst/>
            <a:gdLst>
              <a:gd name="connsiteX0" fmla="*/ 2183862 w 6631541"/>
              <a:gd name="connsiteY0" fmla="*/ 0 h 6857999"/>
              <a:gd name="connsiteX1" fmla="*/ 6631541 w 6631541"/>
              <a:gd name="connsiteY1" fmla="*/ 0 h 6857999"/>
              <a:gd name="connsiteX2" fmla="*/ 6631541 w 6631541"/>
              <a:gd name="connsiteY2" fmla="*/ 6857999 h 6857999"/>
              <a:gd name="connsiteX3" fmla="*/ 0 w 66315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6631541" h="6857999">
                <a:moveTo>
                  <a:pt x="2183862" y="0"/>
                </a:moveTo>
                <a:lnTo>
                  <a:pt x="6631541" y="0"/>
                </a:lnTo>
                <a:lnTo>
                  <a:pt x="6631541" y="6857999"/>
                </a:lnTo>
                <a:lnTo>
                  <a:pt x="0" y="6857999"/>
                </a:lnTo>
                <a:close/>
              </a:path>
            </a:pathLst>
          </a:custGeom>
          <a:pattFill prst="pct5">
            <a:fgClr>
              <a:schemeClr val="bg1"/>
            </a:fgClr>
            <a:bgClr>
              <a:schemeClr val="bg2"/>
            </a:bgClr>
          </a:pattFill>
        </p:spPr>
        <p:txBody>
          <a:bodyPr vert="horz" wrap="square" lIns="0" tIns="0" rIns="0" bIns="0" rtlCol="0" anchor="ctr">
            <a:noAutofit/>
          </a:bodyPr>
          <a:lstStyle>
            <a:lvl1pPr marL="0" indent="0" algn="ctr">
              <a:buFontTx/>
              <a:buNone/>
              <a:defRPr lang="en-US" sz="1400" dirty="0"/>
            </a:lvl1pPr>
          </a:lstStyle>
          <a:p>
            <a:pPr marR="0" lvl="0" algn="ctr" fontAlgn="auto">
              <a:spcAft>
                <a:spcPts val="0"/>
              </a:spcAft>
              <a:buClrTx/>
              <a:buSzTx/>
              <a:buNone/>
              <a:tabLst/>
            </a:pPr>
            <a:r>
              <a:rPr lang="en-US"/>
              <a:t>Add photo</a:t>
            </a:r>
          </a:p>
        </p:txBody>
      </p:sp>
      <p:grpSp>
        <p:nvGrpSpPr>
          <p:cNvPr id="7" name="Group 6">
            <a:extLst>
              <a:ext uri="{FF2B5EF4-FFF2-40B4-BE49-F238E27FC236}">
                <a16:creationId xmlns:a16="http://schemas.microsoft.com/office/drawing/2014/main" id="{B1F511C6-A535-A245-B123-CC04435D2DAF}"/>
              </a:ext>
            </a:extLst>
          </p:cNvPr>
          <p:cNvGrpSpPr/>
          <p:nvPr userDrawn="1"/>
        </p:nvGrpSpPr>
        <p:grpSpPr>
          <a:xfrm>
            <a:off x="304799" y="0"/>
            <a:ext cx="2427681" cy="1044934"/>
            <a:chOff x="0" y="0"/>
            <a:chExt cx="2447693" cy="1053548"/>
          </a:xfrm>
        </p:grpSpPr>
        <p:sp>
          <p:nvSpPr>
            <p:cNvPr id="8" name="Parallelogram 7">
              <a:extLst>
                <a:ext uri="{FF2B5EF4-FFF2-40B4-BE49-F238E27FC236}">
                  <a16:creationId xmlns:a16="http://schemas.microsoft.com/office/drawing/2014/main" id="{6399281C-FD14-2942-9A9B-13B5E50B7517}"/>
                </a:ext>
              </a:extLst>
            </p:cNvPr>
            <p:cNvSpPr/>
            <p:nvPr userDrawn="1"/>
          </p:nvSpPr>
          <p:spPr bwMode="auto">
            <a:xfrm>
              <a:off x="0" y="0"/>
              <a:ext cx="2447693" cy="1053548"/>
            </a:xfrm>
            <a:prstGeom prst="parallelogram">
              <a:avLst>
                <a:gd name="adj" fmla="val 0"/>
              </a:avLst>
            </a:prstGeom>
            <a:solidFill>
              <a:srgbClr val="E7131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a:latin typeface="Arial" pitchFamily="124" charset="0"/>
                </a:rPr>
                <a:t>               </a:t>
              </a:r>
            </a:p>
          </p:txBody>
        </p:sp>
        <p:pic>
          <p:nvPicPr>
            <p:cNvPr id="9" name="Picture 8">
              <a:extLst>
                <a:ext uri="{FF2B5EF4-FFF2-40B4-BE49-F238E27FC236}">
                  <a16:creationId xmlns:a16="http://schemas.microsoft.com/office/drawing/2014/main" id="{7D60AD95-BD80-6049-9976-D024EC4ECDE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5820" y="154984"/>
              <a:ext cx="2178058" cy="756021"/>
            </a:xfrm>
            <a:prstGeom prst="rect">
              <a:avLst/>
            </a:prstGeom>
          </p:spPr>
        </p:pic>
      </p:grpSp>
      <p:grpSp>
        <p:nvGrpSpPr>
          <p:cNvPr id="11" name="Group 10">
            <a:extLst>
              <a:ext uri="{FF2B5EF4-FFF2-40B4-BE49-F238E27FC236}">
                <a16:creationId xmlns:a16="http://schemas.microsoft.com/office/drawing/2014/main" id="{BD8A84AE-AF33-DF45-94CF-C3F25C5B3C5F}"/>
              </a:ext>
            </a:extLst>
          </p:cNvPr>
          <p:cNvGrpSpPr/>
          <p:nvPr userDrawn="1"/>
        </p:nvGrpSpPr>
        <p:grpSpPr>
          <a:xfrm>
            <a:off x="283193" y="5970590"/>
            <a:ext cx="5053203" cy="441233"/>
            <a:chOff x="5155556" y="6168462"/>
            <a:chExt cx="5053203" cy="441233"/>
          </a:xfrm>
        </p:grpSpPr>
        <p:sp>
          <p:nvSpPr>
            <p:cNvPr id="12" name="TextBox 11">
              <a:extLst>
                <a:ext uri="{FF2B5EF4-FFF2-40B4-BE49-F238E27FC236}">
                  <a16:creationId xmlns:a16="http://schemas.microsoft.com/office/drawing/2014/main" id="{5DF5D896-302C-C647-8B84-3EA145C1337B}"/>
                </a:ext>
              </a:extLst>
            </p:cNvPr>
            <p:cNvSpPr txBox="1"/>
            <p:nvPr userDrawn="1"/>
          </p:nvSpPr>
          <p:spPr>
            <a:xfrm>
              <a:off x="5656050" y="6168462"/>
              <a:ext cx="4552709" cy="441233"/>
            </a:xfrm>
            <a:prstGeom prst="rect">
              <a:avLst/>
            </a:prstGeom>
            <a:noFill/>
          </p:spPr>
          <p:txBody>
            <a:bodyPr vert="horz" wrap="square" lIns="0" tIns="0" rIns="0" bIns="0" rtlCol="0" anchor="ctr" anchorCtr="0">
              <a:noAutofit/>
            </a:bodyPr>
            <a:lstStyle/>
            <a:p>
              <a:pPr algn="l"/>
              <a:r>
                <a:rPr lang="en-US" sz="2000">
                  <a:solidFill>
                    <a:schemeClr val="tx1"/>
                  </a:solidFill>
                  <a:latin typeface="Arial"/>
                </a:rPr>
                <a:t>The world leader in serving science</a:t>
              </a:r>
            </a:p>
          </p:txBody>
        </p:sp>
        <p:sp>
          <p:nvSpPr>
            <p:cNvPr id="13" name="Parallelogram 12">
              <a:extLst>
                <a:ext uri="{FF2B5EF4-FFF2-40B4-BE49-F238E27FC236}">
                  <a16:creationId xmlns:a16="http://schemas.microsoft.com/office/drawing/2014/main" id="{9BC00B89-C038-314A-AC65-15CF9FEFA67A}"/>
                </a:ext>
              </a:extLst>
            </p:cNvPr>
            <p:cNvSpPr/>
            <p:nvPr userDrawn="1"/>
          </p:nvSpPr>
          <p:spPr bwMode="auto">
            <a:xfrm>
              <a:off x="5155556" y="6302295"/>
              <a:ext cx="310510" cy="188737"/>
            </a:xfrm>
            <a:prstGeom prst="parallelogram">
              <a:avLst>
                <a:gd name="adj" fmla="val 31844"/>
              </a:avLst>
            </a:prstGeom>
            <a:solidFill>
              <a:srgbClr val="E7131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a:latin typeface="Arial" pitchFamily="124" charset="0"/>
                </a:rPr>
                <a:t>               </a:t>
              </a:r>
            </a:p>
          </p:txBody>
        </p:sp>
      </p:grpSp>
      <p:sp>
        <p:nvSpPr>
          <p:cNvPr id="17" name="Text Placeholder 15">
            <a:extLst>
              <a:ext uri="{FF2B5EF4-FFF2-40B4-BE49-F238E27FC236}">
                <a16:creationId xmlns:a16="http://schemas.microsoft.com/office/drawing/2014/main" id="{066B560F-B405-E64F-9BDF-0CBAACB3D079}"/>
              </a:ext>
            </a:extLst>
          </p:cNvPr>
          <p:cNvSpPr>
            <a:spLocks noGrp="1"/>
          </p:cNvSpPr>
          <p:nvPr>
            <p:ph type="body" sz="quarter" idx="10" hasCustomPrompt="1"/>
          </p:nvPr>
        </p:nvSpPr>
        <p:spPr>
          <a:xfrm>
            <a:off x="304800" y="3903896"/>
            <a:ext cx="5791199" cy="308120"/>
          </a:xfrm>
          <a:prstGeom prst="rect">
            <a:avLst/>
          </a:prstGeom>
        </p:spPr>
        <p:txBody>
          <a:bodyPr lIns="0" tIns="0" rIns="0" bIns="0" anchor="b"/>
          <a:lstStyle>
            <a:lvl1pPr>
              <a:spcBef>
                <a:spcPts val="0"/>
              </a:spcBef>
              <a:spcAft>
                <a:spcPts val="0"/>
              </a:spcAft>
              <a:buFontTx/>
              <a:buNone/>
              <a:defRPr sz="1600" b="0" baseline="0">
                <a:solidFill>
                  <a:schemeClr val="tx2"/>
                </a:solidFill>
              </a:defRPr>
            </a:lvl1pPr>
            <a:lvl2pPr marL="114300" indent="4763">
              <a:spcAft>
                <a:spcPts val="0"/>
              </a:spcAft>
              <a:buFontTx/>
              <a:buNone/>
              <a:defRPr sz="1400" i="1" baseline="0">
                <a:solidFill>
                  <a:schemeClr val="tx1"/>
                </a:solidFill>
              </a:defRPr>
            </a:lvl2pPr>
          </a:lstStyle>
          <a:p>
            <a:pPr lvl="0"/>
            <a:r>
              <a:rPr lang="en-US"/>
              <a:t>Presenter name [16pt Arial] </a:t>
            </a:r>
          </a:p>
        </p:txBody>
      </p:sp>
      <p:sp>
        <p:nvSpPr>
          <p:cNvPr id="21" name="Footer Placeholder 1">
            <a:extLst>
              <a:ext uri="{FF2B5EF4-FFF2-40B4-BE49-F238E27FC236}">
                <a16:creationId xmlns:a16="http://schemas.microsoft.com/office/drawing/2014/main" id="{0417725A-1D63-8B41-B75E-4A7C276235C4}"/>
              </a:ext>
            </a:extLst>
          </p:cNvPr>
          <p:cNvSpPr>
            <a:spLocks noGrp="1"/>
          </p:cNvSpPr>
          <p:nvPr>
            <p:ph type="ftr" sz="quarter" idx="15"/>
          </p:nvPr>
        </p:nvSpPr>
        <p:spPr>
          <a:xfrm>
            <a:off x="304800" y="6553200"/>
            <a:ext cx="7620000" cy="304799"/>
          </a:xfrm>
        </p:spPr>
        <p:txBody>
          <a:bodyPr/>
          <a:lstStyle/>
          <a:p>
            <a:r>
              <a:rPr lang="en-US"/>
              <a:t>Proprietary &amp; Confidential | Molecular Biology STRAP | XX-April-2021</a:t>
            </a:r>
          </a:p>
        </p:txBody>
      </p:sp>
      <p:sp>
        <p:nvSpPr>
          <p:cNvPr id="22" name="Slide Number Placeholder 2">
            <a:extLst>
              <a:ext uri="{FF2B5EF4-FFF2-40B4-BE49-F238E27FC236}">
                <a16:creationId xmlns:a16="http://schemas.microsoft.com/office/drawing/2014/main" id="{2EFD93CC-9AAB-B446-8966-4FFCA1CA2633}"/>
              </a:ext>
            </a:extLst>
          </p:cNvPr>
          <p:cNvSpPr>
            <a:spLocks noGrp="1"/>
          </p:cNvSpPr>
          <p:nvPr>
            <p:ph type="sldNum" sz="quarter" idx="12"/>
          </p:nvPr>
        </p:nvSpPr>
        <p:spPr>
          <a:xfrm>
            <a:off x="1" y="6553200"/>
            <a:ext cx="304799" cy="304799"/>
          </a:xfrm>
        </p:spPr>
        <p:txBody>
          <a:bodyPr/>
          <a:lstStyle/>
          <a:p>
            <a:fld id="{89006F1E-66CD-4A4B-9370-B4A3080F0E6C}" type="slidenum">
              <a:rPr lang="en-US" smtClean="0"/>
              <a:pPr/>
              <a:t>‹#›</a:t>
            </a:fld>
            <a:endParaRPr lang="en-US"/>
          </a:p>
        </p:txBody>
      </p:sp>
      <p:sp>
        <p:nvSpPr>
          <p:cNvPr id="15" name="Text Placeholder 15">
            <a:extLst>
              <a:ext uri="{FF2B5EF4-FFF2-40B4-BE49-F238E27FC236}">
                <a16:creationId xmlns:a16="http://schemas.microsoft.com/office/drawing/2014/main" id="{DA6AB682-877D-F244-8431-46BA64252685}"/>
              </a:ext>
            </a:extLst>
          </p:cNvPr>
          <p:cNvSpPr>
            <a:spLocks noGrp="1"/>
          </p:cNvSpPr>
          <p:nvPr>
            <p:ph type="body" sz="quarter" idx="14" hasCustomPrompt="1"/>
          </p:nvPr>
        </p:nvSpPr>
        <p:spPr>
          <a:xfrm>
            <a:off x="304801" y="4255834"/>
            <a:ext cx="5791200" cy="1097215"/>
          </a:xfrm>
          <a:prstGeom prst="rect">
            <a:avLst/>
          </a:prstGeom>
        </p:spPr>
        <p:txBody>
          <a:bodyPr lIns="0" tIns="0" rIns="0" bIns="0" anchor="t">
            <a:normAutofit/>
          </a:bodyPr>
          <a:lstStyle>
            <a:lvl1pPr marL="179388" marR="0" indent="-179388" algn="l" defTabSz="914400" rtl="0" eaLnBrk="1" fontAlgn="auto" latinLnBrk="0" hangingPunct="1">
              <a:lnSpc>
                <a:spcPct val="120000"/>
              </a:lnSpc>
              <a:spcBef>
                <a:spcPts val="0"/>
              </a:spcBef>
              <a:spcAft>
                <a:spcPts val="0"/>
              </a:spcAft>
              <a:buClr>
                <a:schemeClr val="accent4"/>
              </a:buClr>
              <a:buSzPct val="100000"/>
              <a:buFontTx/>
              <a:buNone/>
              <a:tabLst/>
              <a:defRPr sz="1400" b="0" baseline="0">
                <a:solidFill>
                  <a:schemeClr val="tx1"/>
                </a:solidFill>
              </a:defRPr>
            </a:lvl1pPr>
            <a:lvl2pPr marL="114300" indent="4763">
              <a:spcAft>
                <a:spcPts val="0"/>
              </a:spcAft>
              <a:buFontTx/>
              <a:buNone/>
              <a:defRPr sz="1400" i="1" baseline="0">
                <a:solidFill>
                  <a:schemeClr val="tx1"/>
                </a:solidFill>
              </a:defRPr>
            </a:lvl2pPr>
          </a:lstStyle>
          <a:p>
            <a:pPr marL="411480" marR="0" lvl="0" indent="-411480" algn="l" defTabSz="914400" rtl="0" eaLnBrk="1" fontAlgn="auto" latinLnBrk="0" hangingPunct="1">
              <a:lnSpc>
                <a:spcPct val="120000"/>
              </a:lnSpc>
              <a:spcBef>
                <a:spcPts val="0"/>
              </a:spcBef>
              <a:spcAft>
                <a:spcPts val="0"/>
              </a:spcAft>
              <a:buClr>
                <a:schemeClr val="accent4"/>
              </a:buClr>
              <a:buSzPct val="100000"/>
              <a:buFontTx/>
              <a:buNone/>
              <a:tabLst/>
              <a:defRPr/>
            </a:pPr>
            <a:r>
              <a:rPr lang="en-US"/>
              <a:t>Presenter Title [14pt Arial]</a:t>
            </a:r>
            <a:br>
              <a:rPr lang="en-US"/>
            </a:br>
            <a:r>
              <a:rPr lang="en-US"/>
              <a:t>Date [14pt Arial] </a:t>
            </a:r>
          </a:p>
        </p:txBody>
      </p:sp>
      <p:sp>
        <p:nvSpPr>
          <p:cNvPr id="16" name="Title 16">
            <a:extLst>
              <a:ext uri="{FF2B5EF4-FFF2-40B4-BE49-F238E27FC236}">
                <a16:creationId xmlns:a16="http://schemas.microsoft.com/office/drawing/2014/main" id="{086BE638-5BB0-E849-ABA3-5E74A9A7DFDE}"/>
              </a:ext>
            </a:extLst>
          </p:cNvPr>
          <p:cNvSpPr>
            <a:spLocks noGrp="1"/>
          </p:cNvSpPr>
          <p:nvPr>
            <p:ph type="title" hasCustomPrompt="1"/>
          </p:nvPr>
        </p:nvSpPr>
        <p:spPr>
          <a:xfrm>
            <a:off x="304802" y="1726100"/>
            <a:ext cx="5791198" cy="2071868"/>
          </a:xfrm>
          <a:prstGeom prst="rect">
            <a:avLst/>
          </a:prstGeom>
          <a:noFill/>
        </p:spPr>
        <p:txBody>
          <a:bodyPr wrap="square" lIns="0" tIns="0" rIns="0" bIns="0" anchor="b">
            <a:noAutofit/>
          </a:bodyPr>
          <a:lstStyle>
            <a:lvl1pPr>
              <a:lnSpc>
                <a:spcPct val="110000"/>
              </a:lnSpc>
              <a:defRPr sz="2800" b="1">
                <a:solidFill>
                  <a:schemeClr val="tx1"/>
                </a:solidFill>
              </a:defRPr>
            </a:lvl1pPr>
          </a:lstStyle>
          <a:p>
            <a:r>
              <a:rPr lang="en-US"/>
              <a:t>Title [28pt Arial Bold] </a:t>
            </a:r>
          </a:p>
        </p:txBody>
      </p:sp>
    </p:spTree>
    <p:extLst>
      <p:ext uri="{BB962C8B-B14F-4D97-AF65-F5344CB8AC3E}">
        <p14:creationId xmlns:p14="http://schemas.microsoft.com/office/powerpoint/2010/main" val="384387068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with image">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6AE08B2E-D136-8942-AB0C-32CBAFB45A4D}"/>
              </a:ext>
            </a:extLst>
          </p:cNvPr>
          <p:cNvSpPr>
            <a:spLocks noGrp="1"/>
          </p:cNvSpPr>
          <p:nvPr>
            <p:ph type="pic" sz="quarter" idx="11" hasCustomPrompt="1"/>
          </p:nvPr>
        </p:nvSpPr>
        <p:spPr>
          <a:xfrm>
            <a:off x="5560459" y="-1"/>
            <a:ext cx="6631541" cy="6858000"/>
          </a:xfrm>
          <a:custGeom>
            <a:avLst/>
            <a:gdLst>
              <a:gd name="connsiteX0" fmla="*/ 4761301 w 6631541"/>
              <a:gd name="connsiteY0" fmla="*/ 1 h 6858000"/>
              <a:gd name="connsiteX1" fmla="*/ 4761301 w 6631541"/>
              <a:gd name="connsiteY1" fmla="*/ 673805 h 6858000"/>
              <a:gd name="connsiteX2" fmla="*/ 6326740 w 6631541"/>
              <a:gd name="connsiteY2" fmla="*/ 673805 h 6858000"/>
              <a:gd name="connsiteX3" fmla="*/ 6326740 w 6631541"/>
              <a:gd name="connsiteY3" fmla="*/ 1 h 6858000"/>
              <a:gd name="connsiteX4" fmla="*/ 2183862 w 6631541"/>
              <a:gd name="connsiteY4" fmla="*/ 0 h 6858000"/>
              <a:gd name="connsiteX5" fmla="*/ 6631541 w 6631541"/>
              <a:gd name="connsiteY5" fmla="*/ 0 h 6858000"/>
              <a:gd name="connsiteX6" fmla="*/ 6631541 w 6631541"/>
              <a:gd name="connsiteY6" fmla="*/ 6858000 h 6858000"/>
              <a:gd name="connsiteX7" fmla="*/ 0 w 6631541"/>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31541" h="6858000">
                <a:moveTo>
                  <a:pt x="4761301" y="1"/>
                </a:moveTo>
                <a:lnTo>
                  <a:pt x="4761301" y="673805"/>
                </a:lnTo>
                <a:lnTo>
                  <a:pt x="6326740" y="673805"/>
                </a:lnTo>
                <a:lnTo>
                  <a:pt x="6326740" y="1"/>
                </a:lnTo>
                <a:close/>
                <a:moveTo>
                  <a:pt x="2183862" y="0"/>
                </a:moveTo>
                <a:lnTo>
                  <a:pt x="6631541" y="0"/>
                </a:lnTo>
                <a:lnTo>
                  <a:pt x="6631541" y="6858000"/>
                </a:lnTo>
                <a:lnTo>
                  <a:pt x="0" y="6858000"/>
                </a:lnTo>
                <a:close/>
              </a:path>
            </a:pathLst>
          </a:custGeom>
          <a:pattFill prst="pct5">
            <a:fgClr>
              <a:schemeClr val="bg1"/>
            </a:fgClr>
            <a:bgClr>
              <a:schemeClr val="bg2"/>
            </a:bgClr>
          </a:pattFill>
        </p:spPr>
        <p:txBody>
          <a:bodyPr vert="horz" wrap="square" lIns="0" tIns="0" rIns="0" bIns="0" rtlCol="0" anchor="ctr">
            <a:noAutofit/>
          </a:bodyPr>
          <a:lstStyle>
            <a:lvl1pPr marL="0" indent="0" algn="ctr">
              <a:buFontTx/>
              <a:buNone/>
              <a:defRPr lang="en-US" sz="1400" dirty="0"/>
            </a:lvl1pPr>
          </a:lstStyle>
          <a:p>
            <a:pPr marR="0" lvl="0" algn="ctr" fontAlgn="auto">
              <a:spcAft>
                <a:spcPts val="0"/>
              </a:spcAft>
              <a:buClrTx/>
              <a:buSzTx/>
              <a:buNone/>
              <a:tabLst/>
            </a:pPr>
            <a:r>
              <a:rPr lang="en-US"/>
              <a:t>Add photo</a:t>
            </a:r>
          </a:p>
        </p:txBody>
      </p:sp>
      <p:sp>
        <p:nvSpPr>
          <p:cNvPr id="12" name="Slide Number Placeholder 11">
            <a:extLst>
              <a:ext uri="{FF2B5EF4-FFF2-40B4-BE49-F238E27FC236}">
                <a16:creationId xmlns:a16="http://schemas.microsoft.com/office/drawing/2014/main" id="{47161BDA-83E9-E143-BE27-DC11E94DC4B5}"/>
              </a:ext>
            </a:extLst>
          </p:cNvPr>
          <p:cNvSpPr>
            <a:spLocks noGrp="1"/>
          </p:cNvSpPr>
          <p:nvPr>
            <p:ph type="sldNum" sz="quarter" idx="10"/>
          </p:nvPr>
        </p:nvSpPr>
        <p:spPr/>
        <p:txBody>
          <a:bodyPr lIns="0" tIns="0" rIns="0" bIns="0"/>
          <a:lstStyle/>
          <a:p>
            <a:fld id="{89006F1E-66CD-4A4B-9370-B4A3080F0E6C}" type="slidenum">
              <a:rPr lang="en-US" smtClean="0"/>
              <a:pPr/>
              <a:t>‹#›</a:t>
            </a:fld>
            <a:endParaRPr lang="en-US"/>
          </a:p>
        </p:txBody>
      </p:sp>
      <p:sp>
        <p:nvSpPr>
          <p:cNvPr id="17" name="Title 16">
            <a:extLst>
              <a:ext uri="{FF2B5EF4-FFF2-40B4-BE49-F238E27FC236}">
                <a16:creationId xmlns:a16="http://schemas.microsoft.com/office/drawing/2014/main" id="{FB477BD4-B3C4-0245-87E7-210A11A609FB}"/>
              </a:ext>
            </a:extLst>
          </p:cNvPr>
          <p:cNvSpPr>
            <a:spLocks noGrp="1"/>
          </p:cNvSpPr>
          <p:nvPr>
            <p:ph type="title"/>
          </p:nvPr>
        </p:nvSpPr>
        <p:spPr>
          <a:xfrm>
            <a:off x="304801" y="304799"/>
            <a:ext cx="7010399" cy="381001"/>
          </a:xfrm>
        </p:spPr>
        <p:txBody>
          <a:bodyPr/>
          <a:lstStyle>
            <a:lvl1pPr>
              <a:defRPr>
                <a:solidFill>
                  <a:schemeClr val="tx2"/>
                </a:solidFill>
              </a:defRPr>
            </a:lvl1pPr>
          </a:lstStyle>
          <a:p>
            <a:r>
              <a:rPr lang="en-US"/>
              <a:t>Click to edit Master title style</a:t>
            </a:r>
          </a:p>
        </p:txBody>
      </p:sp>
      <p:sp>
        <p:nvSpPr>
          <p:cNvPr id="2" name="Footer Placeholder 1">
            <a:extLst>
              <a:ext uri="{FF2B5EF4-FFF2-40B4-BE49-F238E27FC236}">
                <a16:creationId xmlns:a16="http://schemas.microsoft.com/office/drawing/2014/main" id="{A45E3DEE-D37C-1D48-B059-905D05A3A480}"/>
              </a:ext>
            </a:extLst>
          </p:cNvPr>
          <p:cNvSpPr>
            <a:spLocks noGrp="1"/>
          </p:cNvSpPr>
          <p:nvPr>
            <p:ph type="ftr" sz="quarter" idx="12"/>
          </p:nvPr>
        </p:nvSpPr>
        <p:spPr>
          <a:xfrm>
            <a:off x="304799" y="6553201"/>
            <a:ext cx="7620001" cy="304800"/>
          </a:xfrm>
          <a:prstGeom prst="rect">
            <a:avLst/>
          </a:prstGeom>
        </p:spPr>
        <p:txBody>
          <a:bodyPr/>
          <a:lstStyle>
            <a:lvl1pPr>
              <a:defRPr>
                <a:solidFill>
                  <a:schemeClr val="accent5"/>
                </a:solidFill>
              </a:defRPr>
            </a:lvl1pPr>
          </a:lstStyle>
          <a:p>
            <a:r>
              <a:rPr lang="en-US">
                <a:ea typeface="MS PGothic" panose="020B0600070205080204" pitchFamily="34" charset="-128"/>
              </a:rPr>
              <a:t>Proprietary &amp; Confidential | Molecular Biology STRAP | XX-April-2021</a:t>
            </a:r>
          </a:p>
        </p:txBody>
      </p:sp>
      <p:sp>
        <p:nvSpPr>
          <p:cNvPr id="8" name="Content Placeholder 3">
            <a:extLst>
              <a:ext uri="{FF2B5EF4-FFF2-40B4-BE49-F238E27FC236}">
                <a16:creationId xmlns:a16="http://schemas.microsoft.com/office/drawing/2014/main" id="{E78B1B2E-3D55-0E40-BE78-DE19E0E78115}"/>
              </a:ext>
            </a:extLst>
          </p:cNvPr>
          <p:cNvSpPr>
            <a:spLocks noGrp="1"/>
          </p:cNvSpPr>
          <p:nvPr>
            <p:ph sz="quarter" idx="14"/>
          </p:nvPr>
        </p:nvSpPr>
        <p:spPr>
          <a:xfrm>
            <a:off x="304800" y="1447800"/>
            <a:ext cx="5791200" cy="4607954"/>
          </a:xfrm>
          <a:prstGeom prst="rect">
            <a:avLst/>
          </a:prstGeom>
        </p:spPr>
        <p:txBody>
          <a:bodyPr vert="horz" lIns="0" tIns="0" rIns="0" bIns="0" rtlCol="0" anchor="ctr" anchorCtr="0">
            <a:noAutofit/>
          </a:bodyPr>
          <a:lstStyle>
            <a:lvl1pPr marL="342900" indent="-342900">
              <a:buClr>
                <a:schemeClr val="tx2"/>
              </a:buClr>
              <a:buFont typeface="Arial" panose="020B0604020202020204" pitchFamily="34" charset="0"/>
              <a:buChar char="•"/>
              <a:defRPr lang="en-US" dirty="0" smtClean="0"/>
            </a:lvl1pPr>
            <a:lvl2pPr marL="520700" indent="-285750">
              <a:buFont typeface="Arial" panose="020B0604020202020204" pitchFamily="34" charset="0"/>
              <a:buChar char="•"/>
              <a:defRPr lang="en-US" dirty="0" smtClean="0"/>
            </a:lvl2pPr>
            <a:lvl3pPr marL="749300" indent="-285750">
              <a:buFont typeface="Arial" panose="020B0604020202020204" pitchFamily="34" charset="0"/>
              <a:buChar char="•"/>
              <a:defRPr lang="en-US" dirty="0" smtClean="0"/>
            </a:lvl3pPr>
            <a:lvl4pPr marL="862013" indent="-171450">
              <a:buFont typeface="Arial" panose="020B0604020202020204" pitchFamily="34" charset="0"/>
              <a:buChar char="•"/>
              <a:defRPr lang="en-US" dirty="0" smtClean="0"/>
            </a:lvl4pPr>
            <a:lvl5pPr marL="1093787" indent="-17145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913AD51C-A540-614E-BCCA-04DD383D383F}"/>
              </a:ext>
            </a:extLst>
          </p:cNvPr>
          <p:cNvSpPr>
            <a:spLocks noGrp="1"/>
          </p:cNvSpPr>
          <p:nvPr>
            <p:ph type="body" sz="quarter" idx="15" hasCustomPrompt="1"/>
          </p:nvPr>
        </p:nvSpPr>
        <p:spPr>
          <a:xfrm>
            <a:off x="304798" y="6055756"/>
            <a:ext cx="5255662" cy="489204"/>
          </a:xfrm>
          <a:prstGeom prst="rect">
            <a:avLst/>
          </a:prstGeom>
        </p:spPr>
        <p:txBody>
          <a:bodyPr anchor="b">
            <a:normAutofit/>
          </a:bodyPr>
          <a:lstStyle>
            <a:lvl1pPr marL="0" indent="0">
              <a:spcBef>
                <a:spcPts val="100"/>
              </a:spcBef>
              <a:buNone/>
              <a:defRPr sz="1000">
                <a:solidFill>
                  <a:schemeClr val="accent5"/>
                </a:solidFill>
              </a:defRPr>
            </a:lvl1pPr>
          </a:lstStyle>
          <a:p>
            <a:pPr lvl="0"/>
            <a:r>
              <a:rPr lang="en-US"/>
              <a:t>Source notes</a:t>
            </a:r>
          </a:p>
        </p:txBody>
      </p:sp>
      <p:sp>
        <p:nvSpPr>
          <p:cNvPr id="10" name="Text Placeholder 7">
            <a:extLst>
              <a:ext uri="{FF2B5EF4-FFF2-40B4-BE49-F238E27FC236}">
                <a16:creationId xmlns:a16="http://schemas.microsoft.com/office/drawing/2014/main" id="{C408A322-1049-7D40-BE0C-3E8E57A90330}"/>
              </a:ext>
            </a:extLst>
          </p:cNvPr>
          <p:cNvSpPr>
            <a:spLocks noGrp="1"/>
          </p:cNvSpPr>
          <p:nvPr>
            <p:ph type="body" sz="quarter" idx="16" hasCustomPrompt="1"/>
          </p:nvPr>
        </p:nvSpPr>
        <p:spPr>
          <a:xfrm>
            <a:off x="300226" y="893063"/>
            <a:ext cx="6884345" cy="381001"/>
          </a:xfrm>
          <a:prstGeom prst="rect">
            <a:avLst/>
          </a:prstGeom>
        </p:spPr>
        <p:txBody>
          <a:bodyPr lIns="0" tIns="0" rIns="0" bIns="0" anchor="t">
            <a:noAutofit/>
          </a:bodyPr>
          <a:lstStyle>
            <a:lvl1pPr marL="0" indent="0">
              <a:buNone/>
              <a:defRPr sz="2000">
                <a:solidFill>
                  <a:schemeClr val="tx1"/>
                </a:solidFill>
              </a:defRPr>
            </a:lvl1pPr>
          </a:lstStyle>
          <a:p>
            <a:pPr lvl="0"/>
            <a:r>
              <a:rPr lang="en-US"/>
              <a:t>Click to add </a:t>
            </a:r>
            <a:r>
              <a:rPr lang="en-US" err="1"/>
              <a:t>subheader</a:t>
            </a:r>
            <a:endParaRPr lang="en-US"/>
          </a:p>
        </p:txBody>
      </p:sp>
    </p:spTree>
    <p:extLst>
      <p:ext uri="{BB962C8B-B14F-4D97-AF65-F5344CB8AC3E}">
        <p14:creationId xmlns:p14="http://schemas.microsoft.com/office/powerpoint/2010/main" val="3944658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No Content)">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FCD351-FB49-4649-BD51-7F2228F8A180}"/>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6" name="Text Placeholder 7">
            <a:extLst>
              <a:ext uri="{FF2B5EF4-FFF2-40B4-BE49-F238E27FC236}">
                <a16:creationId xmlns:a16="http://schemas.microsoft.com/office/drawing/2014/main" id="{AC6D37E8-5E1B-4025-9CB6-9AADD0B2F568}"/>
              </a:ext>
            </a:extLst>
          </p:cNvPr>
          <p:cNvSpPr>
            <a:spLocks noGrp="1"/>
          </p:cNvSpPr>
          <p:nvPr>
            <p:ph type="body" sz="quarter" idx="11" hasCustomPrompt="1"/>
          </p:nvPr>
        </p:nvSpPr>
        <p:spPr>
          <a:xfrm>
            <a:off x="300226" y="893063"/>
            <a:ext cx="11591547" cy="381001"/>
          </a:xfrm>
          <a:prstGeom prst="rect">
            <a:avLst/>
          </a:prstGeom>
        </p:spPr>
        <p:txBody>
          <a:bodyPr lIns="0" tIns="0" rIns="0" bIns="0" anchor="t">
            <a:noAutofit/>
          </a:bodyPr>
          <a:lstStyle>
            <a:lvl1pPr marL="0" indent="0">
              <a:buNone/>
              <a:defRPr sz="2000">
                <a:solidFill>
                  <a:schemeClr val="tx1"/>
                </a:solidFill>
              </a:defRPr>
            </a:lvl1pPr>
          </a:lstStyle>
          <a:p>
            <a:pPr lvl="0"/>
            <a:r>
              <a:rPr lang="en-US"/>
              <a:t>Click to add </a:t>
            </a:r>
            <a:r>
              <a:rPr lang="en-US" err="1"/>
              <a:t>subheader</a:t>
            </a:r>
            <a:endParaRPr lang="en-US"/>
          </a:p>
        </p:txBody>
      </p:sp>
      <p:sp>
        <p:nvSpPr>
          <p:cNvPr id="7" name="Text Placeholder 7">
            <a:extLst>
              <a:ext uri="{FF2B5EF4-FFF2-40B4-BE49-F238E27FC236}">
                <a16:creationId xmlns:a16="http://schemas.microsoft.com/office/drawing/2014/main" id="{C1053C4D-3245-41E9-BC79-2133D6EFE62D}"/>
              </a:ext>
            </a:extLst>
          </p:cNvPr>
          <p:cNvSpPr>
            <a:spLocks noGrp="1"/>
          </p:cNvSpPr>
          <p:nvPr>
            <p:ph type="body" sz="quarter" idx="12" hasCustomPrompt="1"/>
          </p:nvPr>
        </p:nvSpPr>
        <p:spPr>
          <a:xfrm>
            <a:off x="304797" y="6055756"/>
            <a:ext cx="11582401" cy="489204"/>
          </a:xfrm>
          <a:prstGeom prst="rect">
            <a:avLst/>
          </a:prstGeom>
        </p:spPr>
        <p:txBody>
          <a:bodyPr anchor="b">
            <a:normAutofit/>
          </a:bodyPr>
          <a:lstStyle>
            <a:lvl1pPr marL="0" indent="0">
              <a:spcBef>
                <a:spcPts val="100"/>
              </a:spcBef>
              <a:buNone/>
              <a:defRPr sz="1000">
                <a:solidFill>
                  <a:schemeClr val="accent5"/>
                </a:solidFill>
              </a:defRPr>
            </a:lvl1pPr>
          </a:lstStyle>
          <a:p>
            <a:pPr lvl="0"/>
            <a:r>
              <a:rPr lang="en-US"/>
              <a:t>Source notes</a:t>
            </a:r>
          </a:p>
        </p:txBody>
      </p:sp>
      <p:sp>
        <p:nvSpPr>
          <p:cNvPr id="8" name="Slide Number Placeholder 11">
            <a:extLst>
              <a:ext uri="{FF2B5EF4-FFF2-40B4-BE49-F238E27FC236}">
                <a16:creationId xmlns:a16="http://schemas.microsoft.com/office/drawing/2014/main" id="{43FDEDB6-CE04-F84B-AAD3-991730DCA9C0}"/>
              </a:ext>
            </a:extLst>
          </p:cNvPr>
          <p:cNvSpPr>
            <a:spLocks noGrp="1"/>
          </p:cNvSpPr>
          <p:nvPr>
            <p:ph type="sldNum" sz="quarter" idx="10"/>
          </p:nvPr>
        </p:nvSpPr>
        <p:spPr>
          <a:xfrm>
            <a:off x="1" y="6553200"/>
            <a:ext cx="304799" cy="304799"/>
          </a:xfrm>
        </p:spPr>
        <p:txBody>
          <a:bodyPr lIns="0" tIns="0" rIns="0" bIns="0"/>
          <a:lstStyle/>
          <a:p>
            <a:fld id="{89006F1E-66CD-4A4B-9370-B4A3080F0E6C}" type="slidenum">
              <a:rPr lang="en-US" smtClean="0"/>
              <a:pPr/>
              <a:t>‹#›</a:t>
            </a:fld>
            <a:endParaRPr lang="en-US"/>
          </a:p>
        </p:txBody>
      </p:sp>
      <p:sp>
        <p:nvSpPr>
          <p:cNvPr id="9" name="Footer Placeholder 1">
            <a:extLst>
              <a:ext uri="{FF2B5EF4-FFF2-40B4-BE49-F238E27FC236}">
                <a16:creationId xmlns:a16="http://schemas.microsoft.com/office/drawing/2014/main" id="{D91B50C1-7025-B243-9430-602CDE810AAB}"/>
              </a:ext>
            </a:extLst>
          </p:cNvPr>
          <p:cNvSpPr>
            <a:spLocks noGrp="1"/>
          </p:cNvSpPr>
          <p:nvPr>
            <p:ph type="ftr" sz="quarter" idx="13"/>
          </p:nvPr>
        </p:nvSpPr>
        <p:spPr>
          <a:xfrm>
            <a:off x="304799" y="6553201"/>
            <a:ext cx="7620001" cy="304800"/>
          </a:xfrm>
          <a:prstGeom prst="rect">
            <a:avLst/>
          </a:prstGeom>
        </p:spPr>
        <p:txBody>
          <a:bodyPr/>
          <a:lstStyle>
            <a:lvl1pPr>
              <a:defRPr>
                <a:solidFill>
                  <a:schemeClr val="accent5"/>
                </a:solidFill>
              </a:defRPr>
            </a:lvl1pPr>
          </a:lstStyle>
          <a:p>
            <a:r>
              <a:rPr lang="en-US">
                <a:ea typeface="MS PGothic" panose="020B0600070205080204" pitchFamily="34" charset="-128"/>
              </a:rPr>
              <a:t>Proprietary &amp; Confidential | Molecular Biology STRAP | XX-April-2021</a:t>
            </a:r>
          </a:p>
        </p:txBody>
      </p:sp>
    </p:spTree>
    <p:extLst>
      <p:ext uri="{BB962C8B-B14F-4D97-AF65-F5344CB8AC3E}">
        <p14:creationId xmlns:p14="http://schemas.microsoft.com/office/powerpoint/2010/main" val="3625364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744">
          <p15:clr>
            <a:srgbClr val="FBAE40"/>
          </p15:clr>
        </p15:guide>
        <p15:guide id="3" pos="3936">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42EC3-BB61-5A42-8BF1-1D2972BB044D}"/>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Slide Number Placeholder 11">
            <a:extLst>
              <a:ext uri="{FF2B5EF4-FFF2-40B4-BE49-F238E27FC236}">
                <a16:creationId xmlns:a16="http://schemas.microsoft.com/office/drawing/2014/main" id="{0D25D28A-A5EB-C240-A997-149159566C62}"/>
              </a:ext>
            </a:extLst>
          </p:cNvPr>
          <p:cNvSpPr>
            <a:spLocks noGrp="1"/>
          </p:cNvSpPr>
          <p:nvPr>
            <p:ph type="sldNum" sz="quarter" idx="10"/>
          </p:nvPr>
        </p:nvSpPr>
        <p:spPr>
          <a:xfrm>
            <a:off x="1" y="6553200"/>
            <a:ext cx="304799" cy="304799"/>
          </a:xfrm>
        </p:spPr>
        <p:txBody>
          <a:bodyPr lIns="0" tIns="0" rIns="0" bIns="0"/>
          <a:lstStyle/>
          <a:p>
            <a:fld id="{89006F1E-66CD-4A4B-9370-B4A3080F0E6C}" type="slidenum">
              <a:rPr lang="en-US" smtClean="0"/>
              <a:pPr/>
              <a:t>‹#›</a:t>
            </a:fld>
            <a:endParaRPr lang="en-US"/>
          </a:p>
        </p:txBody>
      </p:sp>
      <p:sp>
        <p:nvSpPr>
          <p:cNvPr id="6" name="Footer Placeholder 1">
            <a:extLst>
              <a:ext uri="{FF2B5EF4-FFF2-40B4-BE49-F238E27FC236}">
                <a16:creationId xmlns:a16="http://schemas.microsoft.com/office/drawing/2014/main" id="{EF39BEC2-E111-4A4B-836F-3D8401524587}"/>
              </a:ext>
            </a:extLst>
          </p:cNvPr>
          <p:cNvSpPr>
            <a:spLocks noGrp="1"/>
          </p:cNvSpPr>
          <p:nvPr>
            <p:ph type="ftr" sz="quarter" idx="12"/>
          </p:nvPr>
        </p:nvSpPr>
        <p:spPr>
          <a:xfrm>
            <a:off x="304799" y="6553201"/>
            <a:ext cx="7620001" cy="304800"/>
          </a:xfrm>
          <a:prstGeom prst="rect">
            <a:avLst/>
          </a:prstGeom>
        </p:spPr>
        <p:txBody>
          <a:bodyPr/>
          <a:lstStyle>
            <a:lvl1pPr>
              <a:defRPr>
                <a:solidFill>
                  <a:schemeClr val="accent5"/>
                </a:solidFill>
              </a:defRPr>
            </a:lvl1pPr>
          </a:lstStyle>
          <a:p>
            <a:r>
              <a:rPr lang="en-US">
                <a:ea typeface="MS PGothic" panose="020B0600070205080204" pitchFamily="34" charset="-128"/>
              </a:rPr>
              <a:t>Proprietary &amp; Confidential | Molecular Biology STRAP | XX-April-2021</a:t>
            </a:r>
          </a:p>
        </p:txBody>
      </p:sp>
      <p:sp>
        <p:nvSpPr>
          <p:cNvPr id="8" name="Text Placeholder 7">
            <a:extLst>
              <a:ext uri="{FF2B5EF4-FFF2-40B4-BE49-F238E27FC236}">
                <a16:creationId xmlns:a16="http://schemas.microsoft.com/office/drawing/2014/main" id="{2A4CF7CB-ACF9-2E40-8360-1F09EA0AC0AC}"/>
              </a:ext>
            </a:extLst>
          </p:cNvPr>
          <p:cNvSpPr>
            <a:spLocks noGrp="1"/>
          </p:cNvSpPr>
          <p:nvPr>
            <p:ph type="body" sz="quarter" idx="11" hasCustomPrompt="1"/>
          </p:nvPr>
        </p:nvSpPr>
        <p:spPr>
          <a:xfrm>
            <a:off x="300226" y="893063"/>
            <a:ext cx="11591547" cy="381001"/>
          </a:xfrm>
          <a:prstGeom prst="rect">
            <a:avLst/>
          </a:prstGeom>
        </p:spPr>
        <p:txBody>
          <a:bodyPr lIns="0" tIns="0" rIns="0" bIns="0" anchor="t">
            <a:noAutofit/>
          </a:bodyPr>
          <a:lstStyle>
            <a:lvl1pPr marL="0" indent="0">
              <a:buNone/>
              <a:defRPr sz="2000">
                <a:solidFill>
                  <a:schemeClr val="tx1"/>
                </a:solidFill>
              </a:defRPr>
            </a:lvl1pPr>
          </a:lstStyle>
          <a:p>
            <a:pPr lvl="0"/>
            <a:r>
              <a:rPr lang="en-US"/>
              <a:t>Click to add </a:t>
            </a:r>
            <a:r>
              <a:rPr lang="en-US" err="1"/>
              <a:t>subheader</a:t>
            </a:r>
            <a:endParaRPr lang="en-US"/>
          </a:p>
        </p:txBody>
      </p:sp>
      <p:sp>
        <p:nvSpPr>
          <p:cNvPr id="10" name="Text Placeholder 7">
            <a:extLst>
              <a:ext uri="{FF2B5EF4-FFF2-40B4-BE49-F238E27FC236}">
                <a16:creationId xmlns:a16="http://schemas.microsoft.com/office/drawing/2014/main" id="{EE5F834C-5A08-DA4E-82E7-AC5A7A2CC796}"/>
              </a:ext>
            </a:extLst>
          </p:cNvPr>
          <p:cNvSpPr>
            <a:spLocks noGrp="1"/>
          </p:cNvSpPr>
          <p:nvPr>
            <p:ph type="body" sz="quarter" idx="13" hasCustomPrompt="1"/>
          </p:nvPr>
        </p:nvSpPr>
        <p:spPr>
          <a:xfrm>
            <a:off x="304797" y="6055756"/>
            <a:ext cx="11582401" cy="489204"/>
          </a:xfrm>
          <a:prstGeom prst="rect">
            <a:avLst/>
          </a:prstGeom>
        </p:spPr>
        <p:txBody>
          <a:bodyPr anchor="b">
            <a:normAutofit/>
          </a:bodyPr>
          <a:lstStyle>
            <a:lvl1pPr marL="0" indent="0">
              <a:spcBef>
                <a:spcPts val="100"/>
              </a:spcBef>
              <a:buNone/>
              <a:defRPr sz="1000">
                <a:solidFill>
                  <a:schemeClr val="accent5"/>
                </a:solidFill>
              </a:defRPr>
            </a:lvl1pPr>
          </a:lstStyle>
          <a:p>
            <a:pPr lvl="0"/>
            <a:r>
              <a:rPr lang="en-US"/>
              <a:t>Source notes</a:t>
            </a:r>
          </a:p>
        </p:txBody>
      </p:sp>
      <p:sp>
        <p:nvSpPr>
          <p:cNvPr id="7" name="Content Placeholder 6">
            <a:extLst>
              <a:ext uri="{FF2B5EF4-FFF2-40B4-BE49-F238E27FC236}">
                <a16:creationId xmlns:a16="http://schemas.microsoft.com/office/drawing/2014/main" id="{AFD7366D-1388-3D45-9C8A-11D05A5A4315}"/>
              </a:ext>
            </a:extLst>
          </p:cNvPr>
          <p:cNvSpPr>
            <a:spLocks noGrp="1"/>
          </p:cNvSpPr>
          <p:nvPr>
            <p:ph sz="quarter" idx="14"/>
          </p:nvPr>
        </p:nvSpPr>
        <p:spPr>
          <a:xfrm>
            <a:off x="300038" y="1447800"/>
            <a:ext cx="11587162" cy="4608513"/>
          </a:xfrm>
        </p:spPr>
        <p:txBody>
          <a:bodyPr/>
          <a:lstStyle>
            <a:lvl1pPr marL="342900" indent="-342900">
              <a:buFont typeface="Arial" panose="020B0604020202020204" pitchFamily="34" charset="0"/>
              <a:buChar char="•"/>
              <a:defRPr/>
            </a:lvl1pPr>
            <a:lvl2pPr marL="520700" indent="-285750">
              <a:buFont typeface="Arial" panose="020B0604020202020204" pitchFamily="34" charset="0"/>
              <a:buChar char="•"/>
              <a:defRPr/>
            </a:lvl2pPr>
            <a:lvl3pPr marL="749300" indent="-285750">
              <a:buFont typeface="Arial" panose="020B0604020202020204" pitchFamily="34" charset="0"/>
              <a:buChar char="•"/>
              <a:defRPr/>
            </a:lvl3pPr>
            <a:lvl4pPr marL="862013" indent="-171450">
              <a:buFont typeface="Arial" panose="020B0604020202020204" pitchFamily="34" charset="0"/>
              <a:buChar char="•"/>
              <a:defRPr/>
            </a:lvl4pPr>
            <a:lvl5pPr marL="1093787" indent="-17145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134017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 column">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42EC3-BB61-5A42-8BF1-1D2972BB044D}"/>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6" name="Slide Number Placeholder 11">
            <a:extLst>
              <a:ext uri="{FF2B5EF4-FFF2-40B4-BE49-F238E27FC236}">
                <a16:creationId xmlns:a16="http://schemas.microsoft.com/office/drawing/2014/main" id="{CA35970F-C7C4-F346-8F9C-43C9A251063B}"/>
              </a:ext>
            </a:extLst>
          </p:cNvPr>
          <p:cNvSpPr>
            <a:spLocks noGrp="1"/>
          </p:cNvSpPr>
          <p:nvPr>
            <p:ph type="sldNum" sz="quarter" idx="10"/>
          </p:nvPr>
        </p:nvSpPr>
        <p:spPr>
          <a:xfrm>
            <a:off x="1" y="6553200"/>
            <a:ext cx="304799" cy="304799"/>
          </a:xfrm>
        </p:spPr>
        <p:txBody>
          <a:bodyPr lIns="0" tIns="0" rIns="0" bIns="0"/>
          <a:lstStyle/>
          <a:p>
            <a:fld id="{89006F1E-66CD-4A4B-9370-B4A3080F0E6C}" type="slidenum">
              <a:rPr lang="en-US" smtClean="0"/>
              <a:pPr/>
              <a:t>‹#›</a:t>
            </a:fld>
            <a:endParaRPr lang="en-US"/>
          </a:p>
        </p:txBody>
      </p:sp>
      <p:sp>
        <p:nvSpPr>
          <p:cNvPr id="7" name="Footer Placeholder 1">
            <a:extLst>
              <a:ext uri="{FF2B5EF4-FFF2-40B4-BE49-F238E27FC236}">
                <a16:creationId xmlns:a16="http://schemas.microsoft.com/office/drawing/2014/main" id="{CE9EC605-3413-1E4D-96BF-ECCB56711FD5}"/>
              </a:ext>
            </a:extLst>
          </p:cNvPr>
          <p:cNvSpPr>
            <a:spLocks noGrp="1"/>
          </p:cNvSpPr>
          <p:nvPr>
            <p:ph type="ftr" sz="quarter" idx="13"/>
          </p:nvPr>
        </p:nvSpPr>
        <p:spPr>
          <a:xfrm>
            <a:off x="304799" y="6553201"/>
            <a:ext cx="7620001" cy="304800"/>
          </a:xfrm>
          <a:prstGeom prst="rect">
            <a:avLst/>
          </a:prstGeom>
        </p:spPr>
        <p:txBody>
          <a:bodyPr/>
          <a:lstStyle>
            <a:lvl1pPr>
              <a:defRPr>
                <a:solidFill>
                  <a:schemeClr val="accent5"/>
                </a:solidFill>
              </a:defRPr>
            </a:lvl1pPr>
          </a:lstStyle>
          <a:p>
            <a:r>
              <a:rPr lang="en-US">
                <a:ea typeface="MS PGothic" panose="020B0600070205080204" pitchFamily="34" charset="-128"/>
              </a:rPr>
              <a:t>Proprietary &amp; Confidential | Molecular Biology STRAP | XX-April-2021</a:t>
            </a:r>
          </a:p>
        </p:txBody>
      </p:sp>
      <p:sp>
        <p:nvSpPr>
          <p:cNvPr id="8" name="Text Placeholder 7">
            <a:extLst>
              <a:ext uri="{FF2B5EF4-FFF2-40B4-BE49-F238E27FC236}">
                <a16:creationId xmlns:a16="http://schemas.microsoft.com/office/drawing/2014/main" id="{FE813D60-49DC-CC4E-8912-23F1B67BB019}"/>
              </a:ext>
            </a:extLst>
          </p:cNvPr>
          <p:cNvSpPr>
            <a:spLocks noGrp="1"/>
          </p:cNvSpPr>
          <p:nvPr>
            <p:ph type="body" sz="quarter" idx="14" hasCustomPrompt="1"/>
          </p:nvPr>
        </p:nvSpPr>
        <p:spPr>
          <a:xfrm>
            <a:off x="304797" y="6055756"/>
            <a:ext cx="11582400" cy="489204"/>
          </a:xfrm>
          <a:prstGeom prst="rect">
            <a:avLst/>
          </a:prstGeom>
        </p:spPr>
        <p:txBody>
          <a:bodyPr anchor="b">
            <a:normAutofit/>
          </a:bodyPr>
          <a:lstStyle>
            <a:lvl1pPr marL="0" indent="0">
              <a:spcBef>
                <a:spcPts val="100"/>
              </a:spcBef>
              <a:buNone/>
              <a:defRPr sz="1000">
                <a:solidFill>
                  <a:schemeClr val="accent5"/>
                </a:solidFill>
              </a:defRPr>
            </a:lvl1pPr>
          </a:lstStyle>
          <a:p>
            <a:pPr lvl="0"/>
            <a:r>
              <a:rPr lang="en-US"/>
              <a:t>Source notes</a:t>
            </a:r>
          </a:p>
        </p:txBody>
      </p:sp>
      <p:sp>
        <p:nvSpPr>
          <p:cNvPr id="12" name="Content Placeholder 3">
            <a:extLst>
              <a:ext uri="{FF2B5EF4-FFF2-40B4-BE49-F238E27FC236}">
                <a16:creationId xmlns:a16="http://schemas.microsoft.com/office/drawing/2014/main" id="{D38D7C33-9A72-7247-9B25-82BE39794E09}"/>
              </a:ext>
            </a:extLst>
          </p:cNvPr>
          <p:cNvSpPr>
            <a:spLocks noGrp="1"/>
          </p:cNvSpPr>
          <p:nvPr>
            <p:ph sz="quarter" idx="16"/>
          </p:nvPr>
        </p:nvSpPr>
        <p:spPr>
          <a:xfrm>
            <a:off x="304800" y="1447800"/>
            <a:ext cx="5638796" cy="4607954"/>
          </a:xfrm>
          <a:prstGeom prst="rect">
            <a:avLst/>
          </a:prstGeom>
        </p:spPr>
        <p:txBody>
          <a:bodyPr vert="horz" lIns="0" tIns="0" rIns="0" bIns="0" rtlCol="0">
            <a:normAutofit/>
          </a:bodyPr>
          <a:lstStyle>
            <a:lvl1pPr marL="342900" indent="-342900">
              <a:buFont typeface="Arial" panose="020B0604020202020204" pitchFamily="34" charset="0"/>
              <a:buChar char="•"/>
              <a:defRPr lang="en-US" dirty="0" smtClean="0"/>
            </a:lvl1pPr>
            <a:lvl2pPr marL="520700" indent="-285750">
              <a:buFont typeface="Arial" panose="020B0604020202020204" pitchFamily="34" charset="0"/>
              <a:buChar char="•"/>
              <a:defRPr lang="en-US" dirty="0" smtClean="0"/>
            </a:lvl2pPr>
            <a:lvl3pPr marL="749300" indent="-285750">
              <a:buFont typeface="Arial" panose="020B0604020202020204" pitchFamily="34" charset="0"/>
              <a:buChar char="•"/>
              <a:defRPr lang="en-US" dirty="0" smtClean="0"/>
            </a:lvl3pPr>
            <a:lvl4pPr marL="862013" indent="-171450">
              <a:buFont typeface="Arial" panose="020B0604020202020204" pitchFamily="34" charset="0"/>
              <a:buChar char="•"/>
              <a:defRPr lang="en-US" dirty="0" smtClean="0"/>
            </a:lvl4pPr>
            <a:lvl5pPr marL="1093787" indent="-17145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4109D056-DC1B-0D4A-8CCD-D716570C884F}"/>
              </a:ext>
            </a:extLst>
          </p:cNvPr>
          <p:cNvSpPr>
            <a:spLocks noGrp="1"/>
          </p:cNvSpPr>
          <p:nvPr>
            <p:ph sz="quarter" idx="17"/>
          </p:nvPr>
        </p:nvSpPr>
        <p:spPr>
          <a:xfrm>
            <a:off x="6248398" y="1447800"/>
            <a:ext cx="5638799" cy="4607954"/>
          </a:xfrm>
          <a:prstGeom prst="rect">
            <a:avLst/>
          </a:prstGeom>
        </p:spPr>
        <p:txBody>
          <a:bodyPr vert="horz" lIns="0" tIns="0" rIns="0" bIns="0" rtlCol="0">
            <a:normAutofit/>
          </a:bodyPr>
          <a:lstStyle>
            <a:lvl1pPr marL="342900" indent="-342900">
              <a:buFont typeface="Arial" panose="020B0604020202020204" pitchFamily="34" charset="0"/>
              <a:buChar char="•"/>
              <a:defRPr lang="en-US" dirty="0" smtClean="0"/>
            </a:lvl1pPr>
            <a:lvl2pPr marL="520700" indent="-285750">
              <a:buFont typeface="Arial" panose="020B0604020202020204" pitchFamily="34" charset="0"/>
              <a:buChar char="•"/>
              <a:defRPr lang="en-US" dirty="0" smtClean="0"/>
            </a:lvl2pPr>
            <a:lvl3pPr marL="749300" indent="-285750">
              <a:buFont typeface="Arial" panose="020B0604020202020204" pitchFamily="34" charset="0"/>
              <a:buChar char="•"/>
              <a:defRPr lang="en-US" dirty="0" smtClean="0"/>
            </a:lvl3pPr>
            <a:lvl4pPr marL="862013" indent="-171450">
              <a:buFont typeface="Arial" panose="020B0604020202020204" pitchFamily="34" charset="0"/>
              <a:buChar char="•"/>
              <a:defRPr lang="en-US" dirty="0" smtClean="0"/>
            </a:lvl4pPr>
            <a:lvl5pPr marL="1093787" indent="-17145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7">
            <a:extLst>
              <a:ext uri="{FF2B5EF4-FFF2-40B4-BE49-F238E27FC236}">
                <a16:creationId xmlns:a16="http://schemas.microsoft.com/office/drawing/2014/main" id="{95884C43-267B-8949-85E3-D9171D3F9D13}"/>
              </a:ext>
            </a:extLst>
          </p:cNvPr>
          <p:cNvSpPr>
            <a:spLocks noGrp="1"/>
          </p:cNvSpPr>
          <p:nvPr>
            <p:ph type="body" sz="quarter" idx="11" hasCustomPrompt="1"/>
          </p:nvPr>
        </p:nvSpPr>
        <p:spPr>
          <a:xfrm>
            <a:off x="300226" y="893063"/>
            <a:ext cx="11591547" cy="381001"/>
          </a:xfrm>
          <a:prstGeom prst="rect">
            <a:avLst/>
          </a:prstGeom>
        </p:spPr>
        <p:txBody>
          <a:bodyPr lIns="0" tIns="0" rIns="0" bIns="0" anchor="t">
            <a:noAutofit/>
          </a:bodyPr>
          <a:lstStyle>
            <a:lvl1pPr marL="0" indent="0">
              <a:buNone/>
              <a:defRPr sz="2000">
                <a:solidFill>
                  <a:schemeClr val="tx1"/>
                </a:solidFill>
              </a:defRPr>
            </a:lvl1pPr>
          </a:lstStyle>
          <a:p>
            <a:pPr lvl="0"/>
            <a:r>
              <a:rPr lang="en-US"/>
              <a:t>Click to add </a:t>
            </a:r>
            <a:r>
              <a:rPr lang="en-US" err="1"/>
              <a:t>subheader</a:t>
            </a:r>
            <a:endParaRPr lang="en-US"/>
          </a:p>
        </p:txBody>
      </p:sp>
    </p:spTree>
    <p:extLst>
      <p:ext uri="{BB962C8B-B14F-4D97-AF65-F5344CB8AC3E}">
        <p14:creationId xmlns:p14="http://schemas.microsoft.com/office/powerpoint/2010/main" val="316361673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 Column">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42EC3-BB61-5A42-8BF1-1D2972BB044D}"/>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7" name="Slide Number Placeholder 11">
            <a:extLst>
              <a:ext uri="{FF2B5EF4-FFF2-40B4-BE49-F238E27FC236}">
                <a16:creationId xmlns:a16="http://schemas.microsoft.com/office/drawing/2014/main" id="{F81445D8-D3A2-A446-B35B-0A1E9B448962}"/>
              </a:ext>
            </a:extLst>
          </p:cNvPr>
          <p:cNvSpPr>
            <a:spLocks noGrp="1"/>
          </p:cNvSpPr>
          <p:nvPr>
            <p:ph type="sldNum" sz="quarter" idx="10"/>
          </p:nvPr>
        </p:nvSpPr>
        <p:spPr>
          <a:xfrm>
            <a:off x="1" y="6553200"/>
            <a:ext cx="304799" cy="304799"/>
          </a:xfrm>
        </p:spPr>
        <p:txBody>
          <a:bodyPr lIns="0" tIns="0" rIns="0" bIns="0"/>
          <a:lstStyle/>
          <a:p>
            <a:fld id="{89006F1E-66CD-4A4B-9370-B4A3080F0E6C}" type="slidenum">
              <a:rPr lang="en-US" smtClean="0"/>
              <a:pPr/>
              <a:t>‹#›</a:t>
            </a:fld>
            <a:endParaRPr lang="en-US"/>
          </a:p>
        </p:txBody>
      </p:sp>
      <p:sp>
        <p:nvSpPr>
          <p:cNvPr id="8" name="Footer Placeholder 1">
            <a:extLst>
              <a:ext uri="{FF2B5EF4-FFF2-40B4-BE49-F238E27FC236}">
                <a16:creationId xmlns:a16="http://schemas.microsoft.com/office/drawing/2014/main" id="{31F7B133-5860-D54B-A498-14C05567C68D}"/>
              </a:ext>
            </a:extLst>
          </p:cNvPr>
          <p:cNvSpPr>
            <a:spLocks noGrp="1"/>
          </p:cNvSpPr>
          <p:nvPr>
            <p:ph type="ftr" sz="quarter" idx="14"/>
          </p:nvPr>
        </p:nvSpPr>
        <p:spPr>
          <a:xfrm>
            <a:off x="304799" y="6553201"/>
            <a:ext cx="7620002" cy="304800"/>
          </a:xfrm>
          <a:prstGeom prst="rect">
            <a:avLst/>
          </a:prstGeom>
        </p:spPr>
        <p:txBody>
          <a:bodyPr/>
          <a:lstStyle>
            <a:lvl1pPr>
              <a:defRPr>
                <a:solidFill>
                  <a:schemeClr val="accent5"/>
                </a:solidFill>
              </a:defRPr>
            </a:lvl1pPr>
          </a:lstStyle>
          <a:p>
            <a:r>
              <a:rPr lang="en-US">
                <a:ea typeface="MS PGothic" panose="020B0600070205080204" pitchFamily="34" charset="-128"/>
              </a:rPr>
              <a:t>Proprietary &amp; Confidential | Molecular Biology STRAP | XX-April-2021</a:t>
            </a:r>
          </a:p>
        </p:txBody>
      </p:sp>
      <p:sp>
        <p:nvSpPr>
          <p:cNvPr id="9" name="Text Placeholder 7">
            <a:extLst>
              <a:ext uri="{FF2B5EF4-FFF2-40B4-BE49-F238E27FC236}">
                <a16:creationId xmlns:a16="http://schemas.microsoft.com/office/drawing/2014/main" id="{7F606DC1-8556-AC4B-B621-1C8A6F92D688}"/>
              </a:ext>
            </a:extLst>
          </p:cNvPr>
          <p:cNvSpPr>
            <a:spLocks noGrp="1"/>
          </p:cNvSpPr>
          <p:nvPr>
            <p:ph type="body" sz="quarter" idx="15" hasCustomPrompt="1"/>
          </p:nvPr>
        </p:nvSpPr>
        <p:spPr>
          <a:xfrm>
            <a:off x="304797" y="6055756"/>
            <a:ext cx="11582400" cy="489204"/>
          </a:xfrm>
          <a:prstGeom prst="rect">
            <a:avLst/>
          </a:prstGeom>
        </p:spPr>
        <p:txBody>
          <a:bodyPr anchor="b">
            <a:normAutofit/>
          </a:bodyPr>
          <a:lstStyle>
            <a:lvl1pPr marL="0" indent="0">
              <a:spcBef>
                <a:spcPts val="100"/>
              </a:spcBef>
              <a:buNone/>
              <a:defRPr sz="1000">
                <a:solidFill>
                  <a:schemeClr val="accent5"/>
                </a:solidFill>
              </a:defRPr>
            </a:lvl1pPr>
          </a:lstStyle>
          <a:p>
            <a:pPr lvl="0"/>
            <a:r>
              <a:rPr lang="en-US"/>
              <a:t>Source notes</a:t>
            </a:r>
          </a:p>
        </p:txBody>
      </p:sp>
      <p:sp>
        <p:nvSpPr>
          <p:cNvPr id="17" name="Text Placeholder 7">
            <a:extLst>
              <a:ext uri="{FF2B5EF4-FFF2-40B4-BE49-F238E27FC236}">
                <a16:creationId xmlns:a16="http://schemas.microsoft.com/office/drawing/2014/main" id="{C194A5C4-4D4E-424D-8DC1-C1FCDF1A8FC5}"/>
              </a:ext>
            </a:extLst>
          </p:cNvPr>
          <p:cNvSpPr>
            <a:spLocks noGrp="1"/>
          </p:cNvSpPr>
          <p:nvPr>
            <p:ph type="body" sz="quarter" idx="11" hasCustomPrompt="1"/>
          </p:nvPr>
        </p:nvSpPr>
        <p:spPr>
          <a:xfrm>
            <a:off x="300226" y="893063"/>
            <a:ext cx="11591547" cy="381001"/>
          </a:xfrm>
          <a:prstGeom prst="rect">
            <a:avLst/>
          </a:prstGeom>
        </p:spPr>
        <p:txBody>
          <a:bodyPr lIns="0" tIns="0" rIns="0" bIns="0" anchor="t">
            <a:noAutofit/>
          </a:bodyPr>
          <a:lstStyle>
            <a:lvl1pPr marL="0" indent="0">
              <a:buNone/>
              <a:defRPr sz="2000">
                <a:solidFill>
                  <a:schemeClr val="tx1"/>
                </a:solidFill>
              </a:defRPr>
            </a:lvl1pPr>
          </a:lstStyle>
          <a:p>
            <a:pPr lvl="0"/>
            <a:r>
              <a:rPr lang="en-US"/>
              <a:t>Click to add </a:t>
            </a:r>
            <a:r>
              <a:rPr lang="en-US" err="1"/>
              <a:t>subheader</a:t>
            </a:r>
            <a:endParaRPr lang="en-US"/>
          </a:p>
        </p:txBody>
      </p:sp>
      <p:sp>
        <p:nvSpPr>
          <p:cNvPr id="18" name="Content Placeholder 3">
            <a:extLst>
              <a:ext uri="{FF2B5EF4-FFF2-40B4-BE49-F238E27FC236}">
                <a16:creationId xmlns:a16="http://schemas.microsoft.com/office/drawing/2014/main" id="{22065214-DE69-2246-B1F9-8B166D25671B}"/>
              </a:ext>
            </a:extLst>
          </p:cNvPr>
          <p:cNvSpPr>
            <a:spLocks noGrp="1"/>
          </p:cNvSpPr>
          <p:nvPr>
            <p:ph sz="quarter" idx="18"/>
          </p:nvPr>
        </p:nvSpPr>
        <p:spPr>
          <a:xfrm>
            <a:off x="304800" y="1447800"/>
            <a:ext cx="3657600" cy="4607954"/>
          </a:xfrm>
          <a:prstGeom prst="rect">
            <a:avLst/>
          </a:prstGeom>
        </p:spPr>
        <p:txBody>
          <a:bodyPr vert="horz" lIns="0" tIns="0" rIns="0" bIns="0" rtlCol="0">
            <a:normAutofit/>
          </a:bodyPr>
          <a:lstStyle>
            <a:lvl1pPr marL="342900" indent="-342900">
              <a:buFont typeface="Arial" panose="020B0604020202020204" pitchFamily="34" charset="0"/>
              <a:buChar char="•"/>
              <a:defRPr lang="en-US" dirty="0" smtClean="0"/>
            </a:lvl1pPr>
            <a:lvl2pPr marL="520700" indent="-285750">
              <a:buFont typeface="Arial" panose="020B0604020202020204" pitchFamily="34" charset="0"/>
              <a:buChar char="•"/>
              <a:defRPr lang="en-US" dirty="0" smtClean="0"/>
            </a:lvl2pPr>
            <a:lvl3pPr marL="749300" indent="-285750">
              <a:buFont typeface="Arial" panose="020B0604020202020204" pitchFamily="34" charset="0"/>
              <a:buChar char="•"/>
              <a:defRPr lang="en-US" dirty="0" smtClean="0"/>
            </a:lvl3pPr>
            <a:lvl4pPr marL="862013" indent="-171450">
              <a:buFont typeface="Arial" panose="020B0604020202020204" pitchFamily="34" charset="0"/>
              <a:buChar char="•"/>
              <a:defRPr lang="en-US" dirty="0" smtClean="0"/>
            </a:lvl4pPr>
            <a:lvl5pPr marL="1093787" indent="-17145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a:extLst>
              <a:ext uri="{FF2B5EF4-FFF2-40B4-BE49-F238E27FC236}">
                <a16:creationId xmlns:a16="http://schemas.microsoft.com/office/drawing/2014/main" id="{DE333DB3-CD71-1F4D-8ECF-51D4B490DCCC}"/>
              </a:ext>
            </a:extLst>
          </p:cNvPr>
          <p:cNvSpPr>
            <a:spLocks noGrp="1"/>
          </p:cNvSpPr>
          <p:nvPr>
            <p:ph sz="quarter" idx="19"/>
          </p:nvPr>
        </p:nvSpPr>
        <p:spPr>
          <a:xfrm>
            <a:off x="4267201" y="1447800"/>
            <a:ext cx="3657600" cy="4607954"/>
          </a:xfrm>
          <a:prstGeom prst="rect">
            <a:avLst/>
          </a:prstGeom>
        </p:spPr>
        <p:txBody>
          <a:bodyPr vert="horz" lIns="0" tIns="0" rIns="0" bIns="0" rtlCol="0">
            <a:normAutofit/>
          </a:bodyPr>
          <a:lstStyle>
            <a:lvl1pPr marL="342900" indent="-342900">
              <a:buFont typeface="Arial" panose="020B0604020202020204" pitchFamily="34" charset="0"/>
              <a:buChar char="•"/>
              <a:defRPr lang="en-US" dirty="0" smtClean="0"/>
            </a:lvl1pPr>
            <a:lvl2pPr marL="520700" indent="-285750">
              <a:buFont typeface="Arial" panose="020B0604020202020204" pitchFamily="34" charset="0"/>
              <a:buChar char="•"/>
              <a:defRPr lang="en-US" dirty="0" smtClean="0"/>
            </a:lvl2pPr>
            <a:lvl3pPr marL="749300" indent="-285750">
              <a:buFont typeface="Arial" panose="020B0604020202020204" pitchFamily="34" charset="0"/>
              <a:buChar char="•"/>
              <a:defRPr lang="en-US" dirty="0" smtClean="0"/>
            </a:lvl3pPr>
            <a:lvl4pPr marL="862013" indent="-171450">
              <a:buFont typeface="Arial" panose="020B0604020202020204" pitchFamily="34" charset="0"/>
              <a:buChar char="•"/>
              <a:defRPr lang="en-US" dirty="0" smtClean="0"/>
            </a:lvl4pPr>
            <a:lvl5pPr marL="1093787" indent="-17145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3">
            <a:extLst>
              <a:ext uri="{FF2B5EF4-FFF2-40B4-BE49-F238E27FC236}">
                <a16:creationId xmlns:a16="http://schemas.microsoft.com/office/drawing/2014/main" id="{8514F710-85FB-F040-B3B5-8573DB7FE6FE}"/>
              </a:ext>
            </a:extLst>
          </p:cNvPr>
          <p:cNvSpPr>
            <a:spLocks noGrp="1"/>
          </p:cNvSpPr>
          <p:nvPr>
            <p:ph sz="quarter" idx="21"/>
          </p:nvPr>
        </p:nvSpPr>
        <p:spPr>
          <a:xfrm>
            <a:off x="8229594" y="1447800"/>
            <a:ext cx="3657603" cy="4607954"/>
          </a:xfrm>
          <a:prstGeom prst="rect">
            <a:avLst/>
          </a:prstGeom>
        </p:spPr>
        <p:txBody>
          <a:bodyPr vert="horz" lIns="0" tIns="0" rIns="0" bIns="0" rtlCol="0">
            <a:normAutofit/>
          </a:bodyPr>
          <a:lstStyle>
            <a:lvl1pPr marL="342900" indent="-342900">
              <a:buFont typeface="Arial" panose="020B0604020202020204" pitchFamily="34" charset="0"/>
              <a:buChar char="•"/>
              <a:defRPr lang="en-US" dirty="0" smtClean="0"/>
            </a:lvl1pPr>
            <a:lvl2pPr marL="520700" indent="-285750">
              <a:buFont typeface="Arial" panose="020B0604020202020204" pitchFamily="34" charset="0"/>
              <a:buChar char="•"/>
              <a:defRPr lang="en-US" dirty="0" smtClean="0"/>
            </a:lvl2pPr>
            <a:lvl3pPr marL="749300" indent="-285750">
              <a:buFont typeface="Arial" panose="020B0604020202020204" pitchFamily="34" charset="0"/>
              <a:buChar char="•"/>
              <a:defRPr lang="en-US" dirty="0" smtClean="0"/>
            </a:lvl3pPr>
            <a:lvl4pPr marL="862013" indent="-171450">
              <a:buFont typeface="Arial" panose="020B0604020202020204" pitchFamily="34" charset="0"/>
              <a:buChar char="•"/>
              <a:defRPr lang="en-US" dirty="0" smtClean="0"/>
            </a:lvl4pPr>
            <a:lvl5pPr marL="1093787" indent="-17145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939300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 column with images">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42EC3-BB61-5A42-8BF1-1D2972BB044D}"/>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7" name="Slide Number Placeholder 11">
            <a:extLst>
              <a:ext uri="{FF2B5EF4-FFF2-40B4-BE49-F238E27FC236}">
                <a16:creationId xmlns:a16="http://schemas.microsoft.com/office/drawing/2014/main" id="{F81445D8-D3A2-A446-B35B-0A1E9B448962}"/>
              </a:ext>
            </a:extLst>
          </p:cNvPr>
          <p:cNvSpPr>
            <a:spLocks noGrp="1"/>
          </p:cNvSpPr>
          <p:nvPr>
            <p:ph type="sldNum" sz="quarter" idx="10"/>
          </p:nvPr>
        </p:nvSpPr>
        <p:spPr>
          <a:xfrm>
            <a:off x="1" y="6553200"/>
            <a:ext cx="304799" cy="304799"/>
          </a:xfrm>
        </p:spPr>
        <p:txBody>
          <a:bodyPr lIns="0" tIns="0" rIns="0" bIns="0"/>
          <a:lstStyle/>
          <a:p>
            <a:fld id="{89006F1E-66CD-4A4B-9370-B4A3080F0E6C}" type="slidenum">
              <a:rPr lang="en-US" smtClean="0"/>
              <a:pPr/>
              <a:t>‹#›</a:t>
            </a:fld>
            <a:endParaRPr lang="en-US"/>
          </a:p>
        </p:txBody>
      </p:sp>
      <p:sp>
        <p:nvSpPr>
          <p:cNvPr id="8" name="Footer Placeholder 1">
            <a:extLst>
              <a:ext uri="{FF2B5EF4-FFF2-40B4-BE49-F238E27FC236}">
                <a16:creationId xmlns:a16="http://schemas.microsoft.com/office/drawing/2014/main" id="{31F7B133-5860-D54B-A498-14C05567C68D}"/>
              </a:ext>
            </a:extLst>
          </p:cNvPr>
          <p:cNvSpPr>
            <a:spLocks noGrp="1"/>
          </p:cNvSpPr>
          <p:nvPr>
            <p:ph type="ftr" sz="quarter" idx="14"/>
          </p:nvPr>
        </p:nvSpPr>
        <p:spPr>
          <a:xfrm>
            <a:off x="304799" y="6553201"/>
            <a:ext cx="7620001" cy="304800"/>
          </a:xfrm>
          <a:prstGeom prst="rect">
            <a:avLst/>
          </a:prstGeom>
        </p:spPr>
        <p:txBody>
          <a:bodyPr/>
          <a:lstStyle>
            <a:lvl1pPr>
              <a:defRPr>
                <a:solidFill>
                  <a:schemeClr val="accent5"/>
                </a:solidFill>
              </a:defRPr>
            </a:lvl1pPr>
          </a:lstStyle>
          <a:p>
            <a:r>
              <a:rPr lang="en-US">
                <a:ea typeface="MS PGothic" panose="020B0600070205080204" pitchFamily="34" charset="-128"/>
              </a:rPr>
              <a:t>Proprietary &amp; Confidential | Molecular Biology STRAP | XX-April-2021</a:t>
            </a:r>
          </a:p>
        </p:txBody>
      </p:sp>
      <p:sp>
        <p:nvSpPr>
          <p:cNvPr id="9" name="Text Placeholder 7">
            <a:extLst>
              <a:ext uri="{FF2B5EF4-FFF2-40B4-BE49-F238E27FC236}">
                <a16:creationId xmlns:a16="http://schemas.microsoft.com/office/drawing/2014/main" id="{7F606DC1-8556-AC4B-B621-1C8A6F92D688}"/>
              </a:ext>
            </a:extLst>
          </p:cNvPr>
          <p:cNvSpPr>
            <a:spLocks noGrp="1"/>
          </p:cNvSpPr>
          <p:nvPr>
            <p:ph type="body" sz="quarter" idx="15" hasCustomPrompt="1"/>
          </p:nvPr>
        </p:nvSpPr>
        <p:spPr>
          <a:xfrm>
            <a:off x="304797" y="6055756"/>
            <a:ext cx="11591542" cy="489204"/>
          </a:xfrm>
          <a:prstGeom prst="rect">
            <a:avLst/>
          </a:prstGeom>
        </p:spPr>
        <p:txBody>
          <a:bodyPr anchor="b">
            <a:normAutofit/>
          </a:bodyPr>
          <a:lstStyle>
            <a:lvl1pPr marL="0" indent="0">
              <a:spcBef>
                <a:spcPts val="100"/>
              </a:spcBef>
              <a:buNone/>
              <a:defRPr sz="1000">
                <a:solidFill>
                  <a:schemeClr val="accent5"/>
                </a:solidFill>
              </a:defRPr>
            </a:lvl1pPr>
          </a:lstStyle>
          <a:p>
            <a:pPr lvl="0"/>
            <a:r>
              <a:rPr lang="en-US"/>
              <a:t>Source notes</a:t>
            </a:r>
          </a:p>
        </p:txBody>
      </p:sp>
      <p:sp>
        <p:nvSpPr>
          <p:cNvPr id="17" name="Text Placeholder 7">
            <a:extLst>
              <a:ext uri="{FF2B5EF4-FFF2-40B4-BE49-F238E27FC236}">
                <a16:creationId xmlns:a16="http://schemas.microsoft.com/office/drawing/2014/main" id="{C194A5C4-4D4E-424D-8DC1-C1FCDF1A8FC5}"/>
              </a:ext>
            </a:extLst>
          </p:cNvPr>
          <p:cNvSpPr>
            <a:spLocks noGrp="1"/>
          </p:cNvSpPr>
          <p:nvPr>
            <p:ph type="body" sz="quarter" idx="11" hasCustomPrompt="1"/>
          </p:nvPr>
        </p:nvSpPr>
        <p:spPr>
          <a:xfrm>
            <a:off x="300226" y="893063"/>
            <a:ext cx="11591547" cy="381001"/>
          </a:xfrm>
          <a:prstGeom prst="rect">
            <a:avLst/>
          </a:prstGeom>
        </p:spPr>
        <p:txBody>
          <a:bodyPr lIns="0" tIns="0" rIns="0" bIns="0" anchor="t">
            <a:noAutofit/>
          </a:bodyPr>
          <a:lstStyle>
            <a:lvl1pPr marL="0" indent="0">
              <a:buNone/>
              <a:defRPr sz="2000">
                <a:solidFill>
                  <a:schemeClr val="tx1"/>
                </a:solidFill>
              </a:defRPr>
            </a:lvl1pPr>
          </a:lstStyle>
          <a:p>
            <a:pPr lvl="0"/>
            <a:r>
              <a:rPr lang="en-US"/>
              <a:t>Click to add </a:t>
            </a:r>
            <a:r>
              <a:rPr lang="en-US" err="1"/>
              <a:t>subheader</a:t>
            </a:r>
            <a:endParaRPr lang="en-US"/>
          </a:p>
        </p:txBody>
      </p:sp>
      <p:sp>
        <p:nvSpPr>
          <p:cNvPr id="18" name="Content Placeholder 3">
            <a:extLst>
              <a:ext uri="{FF2B5EF4-FFF2-40B4-BE49-F238E27FC236}">
                <a16:creationId xmlns:a16="http://schemas.microsoft.com/office/drawing/2014/main" id="{22065214-DE69-2246-B1F9-8B166D25671B}"/>
              </a:ext>
            </a:extLst>
          </p:cNvPr>
          <p:cNvSpPr>
            <a:spLocks noGrp="1"/>
          </p:cNvSpPr>
          <p:nvPr>
            <p:ph sz="quarter" idx="18"/>
          </p:nvPr>
        </p:nvSpPr>
        <p:spPr>
          <a:xfrm>
            <a:off x="304800" y="3512047"/>
            <a:ext cx="3657600" cy="2528783"/>
          </a:xfrm>
          <a:prstGeom prst="rect">
            <a:avLst/>
          </a:prstGeom>
        </p:spPr>
        <p:txBody>
          <a:bodyPr vert="horz" lIns="0" tIns="0" rIns="0" bIns="0" rtlCol="0">
            <a:normAutofit/>
          </a:bodyPr>
          <a:lstStyle>
            <a:lvl1pPr marL="342900" indent="-342900">
              <a:buFont typeface="Arial" panose="020B0604020202020204" pitchFamily="34" charset="0"/>
              <a:buChar char="•"/>
              <a:defRPr lang="en-US" dirty="0" smtClean="0"/>
            </a:lvl1pPr>
            <a:lvl2pPr marL="520700" indent="-285750">
              <a:buFont typeface="Arial" panose="020B0604020202020204" pitchFamily="34" charset="0"/>
              <a:buChar char="•"/>
              <a:defRPr lang="en-US" dirty="0" smtClean="0"/>
            </a:lvl2pPr>
            <a:lvl3pPr marL="749300" indent="-285750">
              <a:buFont typeface="Arial" panose="020B0604020202020204" pitchFamily="34" charset="0"/>
              <a:buChar char="•"/>
              <a:defRPr lang="en-US" dirty="0" smtClean="0"/>
            </a:lvl3pPr>
            <a:lvl4pPr marL="862013" indent="-171450">
              <a:buFont typeface="Arial" panose="020B0604020202020204" pitchFamily="34" charset="0"/>
              <a:buChar char="•"/>
              <a:defRPr lang="en-US" dirty="0" smtClean="0"/>
            </a:lvl4pPr>
            <a:lvl5pPr marL="1093787" indent="-17145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a:extLst>
              <a:ext uri="{FF2B5EF4-FFF2-40B4-BE49-F238E27FC236}">
                <a16:creationId xmlns:a16="http://schemas.microsoft.com/office/drawing/2014/main" id="{DE333DB3-CD71-1F4D-8ECF-51D4B490DCCC}"/>
              </a:ext>
            </a:extLst>
          </p:cNvPr>
          <p:cNvSpPr>
            <a:spLocks noGrp="1"/>
          </p:cNvSpPr>
          <p:nvPr>
            <p:ph sz="quarter" idx="19"/>
          </p:nvPr>
        </p:nvSpPr>
        <p:spPr>
          <a:xfrm>
            <a:off x="4267201" y="3512047"/>
            <a:ext cx="3657600" cy="2528783"/>
          </a:xfrm>
          <a:prstGeom prst="rect">
            <a:avLst/>
          </a:prstGeom>
        </p:spPr>
        <p:txBody>
          <a:bodyPr vert="horz" lIns="0" tIns="0" rIns="0" bIns="0" rtlCol="0">
            <a:normAutofit/>
          </a:bodyPr>
          <a:lstStyle>
            <a:lvl1pPr marL="342900" indent="-342900">
              <a:buFont typeface="Arial" panose="020B0604020202020204" pitchFamily="34" charset="0"/>
              <a:buChar char="•"/>
              <a:defRPr lang="en-US" dirty="0" smtClean="0"/>
            </a:lvl1pPr>
            <a:lvl2pPr marL="520700" indent="-285750">
              <a:buFont typeface="Arial" panose="020B0604020202020204" pitchFamily="34" charset="0"/>
              <a:buChar char="•"/>
              <a:defRPr lang="en-US" dirty="0" smtClean="0"/>
            </a:lvl2pPr>
            <a:lvl3pPr marL="749300" indent="-285750">
              <a:buFont typeface="Arial" panose="020B0604020202020204" pitchFamily="34" charset="0"/>
              <a:buChar char="•"/>
              <a:defRPr lang="en-US" dirty="0" smtClean="0"/>
            </a:lvl3pPr>
            <a:lvl4pPr marL="862013" indent="-171450">
              <a:buFont typeface="Arial" panose="020B0604020202020204" pitchFamily="34" charset="0"/>
              <a:buChar char="•"/>
              <a:defRPr lang="en-US" dirty="0" smtClean="0"/>
            </a:lvl4pPr>
            <a:lvl5pPr marL="1093787" indent="-17145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3">
            <a:extLst>
              <a:ext uri="{FF2B5EF4-FFF2-40B4-BE49-F238E27FC236}">
                <a16:creationId xmlns:a16="http://schemas.microsoft.com/office/drawing/2014/main" id="{8514F710-85FB-F040-B3B5-8573DB7FE6FE}"/>
              </a:ext>
            </a:extLst>
          </p:cNvPr>
          <p:cNvSpPr>
            <a:spLocks noGrp="1"/>
          </p:cNvSpPr>
          <p:nvPr>
            <p:ph sz="quarter" idx="21"/>
          </p:nvPr>
        </p:nvSpPr>
        <p:spPr>
          <a:xfrm>
            <a:off x="8229594" y="3512047"/>
            <a:ext cx="3657603" cy="2528783"/>
          </a:xfrm>
          <a:prstGeom prst="rect">
            <a:avLst/>
          </a:prstGeom>
        </p:spPr>
        <p:txBody>
          <a:bodyPr vert="horz" lIns="0" tIns="0" rIns="0" bIns="0" rtlCol="0">
            <a:normAutofit/>
          </a:bodyPr>
          <a:lstStyle>
            <a:lvl1pPr marL="342900" indent="-342900">
              <a:buFont typeface="Arial" panose="020B0604020202020204" pitchFamily="34" charset="0"/>
              <a:buChar char="•"/>
              <a:defRPr lang="en-US" dirty="0" smtClean="0"/>
            </a:lvl1pPr>
            <a:lvl2pPr marL="520700" indent="-285750">
              <a:buFont typeface="Arial" panose="020B0604020202020204" pitchFamily="34" charset="0"/>
              <a:buChar char="•"/>
              <a:defRPr lang="en-US" dirty="0" smtClean="0"/>
            </a:lvl2pPr>
            <a:lvl3pPr marL="749300" indent="-285750">
              <a:buFont typeface="Arial" panose="020B0604020202020204" pitchFamily="34" charset="0"/>
              <a:buChar char="•"/>
              <a:defRPr lang="en-US" dirty="0" smtClean="0"/>
            </a:lvl3pPr>
            <a:lvl4pPr marL="862013" indent="-171450">
              <a:buFont typeface="Arial" panose="020B0604020202020204" pitchFamily="34" charset="0"/>
              <a:buChar char="•"/>
              <a:defRPr lang="en-US" dirty="0" smtClean="0"/>
            </a:lvl4pPr>
            <a:lvl5pPr marL="1093787" indent="-17145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3">
            <a:extLst>
              <a:ext uri="{FF2B5EF4-FFF2-40B4-BE49-F238E27FC236}">
                <a16:creationId xmlns:a16="http://schemas.microsoft.com/office/drawing/2014/main" id="{21A45530-6C50-AD46-A233-590ADD356A0F}"/>
              </a:ext>
            </a:extLst>
          </p:cNvPr>
          <p:cNvSpPr>
            <a:spLocks noGrp="1"/>
          </p:cNvSpPr>
          <p:nvPr>
            <p:ph type="pic" sz="quarter" idx="22" hasCustomPrompt="1"/>
          </p:nvPr>
        </p:nvSpPr>
        <p:spPr>
          <a:xfrm>
            <a:off x="300226" y="1466405"/>
            <a:ext cx="3662174" cy="1947672"/>
          </a:xfrm>
          <a:prstGeom prst="rect">
            <a:avLst/>
          </a:prstGeom>
          <a:pattFill prst="pct5">
            <a:fgClr>
              <a:schemeClr val="bg1"/>
            </a:fgClr>
            <a:bgClr>
              <a:schemeClr val="bg2"/>
            </a:bgClr>
          </a:pattFill>
        </p:spPr>
        <p:txBody>
          <a:bodyPr anchor="ctr"/>
          <a:lstStyle>
            <a:lvl1pPr marL="0" indent="0" algn="ctr">
              <a:buNone/>
              <a:defRPr/>
            </a:lvl1pPr>
          </a:lstStyle>
          <a:p>
            <a:r>
              <a:rPr lang="en-US"/>
              <a:t>Add photo</a:t>
            </a:r>
          </a:p>
        </p:txBody>
      </p:sp>
      <p:sp>
        <p:nvSpPr>
          <p:cNvPr id="14" name="Picture Placeholder 3">
            <a:extLst>
              <a:ext uri="{FF2B5EF4-FFF2-40B4-BE49-F238E27FC236}">
                <a16:creationId xmlns:a16="http://schemas.microsoft.com/office/drawing/2014/main" id="{93FDE34D-91F9-6E47-BC02-8A5F8FCC0810}"/>
              </a:ext>
            </a:extLst>
          </p:cNvPr>
          <p:cNvSpPr>
            <a:spLocks noGrp="1"/>
          </p:cNvSpPr>
          <p:nvPr>
            <p:ph type="pic" sz="quarter" idx="23" hasCustomPrompt="1"/>
          </p:nvPr>
        </p:nvSpPr>
        <p:spPr>
          <a:xfrm>
            <a:off x="4262626" y="1459723"/>
            <a:ext cx="3662174" cy="1947672"/>
          </a:xfrm>
          <a:prstGeom prst="rect">
            <a:avLst/>
          </a:prstGeom>
          <a:pattFill prst="pct5">
            <a:fgClr>
              <a:schemeClr val="bg1"/>
            </a:fgClr>
            <a:bgClr>
              <a:schemeClr val="bg2"/>
            </a:bgClr>
          </a:pattFill>
        </p:spPr>
        <p:txBody>
          <a:bodyPr anchor="ctr"/>
          <a:lstStyle>
            <a:lvl1pPr marL="0" indent="0" algn="ctr">
              <a:buNone/>
              <a:defRPr/>
            </a:lvl1pPr>
          </a:lstStyle>
          <a:p>
            <a:r>
              <a:rPr lang="en-US"/>
              <a:t>Add photo</a:t>
            </a:r>
          </a:p>
        </p:txBody>
      </p:sp>
      <p:sp>
        <p:nvSpPr>
          <p:cNvPr id="15" name="Picture Placeholder 3">
            <a:extLst>
              <a:ext uri="{FF2B5EF4-FFF2-40B4-BE49-F238E27FC236}">
                <a16:creationId xmlns:a16="http://schemas.microsoft.com/office/drawing/2014/main" id="{918389EF-8958-AA48-B23D-A8082E0D8EAF}"/>
              </a:ext>
            </a:extLst>
          </p:cNvPr>
          <p:cNvSpPr>
            <a:spLocks noGrp="1"/>
          </p:cNvSpPr>
          <p:nvPr>
            <p:ph type="pic" sz="quarter" idx="24" hasCustomPrompt="1"/>
          </p:nvPr>
        </p:nvSpPr>
        <p:spPr>
          <a:xfrm>
            <a:off x="8227308" y="1466404"/>
            <a:ext cx="3662174" cy="1947672"/>
          </a:xfrm>
          <a:prstGeom prst="rect">
            <a:avLst/>
          </a:prstGeom>
          <a:pattFill prst="pct5">
            <a:fgClr>
              <a:schemeClr val="bg1"/>
            </a:fgClr>
            <a:bgClr>
              <a:schemeClr val="bg2"/>
            </a:bgClr>
          </a:pattFill>
        </p:spPr>
        <p:txBody>
          <a:bodyPr anchor="ctr"/>
          <a:lstStyle>
            <a:lvl1pPr marL="0" indent="0" algn="ctr">
              <a:buNone/>
              <a:defRPr/>
            </a:lvl1pPr>
          </a:lstStyle>
          <a:p>
            <a:r>
              <a:rPr lang="en-US"/>
              <a:t>Add photo</a:t>
            </a:r>
          </a:p>
        </p:txBody>
      </p:sp>
      <p:grpSp>
        <p:nvGrpSpPr>
          <p:cNvPr id="16" name="Group 15">
            <a:extLst>
              <a:ext uri="{FF2B5EF4-FFF2-40B4-BE49-F238E27FC236}">
                <a16:creationId xmlns:a16="http://schemas.microsoft.com/office/drawing/2014/main" id="{954AA7D1-4A71-E04D-B394-33DE0DAB98E5}"/>
              </a:ext>
            </a:extLst>
          </p:cNvPr>
          <p:cNvGrpSpPr/>
          <p:nvPr userDrawn="1"/>
        </p:nvGrpSpPr>
        <p:grpSpPr>
          <a:xfrm>
            <a:off x="4114800" y="1474646"/>
            <a:ext cx="3968496" cy="4581107"/>
            <a:chOff x="4105421" y="1377388"/>
            <a:chExt cx="3964795" cy="2233914"/>
          </a:xfrm>
        </p:grpSpPr>
        <p:cxnSp>
          <p:nvCxnSpPr>
            <p:cNvPr id="20" name="Straight Connector 19">
              <a:extLst>
                <a:ext uri="{FF2B5EF4-FFF2-40B4-BE49-F238E27FC236}">
                  <a16:creationId xmlns:a16="http://schemas.microsoft.com/office/drawing/2014/main" id="{D653AB18-4CCB-094A-BBCE-63E28B9E9480}"/>
                </a:ext>
              </a:extLst>
            </p:cNvPr>
            <p:cNvCxnSpPr>
              <a:cxnSpLocks/>
            </p:cNvCxnSpPr>
            <p:nvPr/>
          </p:nvCxnSpPr>
          <p:spPr>
            <a:xfrm>
              <a:off x="4105421" y="1377388"/>
              <a:ext cx="0" cy="2233914"/>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629B770-7DAA-DE43-8441-3B367C83F5D4}"/>
                </a:ext>
              </a:extLst>
            </p:cNvPr>
            <p:cNvCxnSpPr>
              <a:cxnSpLocks/>
            </p:cNvCxnSpPr>
            <p:nvPr/>
          </p:nvCxnSpPr>
          <p:spPr>
            <a:xfrm>
              <a:off x="8070216" y="1377388"/>
              <a:ext cx="0" cy="2233914"/>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643384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 column with full width image">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558D3FC8-B671-4D4F-A345-B5E3B9CB827C}"/>
              </a:ext>
            </a:extLst>
          </p:cNvPr>
          <p:cNvSpPr>
            <a:spLocks noGrp="1"/>
          </p:cNvSpPr>
          <p:nvPr>
            <p:ph type="pic" sz="quarter" idx="13" hasCustomPrompt="1"/>
          </p:nvPr>
        </p:nvSpPr>
        <p:spPr>
          <a:xfrm>
            <a:off x="-1" y="4083050"/>
            <a:ext cx="12191999" cy="2774950"/>
          </a:xfrm>
          <a:prstGeom prst="rect">
            <a:avLst/>
          </a:prstGeom>
          <a:pattFill prst="pct5">
            <a:fgClr>
              <a:schemeClr val="bg1"/>
            </a:fgClr>
            <a:bgClr>
              <a:schemeClr val="bg2"/>
            </a:bgClr>
          </a:pattFill>
        </p:spPr>
        <p:txBody>
          <a:bodyPr vert="horz" wrap="square" lIns="0" tIns="0" rIns="0" bIns="0" rtlCol="0" anchor="ctr">
            <a:noAutofit/>
          </a:bodyPr>
          <a:lstStyle>
            <a:lvl1pPr marL="0" marR="0" indent="0" algn="ctr" defTabSz="914400" rtl="0" eaLnBrk="1" fontAlgn="auto" latinLnBrk="0" hangingPunct="1">
              <a:lnSpc>
                <a:spcPct val="120000"/>
              </a:lnSpc>
              <a:spcBef>
                <a:spcPts val="600"/>
              </a:spcBef>
              <a:spcAft>
                <a:spcPts val="0"/>
              </a:spcAft>
              <a:buClrTx/>
              <a:buSzTx/>
              <a:buFontTx/>
              <a:buNone/>
              <a:tabLst/>
              <a:defRPr lang="en-US" sz="1400">
                <a:solidFill>
                  <a:schemeClr val="tx1"/>
                </a:solidFill>
              </a:defRPr>
            </a:lvl1pPr>
          </a:lstStyle>
          <a:p>
            <a:pPr marL="411480" marR="0" lvl="0" indent="-411480" algn="ctr" defTabSz="914400" rtl="0" eaLnBrk="1" fontAlgn="auto" latinLnBrk="0" hangingPunct="1">
              <a:lnSpc>
                <a:spcPct val="120000"/>
              </a:lnSpc>
              <a:spcBef>
                <a:spcPts val="600"/>
              </a:spcBef>
              <a:spcAft>
                <a:spcPts val="0"/>
              </a:spcAft>
              <a:buClrTx/>
              <a:buSzTx/>
              <a:buFontTx/>
              <a:buNone/>
              <a:tabLst/>
              <a:defRPr/>
            </a:pPr>
            <a:r>
              <a:rPr lang="en-US"/>
              <a:t>Add photo</a:t>
            </a:r>
          </a:p>
        </p:txBody>
      </p:sp>
      <p:sp>
        <p:nvSpPr>
          <p:cNvPr id="11" name="Title 10">
            <a:extLst>
              <a:ext uri="{FF2B5EF4-FFF2-40B4-BE49-F238E27FC236}">
                <a16:creationId xmlns:a16="http://schemas.microsoft.com/office/drawing/2014/main" id="{06EA3E0F-6952-8B44-89C5-3A7230D81F97}"/>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6" name="Slide Number Placeholder 2">
            <a:extLst>
              <a:ext uri="{FF2B5EF4-FFF2-40B4-BE49-F238E27FC236}">
                <a16:creationId xmlns:a16="http://schemas.microsoft.com/office/drawing/2014/main" id="{5DFF6035-90FF-3D47-AC34-F7AD5C37C983}"/>
              </a:ext>
            </a:extLst>
          </p:cNvPr>
          <p:cNvSpPr>
            <a:spLocks noGrp="1"/>
          </p:cNvSpPr>
          <p:nvPr>
            <p:ph type="sldNum" sz="quarter" idx="10"/>
          </p:nvPr>
        </p:nvSpPr>
        <p:spPr>
          <a:xfrm>
            <a:off x="1" y="6553200"/>
            <a:ext cx="304799" cy="304799"/>
          </a:xfrm>
        </p:spPr>
        <p:txBody>
          <a:bodyPr/>
          <a:lstStyle>
            <a:lvl1pPr>
              <a:defRPr>
                <a:solidFill>
                  <a:schemeClr val="bg1"/>
                </a:solidFill>
              </a:defRPr>
            </a:lvl1pPr>
          </a:lstStyle>
          <a:p>
            <a:fld id="{89006F1E-66CD-4A4B-9370-B4A3080F0E6C}" type="slidenum">
              <a:rPr lang="en-US" smtClean="0"/>
              <a:pPr/>
              <a:t>‹#›</a:t>
            </a:fld>
            <a:endParaRPr lang="en-US"/>
          </a:p>
        </p:txBody>
      </p:sp>
      <p:sp>
        <p:nvSpPr>
          <p:cNvPr id="7" name="Footer Placeholder 1">
            <a:extLst>
              <a:ext uri="{FF2B5EF4-FFF2-40B4-BE49-F238E27FC236}">
                <a16:creationId xmlns:a16="http://schemas.microsoft.com/office/drawing/2014/main" id="{9089E539-E9D2-AE4B-B72F-91FBD9A90964}"/>
              </a:ext>
            </a:extLst>
          </p:cNvPr>
          <p:cNvSpPr>
            <a:spLocks noGrp="1"/>
          </p:cNvSpPr>
          <p:nvPr>
            <p:ph type="ftr" sz="quarter" idx="14"/>
          </p:nvPr>
        </p:nvSpPr>
        <p:spPr>
          <a:xfrm>
            <a:off x="304799" y="6553201"/>
            <a:ext cx="7620001" cy="304800"/>
          </a:xfrm>
          <a:prstGeom prst="rect">
            <a:avLst/>
          </a:prstGeom>
        </p:spPr>
        <p:txBody>
          <a:bodyPr/>
          <a:lstStyle>
            <a:lvl1pPr>
              <a:defRPr>
                <a:solidFill>
                  <a:schemeClr val="bg1"/>
                </a:solidFill>
              </a:defRPr>
            </a:lvl1pPr>
          </a:lstStyle>
          <a:p>
            <a:r>
              <a:rPr lang="en-US">
                <a:ea typeface="MS PGothic" panose="020B0600070205080204" pitchFamily="34" charset="-128"/>
              </a:rPr>
              <a:t>Proprietary &amp; Confidential | Molecular Biology STRAP | XX-April-2021</a:t>
            </a:r>
          </a:p>
        </p:txBody>
      </p:sp>
      <p:sp>
        <p:nvSpPr>
          <p:cNvPr id="8" name="Text Placeholder 7">
            <a:extLst>
              <a:ext uri="{FF2B5EF4-FFF2-40B4-BE49-F238E27FC236}">
                <a16:creationId xmlns:a16="http://schemas.microsoft.com/office/drawing/2014/main" id="{E5AA936C-79E4-0048-8C63-B027C15A3EF6}"/>
              </a:ext>
            </a:extLst>
          </p:cNvPr>
          <p:cNvSpPr>
            <a:spLocks noGrp="1"/>
          </p:cNvSpPr>
          <p:nvPr>
            <p:ph type="body" sz="quarter" idx="11" hasCustomPrompt="1"/>
          </p:nvPr>
        </p:nvSpPr>
        <p:spPr>
          <a:xfrm>
            <a:off x="300226" y="893063"/>
            <a:ext cx="11591547" cy="381001"/>
          </a:xfrm>
          <a:prstGeom prst="rect">
            <a:avLst/>
          </a:prstGeom>
        </p:spPr>
        <p:txBody>
          <a:bodyPr lIns="0" tIns="0" rIns="0" bIns="0" anchor="t">
            <a:noAutofit/>
          </a:bodyPr>
          <a:lstStyle>
            <a:lvl1pPr marL="0" indent="0">
              <a:buNone/>
              <a:defRPr sz="2000">
                <a:solidFill>
                  <a:schemeClr val="tx1"/>
                </a:solidFill>
              </a:defRPr>
            </a:lvl1pPr>
          </a:lstStyle>
          <a:p>
            <a:pPr lvl="0"/>
            <a:r>
              <a:rPr lang="en-US"/>
              <a:t>Click to add </a:t>
            </a:r>
            <a:r>
              <a:rPr lang="en-US" err="1"/>
              <a:t>subheader</a:t>
            </a:r>
            <a:endParaRPr lang="en-US"/>
          </a:p>
        </p:txBody>
      </p:sp>
      <p:sp>
        <p:nvSpPr>
          <p:cNvPr id="9" name="Content Placeholder 3">
            <a:extLst>
              <a:ext uri="{FF2B5EF4-FFF2-40B4-BE49-F238E27FC236}">
                <a16:creationId xmlns:a16="http://schemas.microsoft.com/office/drawing/2014/main" id="{EFA71095-3F77-7F45-9E43-E80587323ACE}"/>
              </a:ext>
            </a:extLst>
          </p:cNvPr>
          <p:cNvSpPr>
            <a:spLocks noGrp="1"/>
          </p:cNvSpPr>
          <p:nvPr>
            <p:ph sz="quarter" idx="18"/>
          </p:nvPr>
        </p:nvSpPr>
        <p:spPr>
          <a:xfrm>
            <a:off x="304800" y="1447800"/>
            <a:ext cx="3657600" cy="2334768"/>
          </a:xfrm>
          <a:prstGeom prst="rect">
            <a:avLst/>
          </a:prstGeom>
        </p:spPr>
        <p:txBody>
          <a:bodyPr vert="horz" lIns="0" tIns="0" rIns="0" bIns="0" rtlCol="0">
            <a:normAutofit/>
          </a:bodyPr>
          <a:lstStyle>
            <a:lvl1pPr marL="342900" indent="-342900">
              <a:buFont typeface="Arial" panose="020B0604020202020204" pitchFamily="34" charset="0"/>
              <a:buChar char="•"/>
              <a:defRPr lang="en-US" dirty="0" smtClean="0"/>
            </a:lvl1pPr>
            <a:lvl2pPr marL="520700" indent="-285750">
              <a:buFont typeface="Arial" panose="020B0604020202020204" pitchFamily="34" charset="0"/>
              <a:buChar char="•"/>
              <a:defRPr lang="en-US" dirty="0" smtClean="0"/>
            </a:lvl2pPr>
            <a:lvl3pPr marL="749300" indent="-285750">
              <a:buFont typeface="Arial" panose="020B0604020202020204" pitchFamily="34" charset="0"/>
              <a:buChar char="•"/>
              <a:defRPr lang="en-US" dirty="0" smtClean="0"/>
            </a:lvl3pPr>
            <a:lvl4pPr marL="862013" indent="-171450">
              <a:buFont typeface="Arial" panose="020B0604020202020204" pitchFamily="34" charset="0"/>
              <a:buChar char="•"/>
              <a:defRPr lang="en-US" dirty="0" smtClean="0"/>
            </a:lvl4pPr>
            <a:lvl5pPr marL="1093787" indent="-17145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a:extLst>
              <a:ext uri="{FF2B5EF4-FFF2-40B4-BE49-F238E27FC236}">
                <a16:creationId xmlns:a16="http://schemas.microsoft.com/office/drawing/2014/main" id="{B8762543-398C-384C-8B6E-8572E8FDC8D3}"/>
              </a:ext>
            </a:extLst>
          </p:cNvPr>
          <p:cNvSpPr>
            <a:spLocks noGrp="1"/>
          </p:cNvSpPr>
          <p:nvPr>
            <p:ph sz="quarter" idx="19"/>
          </p:nvPr>
        </p:nvSpPr>
        <p:spPr>
          <a:xfrm>
            <a:off x="4267201" y="1447800"/>
            <a:ext cx="3657600" cy="2334768"/>
          </a:xfrm>
          <a:prstGeom prst="rect">
            <a:avLst/>
          </a:prstGeom>
        </p:spPr>
        <p:txBody>
          <a:bodyPr vert="horz" lIns="0" tIns="0" rIns="0" bIns="0" rtlCol="0">
            <a:normAutofit/>
          </a:bodyPr>
          <a:lstStyle>
            <a:lvl1pPr marL="342900" indent="-342900">
              <a:buFont typeface="Arial" panose="020B0604020202020204" pitchFamily="34" charset="0"/>
              <a:buChar char="•"/>
              <a:defRPr lang="en-US" dirty="0" smtClean="0"/>
            </a:lvl1pPr>
            <a:lvl2pPr marL="520700" indent="-285750">
              <a:buFont typeface="Arial" panose="020B0604020202020204" pitchFamily="34" charset="0"/>
              <a:buChar char="•"/>
              <a:defRPr lang="en-US" dirty="0" smtClean="0"/>
            </a:lvl2pPr>
            <a:lvl3pPr marL="749300" indent="-285750">
              <a:buFont typeface="Arial" panose="020B0604020202020204" pitchFamily="34" charset="0"/>
              <a:buChar char="•"/>
              <a:defRPr lang="en-US" dirty="0" smtClean="0"/>
            </a:lvl3pPr>
            <a:lvl4pPr marL="862013" indent="-171450">
              <a:buFont typeface="Arial" panose="020B0604020202020204" pitchFamily="34" charset="0"/>
              <a:buChar char="•"/>
              <a:defRPr lang="en-US" dirty="0" smtClean="0"/>
            </a:lvl4pPr>
            <a:lvl5pPr marL="1093787" indent="-17145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a:extLst>
              <a:ext uri="{FF2B5EF4-FFF2-40B4-BE49-F238E27FC236}">
                <a16:creationId xmlns:a16="http://schemas.microsoft.com/office/drawing/2014/main" id="{C8CD3A37-ECA5-0F43-995E-663D6AC132E5}"/>
              </a:ext>
            </a:extLst>
          </p:cNvPr>
          <p:cNvSpPr>
            <a:spLocks noGrp="1"/>
          </p:cNvSpPr>
          <p:nvPr>
            <p:ph sz="quarter" idx="21"/>
          </p:nvPr>
        </p:nvSpPr>
        <p:spPr>
          <a:xfrm>
            <a:off x="8229594" y="1447800"/>
            <a:ext cx="3657603" cy="2334768"/>
          </a:xfrm>
          <a:prstGeom prst="rect">
            <a:avLst/>
          </a:prstGeom>
        </p:spPr>
        <p:txBody>
          <a:bodyPr vert="horz" lIns="0" tIns="0" rIns="0" bIns="0" rtlCol="0">
            <a:normAutofit/>
          </a:bodyPr>
          <a:lstStyle>
            <a:lvl1pPr marL="342900" indent="-342900">
              <a:buFont typeface="Arial" panose="020B0604020202020204" pitchFamily="34" charset="0"/>
              <a:buChar char="•"/>
              <a:defRPr lang="en-US" dirty="0" smtClean="0"/>
            </a:lvl1pPr>
            <a:lvl2pPr marL="520700" indent="-285750">
              <a:buFont typeface="Arial" panose="020B0604020202020204" pitchFamily="34" charset="0"/>
              <a:buChar char="•"/>
              <a:defRPr lang="en-US" dirty="0" smtClean="0"/>
            </a:lvl2pPr>
            <a:lvl3pPr marL="749300" indent="-285750">
              <a:buFont typeface="Arial" panose="020B0604020202020204" pitchFamily="34" charset="0"/>
              <a:buChar char="•"/>
              <a:defRPr lang="en-US" dirty="0" smtClean="0"/>
            </a:lvl3pPr>
            <a:lvl4pPr marL="862013" indent="-171450">
              <a:buFont typeface="Arial" panose="020B0604020202020204" pitchFamily="34" charset="0"/>
              <a:buChar char="•"/>
              <a:defRPr lang="en-US" dirty="0" smtClean="0"/>
            </a:lvl4pPr>
            <a:lvl5pPr marL="1093787" indent="-17145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963726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Section divider with photo">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FE7B338-1383-7843-9E8D-F295A0DFF59D}"/>
              </a:ext>
            </a:extLst>
          </p:cNvPr>
          <p:cNvSpPr>
            <a:spLocks noGrp="1"/>
          </p:cNvSpPr>
          <p:nvPr>
            <p:ph type="pic" sz="quarter" idx="13" hasCustomPrompt="1"/>
          </p:nvPr>
        </p:nvSpPr>
        <p:spPr>
          <a:xfrm>
            <a:off x="-1" y="0"/>
            <a:ext cx="12191999" cy="6858000"/>
          </a:xfrm>
          <a:custGeom>
            <a:avLst/>
            <a:gdLst>
              <a:gd name="connsiteX0" fmla="*/ 0 w 12191999"/>
              <a:gd name="connsiteY0" fmla="*/ 0 h 6858000"/>
              <a:gd name="connsiteX1" fmla="*/ 10321761 w 12191999"/>
              <a:gd name="connsiteY1" fmla="*/ 0 h 6858000"/>
              <a:gd name="connsiteX2" fmla="*/ 10321761 w 12191999"/>
              <a:gd name="connsiteY2" fmla="*/ 673804 h 6858000"/>
              <a:gd name="connsiteX3" fmla="*/ 11887200 w 12191999"/>
              <a:gd name="connsiteY3" fmla="*/ 673804 h 6858000"/>
              <a:gd name="connsiteX4" fmla="*/ 11887200 w 12191999"/>
              <a:gd name="connsiteY4" fmla="*/ 0 h 6858000"/>
              <a:gd name="connsiteX5" fmla="*/ 12191999 w 12191999"/>
              <a:gd name="connsiteY5" fmla="*/ 0 h 6858000"/>
              <a:gd name="connsiteX6" fmla="*/ 12191999 w 12191999"/>
              <a:gd name="connsiteY6" fmla="*/ 6858000 h 6858000"/>
              <a:gd name="connsiteX7" fmla="*/ 0 w 12191999"/>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1999" h="6858000">
                <a:moveTo>
                  <a:pt x="0" y="0"/>
                </a:moveTo>
                <a:lnTo>
                  <a:pt x="10321761" y="0"/>
                </a:lnTo>
                <a:lnTo>
                  <a:pt x="10321761" y="673804"/>
                </a:lnTo>
                <a:lnTo>
                  <a:pt x="11887200" y="673804"/>
                </a:lnTo>
                <a:lnTo>
                  <a:pt x="11887200" y="0"/>
                </a:lnTo>
                <a:lnTo>
                  <a:pt x="12191999" y="0"/>
                </a:lnTo>
                <a:lnTo>
                  <a:pt x="12191999" y="6858000"/>
                </a:lnTo>
                <a:lnTo>
                  <a:pt x="0" y="6858000"/>
                </a:lnTo>
                <a:close/>
              </a:path>
            </a:pathLst>
          </a:custGeom>
          <a:pattFill prst="pct5">
            <a:fgClr>
              <a:schemeClr val="bg1"/>
            </a:fgClr>
            <a:bgClr>
              <a:schemeClr val="bg2"/>
            </a:bgClr>
          </a:pattFill>
        </p:spPr>
        <p:txBody>
          <a:bodyPr vert="horz" wrap="square" lIns="0" tIns="0" rIns="0" bIns="0" rtlCol="0" anchor="ctr">
            <a:noAutofit/>
          </a:bodyPr>
          <a:lstStyle>
            <a:lvl1pPr marL="0" indent="0" algn="ctr">
              <a:buFontTx/>
              <a:buNone/>
              <a:defRPr lang="en-US" sz="1400">
                <a:solidFill>
                  <a:schemeClr val="tx1"/>
                </a:solidFill>
              </a:defRPr>
            </a:lvl1pPr>
          </a:lstStyle>
          <a:p>
            <a:pPr lvl="0" algn="ctr">
              <a:buNone/>
            </a:pPr>
            <a:r>
              <a:rPr lang="en-US"/>
              <a:t>Add photo</a:t>
            </a:r>
          </a:p>
        </p:txBody>
      </p:sp>
      <p:sp>
        <p:nvSpPr>
          <p:cNvPr id="5" name="Slide Number Placeholder 2">
            <a:extLst>
              <a:ext uri="{FF2B5EF4-FFF2-40B4-BE49-F238E27FC236}">
                <a16:creationId xmlns:a16="http://schemas.microsoft.com/office/drawing/2014/main" id="{A634E9F6-D24E-5141-81EF-69349B9658EA}"/>
              </a:ext>
            </a:extLst>
          </p:cNvPr>
          <p:cNvSpPr>
            <a:spLocks noGrp="1"/>
          </p:cNvSpPr>
          <p:nvPr>
            <p:ph type="sldNum" sz="quarter" idx="10"/>
          </p:nvPr>
        </p:nvSpPr>
        <p:spPr>
          <a:xfrm>
            <a:off x="1" y="6553200"/>
            <a:ext cx="304799" cy="304799"/>
          </a:xfrm>
        </p:spPr>
        <p:txBody>
          <a:bodyPr/>
          <a:lstStyle>
            <a:lvl1pPr>
              <a:defRPr>
                <a:solidFill>
                  <a:schemeClr val="bg1"/>
                </a:solidFill>
              </a:defRPr>
            </a:lvl1pPr>
          </a:lstStyle>
          <a:p>
            <a:fld id="{89006F1E-66CD-4A4B-9370-B4A3080F0E6C}" type="slidenum">
              <a:rPr lang="en-US" smtClean="0"/>
              <a:pPr/>
              <a:t>‹#›</a:t>
            </a:fld>
            <a:endParaRPr lang="en-US"/>
          </a:p>
        </p:txBody>
      </p:sp>
      <p:sp>
        <p:nvSpPr>
          <p:cNvPr id="6" name="Footer Placeholder 1">
            <a:extLst>
              <a:ext uri="{FF2B5EF4-FFF2-40B4-BE49-F238E27FC236}">
                <a16:creationId xmlns:a16="http://schemas.microsoft.com/office/drawing/2014/main" id="{B41A9DDB-F5FB-5046-B179-F07475B09908}"/>
              </a:ext>
            </a:extLst>
          </p:cNvPr>
          <p:cNvSpPr>
            <a:spLocks noGrp="1"/>
          </p:cNvSpPr>
          <p:nvPr>
            <p:ph type="ftr" sz="quarter" idx="14"/>
          </p:nvPr>
        </p:nvSpPr>
        <p:spPr>
          <a:xfrm>
            <a:off x="304799" y="6553201"/>
            <a:ext cx="7620001" cy="304800"/>
          </a:xfrm>
          <a:prstGeom prst="rect">
            <a:avLst/>
          </a:prstGeom>
        </p:spPr>
        <p:txBody>
          <a:bodyPr/>
          <a:lstStyle>
            <a:lvl1pPr>
              <a:defRPr>
                <a:solidFill>
                  <a:schemeClr val="bg1"/>
                </a:solidFill>
              </a:defRPr>
            </a:lvl1pPr>
          </a:lstStyle>
          <a:p>
            <a:r>
              <a:rPr lang="en-US">
                <a:ea typeface="MS PGothic" panose="020B0600070205080204" pitchFamily="34" charset="-128"/>
              </a:rPr>
              <a:t>Proprietary &amp; Confidential | Molecular Biology STRAP | XX-April-2021</a:t>
            </a:r>
          </a:p>
        </p:txBody>
      </p:sp>
      <p:sp>
        <p:nvSpPr>
          <p:cNvPr id="8" name="Content Placeholder 2">
            <a:extLst>
              <a:ext uri="{FF2B5EF4-FFF2-40B4-BE49-F238E27FC236}">
                <a16:creationId xmlns:a16="http://schemas.microsoft.com/office/drawing/2014/main" id="{5DC4D9F1-5E1A-DD4A-946F-32414E026F44}"/>
              </a:ext>
            </a:extLst>
          </p:cNvPr>
          <p:cNvSpPr>
            <a:spLocks noGrp="1"/>
          </p:cNvSpPr>
          <p:nvPr>
            <p:ph sz="quarter" idx="15" hasCustomPrompt="1"/>
          </p:nvPr>
        </p:nvSpPr>
        <p:spPr>
          <a:xfrm>
            <a:off x="0" y="3742192"/>
            <a:ext cx="6096000" cy="1071062"/>
          </a:xfrm>
          <a:solidFill>
            <a:schemeClr val="bg1"/>
          </a:solidFill>
        </p:spPr>
        <p:txBody>
          <a:bodyPr wrap="square" lIns="292608" tIns="201168" rIns="292608" bIns="91440" anchor="b">
            <a:spAutoFit/>
          </a:bodyPr>
          <a:lstStyle>
            <a:lvl1pPr marL="0" indent="0">
              <a:lnSpc>
                <a:spcPct val="90000"/>
              </a:lnSpc>
              <a:buNone/>
              <a:defRPr sz="2800" b="1">
                <a:solidFill>
                  <a:schemeClr val="tx2"/>
                </a:solidFill>
              </a:defRPr>
            </a:lvl1pPr>
          </a:lstStyle>
          <a:p>
            <a:pPr lvl="0"/>
            <a:r>
              <a:rPr lang="en-US"/>
              <a:t>Section title with full photo background</a:t>
            </a:r>
          </a:p>
        </p:txBody>
      </p:sp>
      <p:sp>
        <p:nvSpPr>
          <p:cNvPr id="10" name="Content Placeholder 2">
            <a:extLst>
              <a:ext uri="{FF2B5EF4-FFF2-40B4-BE49-F238E27FC236}">
                <a16:creationId xmlns:a16="http://schemas.microsoft.com/office/drawing/2014/main" id="{15406226-911A-D441-8417-8C4961D7AEF2}"/>
              </a:ext>
            </a:extLst>
          </p:cNvPr>
          <p:cNvSpPr>
            <a:spLocks noGrp="1"/>
          </p:cNvSpPr>
          <p:nvPr>
            <p:ph sz="quarter" idx="16" hasCustomPrompt="1"/>
          </p:nvPr>
        </p:nvSpPr>
        <p:spPr>
          <a:xfrm>
            <a:off x="0" y="4813254"/>
            <a:ext cx="6096000" cy="630814"/>
          </a:xfrm>
          <a:solidFill>
            <a:schemeClr val="bg1"/>
          </a:solidFill>
        </p:spPr>
        <p:txBody>
          <a:bodyPr wrap="square" lIns="292608" tIns="91440" rIns="292608" bIns="201168" anchor="t">
            <a:spAutoFit/>
          </a:bodyPr>
          <a:lstStyle>
            <a:lvl1pPr marL="0" marR="0" indent="0" algn="l" defTabSz="914400" rtl="0" eaLnBrk="1" fontAlgn="auto" latinLnBrk="0" hangingPunct="1">
              <a:lnSpc>
                <a:spcPct val="100000"/>
              </a:lnSpc>
              <a:spcBef>
                <a:spcPts val="200"/>
              </a:spcBef>
              <a:spcAft>
                <a:spcPts val="0"/>
              </a:spcAft>
              <a:buClr>
                <a:schemeClr val="tx2"/>
              </a:buClr>
              <a:buSzPct val="100000"/>
              <a:buFont typeface="Arial" panose="020B0604020202020204" pitchFamily="34" charset="0"/>
              <a:buNone/>
              <a:tabLst/>
              <a:defRPr lang="en-US" sz="2000" b="0" kern="1200" dirty="0">
                <a:solidFill>
                  <a:schemeClr val="tx1"/>
                </a:solidFill>
                <a:latin typeface="+mn-lt"/>
                <a:ea typeface="+mn-ea"/>
                <a:cs typeface="+mn-cs"/>
              </a:defRPr>
            </a:lvl1pPr>
          </a:lstStyle>
          <a:p>
            <a:pPr marL="0" marR="0" lvl="0" indent="0" algn="l" defTabSz="914400" rtl="0" eaLnBrk="1" fontAlgn="auto" latinLnBrk="0" hangingPunct="1">
              <a:lnSpc>
                <a:spcPct val="120000"/>
              </a:lnSpc>
              <a:spcBef>
                <a:spcPts val="200"/>
              </a:spcBef>
              <a:spcAft>
                <a:spcPts val="0"/>
              </a:spcAft>
              <a:buClr>
                <a:schemeClr val="tx2"/>
              </a:buClr>
              <a:buSzPct val="100000"/>
              <a:buFont typeface="Arial" panose="020B0604020202020204" pitchFamily="34" charset="0"/>
              <a:buNone/>
              <a:tabLst/>
              <a:defRPr/>
            </a:pPr>
            <a:r>
              <a:rPr lang="en-US"/>
              <a:t>Sub title and or description of next section</a:t>
            </a:r>
          </a:p>
        </p:txBody>
      </p:sp>
    </p:spTree>
    <p:extLst>
      <p:ext uri="{BB962C8B-B14F-4D97-AF65-F5344CB8AC3E}">
        <p14:creationId xmlns:p14="http://schemas.microsoft.com/office/powerpoint/2010/main" val="380040263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Red background">
    <p:bg>
      <p:bgPr>
        <a:gradFill flip="none" rotWithShape="1">
          <a:gsLst>
            <a:gs pos="0">
              <a:schemeClr val="tx2"/>
            </a:gs>
            <a:gs pos="45000">
              <a:schemeClr val="tx2"/>
            </a:gs>
            <a:gs pos="100000">
              <a:schemeClr val="tx2">
                <a:lumMod val="50000"/>
              </a:schemeClr>
            </a:gs>
          </a:gsLst>
          <a:lin ang="1080000" scaled="0"/>
          <a:tileRect/>
        </a:gradFill>
        <a:effectLst/>
      </p:bgPr>
    </p:bg>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BD60394-6B49-3F40-ACB2-84420DAC9383}"/>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Slide Number Placeholder 2">
            <a:extLst>
              <a:ext uri="{FF2B5EF4-FFF2-40B4-BE49-F238E27FC236}">
                <a16:creationId xmlns:a16="http://schemas.microsoft.com/office/drawing/2014/main" id="{6D3BC3C2-2A41-544F-A0F8-7CFF39CCFFAC}"/>
              </a:ext>
            </a:extLst>
          </p:cNvPr>
          <p:cNvSpPr>
            <a:spLocks noGrp="1"/>
          </p:cNvSpPr>
          <p:nvPr>
            <p:ph type="sldNum" sz="quarter" idx="10"/>
          </p:nvPr>
        </p:nvSpPr>
        <p:spPr>
          <a:xfrm>
            <a:off x="1" y="6553200"/>
            <a:ext cx="304799" cy="304799"/>
          </a:xfrm>
        </p:spPr>
        <p:txBody>
          <a:bodyPr/>
          <a:lstStyle>
            <a:lvl1pPr>
              <a:defRPr>
                <a:solidFill>
                  <a:schemeClr val="bg1"/>
                </a:solidFill>
              </a:defRPr>
            </a:lvl1pPr>
          </a:lstStyle>
          <a:p>
            <a:fld id="{89006F1E-66CD-4A4B-9370-B4A3080F0E6C}" type="slidenum">
              <a:rPr lang="en-US" smtClean="0"/>
              <a:pPr/>
              <a:t>‹#›</a:t>
            </a:fld>
            <a:endParaRPr lang="en-US"/>
          </a:p>
        </p:txBody>
      </p:sp>
      <p:sp>
        <p:nvSpPr>
          <p:cNvPr id="5" name="Footer Placeholder 1">
            <a:extLst>
              <a:ext uri="{FF2B5EF4-FFF2-40B4-BE49-F238E27FC236}">
                <a16:creationId xmlns:a16="http://schemas.microsoft.com/office/drawing/2014/main" id="{9BCE1F3E-3D84-364B-BB1F-921E4AA1B217}"/>
              </a:ext>
            </a:extLst>
          </p:cNvPr>
          <p:cNvSpPr>
            <a:spLocks noGrp="1"/>
          </p:cNvSpPr>
          <p:nvPr>
            <p:ph type="ftr" sz="quarter" idx="14"/>
          </p:nvPr>
        </p:nvSpPr>
        <p:spPr>
          <a:xfrm>
            <a:off x="304799" y="6553201"/>
            <a:ext cx="7620001" cy="304800"/>
          </a:xfrm>
          <a:prstGeom prst="rect">
            <a:avLst/>
          </a:prstGeom>
        </p:spPr>
        <p:txBody>
          <a:bodyPr/>
          <a:lstStyle>
            <a:lvl1pPr>
              <a:defRPr>
                <a:solidFill>
                  <a:schemeClr val="bg1"/>
                </a:solidFill>
              </a:defRPr>
            </a:lvl1pPr>
          </a:lstStyle>
          <a:p>
            <a:r>
              <a:rPr lang="en-US">
                <a:ea typeface="MS PGothic" panose="020B0600070205080204" pitchFamily="34" charset="-128"/>
              </a:rPr>
              <a:t>Proprietary &amp; Confidential | Molecular Biology STRAP | XX-April-2021</a:t>
            </a:r>
          </a:p>
        </p:txBody>
      </p:sp>
      <p:sp>
        <p:nvSpPr>
          <p:cNvPr id="6" name="Text Placeholder 7">
            <a:extLst>
              <a:ext uri="{FF2B5EF4-FFF2-40B4-BE49-F238E27FC236}">
                <a16:creationId xmlns:a16="http://schemas.microsoft.com/office/drawing/2014/main" id="{94199484-7909-9044-9003-EFED90CAC053}"/>
              </a:ext>
            </a:extLst>
          </p:cNvPr>
          <p:cNvSpPr>
            <a:spLocks noGrp="1"/>
          </p:cNvSpPr>
          <p:nvPr>
            <p:ph type="body" sz="quarter" idx="11" hasCustomPrompt="1"/>
          </p:nvPr>
        </p:nvSpPr>
        <p:spPr>
          <a:xfrm>
            <a:off x="300226" y="893063"/>
            <a:ext cx="11591547" cy="381001"/>
          </a:xfrm>
          <a:prstGeom prst="rect">
            <a:avLst/>
          </a:prstGeom>
        </p:spPr>
        <p:txBody>
          <a:bodyPr lIns="0" tIns="0" rIns="0" bIns="0" anchor="t">
            <a:noAutofit/>
          </a:bodyPr>
          <a:lstStyle>
            <a:lvl1pPr marL="0" indent="0">
              <a:buNone/>
              <a:defRPr sz="2000">
                <a:solidFill>
                  <a:schemeClr val="bg1"/>
                </a:solidFill>
              </a:defRPr>
            </a:lvl1pPr>
          </a:lstStyle>
          <a:p>
            <a:pPr lvl="0"/>
            <a:r>
              <a:rPr lang="en-US"/>
              <a:t>Click to add </a:t>
            </a:r>
            <a:r>
              <a:rPr lang="en-US" err="1"/>
              <a:t>subheader</a:t>
            </a:r>
            <a:endParaRPr lang="en-US"/>
          </a:p>
        </p:txBody>
      </p:sp>
    </p:spTree>
    <p:extLst>
      <p:ext uri="{BB962C8B-B14F-4D97-AF65-F5344CB8AC3E}">
        <p14:creationId xmlns:p14="http://schemas.microsoft.com/office/powerpoint/2010/main" val="42730555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9_Custom Layout">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7897876" cy="6858000"/>
          </a:xfrm>
          <a:prstGeom prst="rect">
            <a:avLst/>
          </a:prstGeom>
        </p:spPr>
      </p:pic>
      <p:pic>
        <p:nvPicPr>
          <p:cNvPr id="2" name="Picture 1"/>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2700" y="1773238"/>
            <a:ext cx="5080687" cy="5084762"/>
          </a:xfrm>
          <a:prstGeom prst="rect">
            <a:avLst/>
          </a:prstGeom>
        </p:spPr>
      </p:pic>
      <p:sp>
        <p:nvSpPr>
          <p:cNvPr id="10" name="Text Placeholder 6"/>
          <p:cNvSpPr>
            <a:spLocks noGrp="1"/>
          </p:cNvSpPr>
          <p:nvPr>
            <p:ph type="body" sz="quarter" idx="11"/>
          </p:nvPr>
        </p:nvSpPr>
        <p:spPr>
          <a:xfrm>
            <a:off x="3352800" y="1966913"/>
            <a:ext cx="8572500" cy="1447800"/>
          </a:xfrm>
        </p:spPr>
        <p:txBody>
          <a:bodyPr anchor="ctr"/>
          <a:lstStyle>
            <a:lvl1pPr marL="0" indent="0" algn="ctr">
              <a:buNone/>
              <a:defRPr sz="3200" b="1">
                <a:solidFill>
                  <a:schemeClr val="accent4"/>
                </a:solidFill>
              </a:defRPr>
            </a:lvl1pPr>
          </a:lstStyle>
          <a:p>
            <a:pPr lvl="0"/>
            <a:r>
              <a:rPr lang="en-US"/>
              <a:t>Click to edit Master text styles</a:t>
            </a:r>
          </a:p>
        </p:txBody>
      </p:sp>
    </p:spTree>
    <p:extLst>
      <p:ext uri="{BB962C8B-B14F-4D97-AF65-F5344CB8AC3E}">
        <p14:creationId xmlns:p14="http://schemas.microsoft.com/office/powerpoint/2010/main" val="1241266157"/>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Presentation Bumper (Photo)">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FE7B338-1383-7843-9E8D-F295A0DFF59D}"/>
              </a:ext>
            </a:extLst>
          </p:cNvPr>
          <p:cNvSpPr>
            <a:spLocks noGrp="1"/>
          </p:cNvSpPr>
          <p:nvPr>
            <p:ph type="pic" sz="quarter" idx="13" hasCustomPrompt="1"/>
          </p:nvPr>
        </p:nvSpPr>
        <p:spPr>
          <a:xfrm>
            <a:off x="-1" y="0"/>
            <a:ext cx="12191999" cy="6858000"/>
          </a:xfrm>
          <a:custGeom>
            <a:avLst/>
            <a:gdLst>
              <a:gd name="connsiteX0" fmla="*/ 0 w 12191999"/>
              <a:gd name="connsiteY0" fmla="*/ 0 h 6858000"/>
              <a:gd name="connsiteX1" fmla="*/ 10321761 w 12191999"/>
              <a:gd name="connsiteY1" fmla="*/ 0 h 6858000"/>
              <a:gd name="connsiteX2" fmla="*/ 10321761 w 12191999"/>
              <a:gd name="connsiteY2" fmla="*/ 673804 h 6858000"/>
              <a:gd name="connsiteX3" fmla="*/ 11887200 w 12191999"/>
              <a:gd name="connsiteY3" fmla="*/ 673804 h 6858000"/>
              <a:gd name="connsiteX4" fmla="*/ 11887200 w 12191999"/>
              <a:gd name="connsiteY4" fmla="*/ 0 h 6858000"/>
              <a:gd name="connsiteX5" fmla="*/ 12191999 w 12191999"/>
              <a:gd name="connsiteY5" fmla="*/ 0 h 6858000"/>
              <a:gd name="connsiteX6" fmla="*/ 12191999 w 12191999"/>
              <a:gd name="connsiteY6" fmla="*/ 6858000 h 6858000"/>
              <a:gd name="connsiteX7" fmla="*/ 0 w 12191999"/>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1999" h="6858000">
                <a:moveTo>
                  <a:pt x="0" y="0"/>
                </a:moveTo>
                <a:lnTo>
                  <a:pt x="10321761" y="0"/>
                </a:lnTo>
                <a:lnTo>
                  <a:pt x="10321761" y="673804"/>
                </a:lnTo>
                <a:lnTo>
                  <a:pt x="11887200" y="673804"/>
                </a:lnTo>
                <a:lnTo>
                  <a:pt x="11887200" y="0"/>
                </a:lnTo>
                <a:lnTo>
                  <a:pt x="12191999" y="0"/>
                </a:lnTo>
                <a:lnTo>
                  <a:pt x="12191999" y="6858000"/>
                </a:lnTo>
                <a:lnTo>
                  <a:pt x="0" y="6858000"/>
                </a:lnTo>
                <a:close/>
              </a:path>
            </a:pathLst>
          </a:custGeom>
          <a:pattFill prst="pct5">
            <a:fgClr>
              <a:schemeClr val="bg1"/>
            </a:fgClr>
            <a:bgClr>
              <a:schemeClr val="bg2"/>
            </a:bgClr>
          </a:pattFill>
        </p:spPr>
        <p:txBody>
          <a:bodyPr vert="horz" wrap="square" lIns="0" tIns="0" rIns="0" bIns="0" rtlCol="0" anchor="ctr">
            <a:noAutofit/>
          </a:bodyPr>
          <a:lstStyle>
            <a:lvl1pPr marL="0" indent="0" algn="ctr">
              <a:buFontTx/>
              <a:buNone/>
              <a:defRPr lang="en-US" sz="1400">
                <a:solidFill>
                  <a:schemeClr val="tx1"/>
                </a:solidFill>
              </a:defRPr>
            </a:lvl1pPr>
          </a:lstStyle>
          <a:p>
            <a:pPr lvl="0" algn="ctr">
              <a:buNone/>
            </a:pPr>
            <a:r>
              <a:rPr lang="en-US"/>
              <a:t>Add photo</a:t>
            </a:r>
          </a:p>
        </p:txBody>
      </p:sp>
      <p:sp>
        <p:nvSpPr>
          <p:cNvPr id="5" name="Slide Number Placeholder 2">
            <a:extLst>
              <a:ext uri="{FF2B5EF4-FFF2-40B4-BE49-F238E27FC236}">
                <a16:creationId xmlns:a16="http://schemas.microsoft.com/office/drawing/2014/main" id="{A634E9F6-D24E-5141-81EF-69349B9658EA}"/>
              </a:ext>
            </a:extLst>
          </p:cNvPr>
          <p:cNvSpPr>
            <a:spLocks noGrp="1"/>
          </p:cNvSpPr>
          <p:nvPr>
            <p:ph type="sldNum" sz="quarter" idx="10"/>
          </p:nvPr>
        </p:nvSpPr>
        <p:spPr>
          <a:xfrm>
            <a:off x="1" y="6553200"/>
            <a:ext cx="304799" cy="304799"/>
          </a:xfrm>
        </p:spPr>
        <p:txBody>
          <a:bodyPr/>
          <a:lstStyle>
            <a:lvl1pPr>
              <a:defRPr>
                <a:solidFill>
                  <a:schemeClr val="bg1"/>
                </a:solidFill>
              </a:defRPr>
            </a:lvl1pPr>
          </a:lstStyle>
          <a:p>
            <a:fld id="{89006F1E-66CD-4A4B-9370-B4A3080F0E6C}" type="slidenum">
              <a:rPr lang="en-US" smtClean="0"/>
              <a:pPr/>
              <a:t>‹#›</a:t>
            </a:fld>
            <a:endParaRPr lang="en-US"/>
          </a:p>
        </p:txBody>
      </p:sp>
      <p:sp>
        <p:nvSpPr>
          <p:cNvPr id="6" name="Footer Placeholder 1">
            <a:extLst>
              <a:ext uri="{FF2B5EF4-FFF2-40B4-BE49-F238E27FC236}">
                <a16:creationId xmlns:a16="http://schemas.microsoft.com/office/drawing/2014/main" id="{B41A9DDB-F5FB-5046-B179-F07475B09908}"/>
              </a:ext>
            </a:extLst>
          </p:cNvPr>
          <p:cNvSpPr>
            <a:spLocks noGrp="1"/>
          </p:cNvSpPr>
          <p:nvPr>
            <p:ph type="ftr" sz="quarter" idx="14"/>
          </p:nvPr>
        </p:nvSpPr>
        <p:spPr>
          <a:xfrm>
            <a:off x="304799" y="6553201"/>
            <a:ext cx="7620001" cy="304800"/>
          </a:xfrm>
          <a:prstGeom prst="rect">
            <a:avLst/>
          </a:prstGeom>
        </p:spPr>
        <p:txBody>
          <a:bodyPr/>
          <a:lstStyle>
            <a:lvl1pPr>
              <a:defRPr>
                <a:solidFill>
                  <a:schemeClr val="bg1"/>
                </a:solidFill>
              </a:defRPr>
            </a:lvl1pPr>
          </a:lstStyle>
          <a:p>
            <a:r>
              <a:rPr lang="en-US">
                <a:ea typeface="MS PGothic" panose="020B0600070205080204" pitchFamily="34" charset="-128"/>
              </a:rPr>
              <a:t>Proprietary &amp; Confidential | Molecular Biology STRAP | XX-April-2021</a:t>
            </a:r>
          </a:p>
        </p:txBody>
      </p:sp>
      <p:sp>
        <p:nvSpPr>
          <p:cNvPr id="11" name="Content Placeholder 4">
            <a:extLst>
              <a:ext uri="{FF2B5EF4-FFF2-40B4-BE49-F238E27FC236}">
                <a16:creationId xmlns:a16="http://schemas.microsoft.com/office/drawing/2014/main" id="{5E675396-361D-4C4F-961B-32575A28C59F}"/>
              </a:ext>
            </a:extLst>
          </p:cNvPr>
          <p:cNvSpPr>
            <a:spLocks noGrp="1"/>
          </p:cNvSpPr>
          <p:nvPr>
            <p:ph sz="quarter" idx="16" hasCustomPrompt="1"/>
          </p:nvPr>
        </p:nvSpPr>
        <p:spPr>
          <a:xfrm>
            <a:off x="318656" y="5268999"/>
            <a:ext cx="7691658" cy="489250"/>
          </a:xfrm>
        </p:spPr>
        <p:txBody>
          <a:bodyPr/>
          <a:lstStyle>
            <a:lvl1pPr marL="0" marR="0" indent="0" algn="l" defTabSz="914400" rtl="0" eaLnBrk="1" fontAlgn="auto" latinLnBrk="0" hangingPunct="1">
              <a:lnSpc>
                <a:spcPct val="120000"/>
              </a:lnSpc>
              <a:spcBef>
                <a:spcPts val="200"/>
              </a:spcBef>
              <a:spcAft>
                <a:spcPts val="0"/>
              </a:spcAft>
              <a:buClr>
                <a:schemeClr val="tx2"/>
              </a:buClr>
              <a:buSzPct val="100000"/>
              <a:buFont typeface="Arial" panose="020B0604020202020204" pitchFamily="34" charset="0"/>
              <a:buNone/>
              <a:tabLst/>
              <a:defRPr>
                <a:solidFill>
                  <a:schemeClr val="bg1"/>
                </a:solidFill>
              </a:defRPr>
            </a:lvl1pPr>
          </a:lstStyle>
          <a:p>
            <a:pPr marL="0" marR="0" lvl="0" indent="0" algn="l" defTabSz="914400" rtl="0" eaLnBrk="1" fontAlgn="auto" latinLnBrk="0" hangingPunct="1">
              <a:lnSpc>
                <a:spcPct val="120000"/>
              </a:lnSpc>
              <a:spcBef>
                <a:spcPts val="200"/>
              </a:spcBef>
              <a:spcAft>
                <a:spcPts val="0"/>
              </a:spcAft>
              <a:buClr>
                <a:schemeClr val="tx2"/>
              </a:buClr>
              <a:buSzPct val="100000"/>
              <a:buFont typeface="Arial" panose="020B0604020202020204" pitchFamily="34" charset="0"/>
              <a:buNone/>
              <a:tabLst/>
              <a:defRPr/>
            </a:pPr>
            <a:r>
              <a:rPr lang="en-US" sz="2000" b="0">
                <a:solidFill>
                  <a:schemeClr val="bg1"/>
                </a:solidFill>
              </a:rPr>
              <a:t>Custom message…</a:t>
            </a:r>
            <a:endParaRPr lang="en-US" sz="2000">
              <a:solidFill>
                <a:schemeClr val="bg1"/>
              </a:solidFill>
            </a:endParaRPr>
          </a:p>
        </p:txBody>
      </p:sp>
      <p:sp>
        <p:nvSpPr>
          <p:cNvPr id="3" name="Text Placeholder 2">
            <a:extLst>
              <a:ext uri="{FF2B5EF4-FFF2-40B4-BE49-F238E27FC236}">
                <a16:creationId xmlns:a16="http://schemas.microsoft.com/office/drawing/2014/main" id="{DDAE7E53-8C39-DD45-A216-C6791770FA49}"/>
              </a:ext>
            </a:extLst>
          </p:cNvPr>
          <p:cNvSpPr>
            <a:spLocks noGrp="1"/>
          </p:cNvSpPr>
          <p:nvPr>
            <p:ph type="body" sz="quarter" idx="17" hasCustomPrompt="1"/>
          </p:nvPr>
        </p:nvSpPr>
        <p:spPr>
          <a:xfrm>
            <a:off x="255104" y="3792585"/>
            <a:ext cx="7755210" cy="1476413"/>
          </a:xfrm>
        </p:spPr>
        <p:txBody>
          <a:bodyPr/>
          <a:lstStyle>
            <a:lvl1pPr>
              <a:buNone/>
              <a:defRPr lang="en-US" sz="9600" b="1" kern="1200" dirty="0">
                <a:solidFill>
                  <a:schemeClr val="bg1"/>
                </a:solidFill>
                <a:latin typeface="+mn-lt"/>
                <a:ea typeface="+mn-ea"/>
                <a:cs typeface="+mn-cs"/>
              </a:defRPr>
            </a:lvl1pPr>
          </a:lstStyle>
          <a:p>
            <a:pPr lvl="0"/>
            <a:r>
              <a:rPr lang="en-US"/>
              <a:t>Custom…</a:t>
            </a:r>
          </a:p>
        </p:txBody>
      </p:sp>
    </p:spTree>
    <p:extLst>
      <p:ext uri="{BB962C8B-B14F-4D97-AF65-F5344CB8AC3E}">
        <p14:creationId xmlns:p14="http://schemas.microsoft.com/office/powerpoint/2010/main" val="178309679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Presentation Bumper (Red)">
    <p:bg>
      <p:bgPr>
        <a:gradFill flip="none" rotWithShape="1">
          <a:gsLst>
            <a:gs pos="0">
              <a:schemeClr val="tx2"/>
            </a:gs>
            <a:gs pos="45000">
              <a:schemeClr val="tx2"/>
            </a:gs>
            <a:gs pos="100000">
              <a:schemeClr val="tx2">
                <a:lumMod val="50000"/>
              </a:schemeClr>
            </a:gs>
          </a:gsLst>
          <a:lin ang="1080000" scaled="0"/>
          <a:tileRect/>
        </a:gra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1B3035E9-1E30-4A65-87BF-D87723B7387D}"/>
              </a:ext>
            </a:extLst>
          </p:cNvPr>
          <p:cNvGrpSpPr/>
          <p:nvPr userDrawn="1"/>
        </p:nvGrpSpPr>
        <p:grpSpPr>
          <a:xfrm>
            <a:off x="9662260" y="818784"/>
            <a:ext cx="2529740" cy="6039216"/>
            <a:chOff x="9662260" y="818784"/>
            <a:chExt cx="2529740" cy="6039216"/>
          </a:xfrm>
        </p:grpSpPr>
        <p:pic>
          <p:nvPicPr>
            <p:cNvPr id="10" name="Picture 9">
              <a:extLst>
                <a:ext uri="{FF2B5EF4-FFF2-40B4-BE49-F238E27FC236}">
                  <a16:creationId xmlns:a16="http://schemas.microsoft.com/office/drawing/2014/main" id="{9DFE8F35-3478-4D36-AE61-9902FA9E571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662260" y="1471202"/>
              <a:ext cx="2529740" cy="5386798"/>
            </a:xfrm>
            <a:prstGeom prst="rect">
              <a:avLst/>
            </a:prstGeom>
          </p:spPr>
        </p:pic>
        <p:pic>
          <p:nvPicPr>
            <p:cNvPr id="12" name="Picture 11">
              <a:extLst>
                <a:ext uri="{FF2B5EF4-FFF2-40B4-BE49-F238E27FC236}">
                  <a16:creationId xmlns:a16="http://schemas.microsoft.com/office/drawing/2014/main" id="{A63CB1BA-AEDB-454F-BBF3-A9613807210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539851" y="4300794"/>
              <a:ext cx="1652148" cy="2095226"/>
            </a:xfrm>
            <a:prstGeom prst="rect">
              <a:avLst/>
            </a:prstGeom>
          </p:spPr>
        </p:pic>
        <p:pic>
          <p:nvPicPr>
            <p:cNvPr id="13" name="Picture 12">
              <a:extLst>
                <a:ext uri="{FF2B5EF4-FFF2-40B4-BE49-F238E27FC236}">
                  <a16:creationId xmlns:a16="http://schemas.microsoft.com/office/drawing/2014/main" id="{28BB9361-2245-45C7-85B1-98F75F74B97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rot="20585276">
              <a:off x="10888776" y="3404437"/>
              <a:ext cx="841085" cy="888470"/>
            </a:xfrm>
            <a:prstGeom prst="rect">
              <a:avLst/>
            </a:prstGeom>
          </p:spPr>
        </p:pic>
        <p:pic>
          <p:nvPicPr>
            <p:cNvPr id="14" name="Picture 13">
              <a:extLst>
                <a:ext uri="{FF2B5EF4-FFF2-40B4-BE49-F238E27FC236}">
                  <a16:creationId xmlns:a16="http://schemas.microsoft.com/office/drawing/2014/main" id="{266621D9-C1BE-4A88-B2E8-40BCC4E56DF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839843" y="4683251"/>
              <a:ext cx="608076" cy="626643"/>
            </a:xfrm>
            <a:prstGeom prst="rect">
              <a:avLst/>
            </a:prstGeom>
          </p:spPr>
        </p:pic>
        <p:pic>
          <p:nvPicPr>
            <p:cNvPr id="15" name="Picture 14">
              <a:extLst>
                <a:ext uri="{FF2B5EF4-FFF2-40B4-BE49-F238E27FC236}">
                  <a16:creationId xmlns:a16="http://schemas.microsoft.com/office/drawing/2014/main" id="{98F6AB9F-8570-461E-BBA2-E013A3DA14E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rot="19848158">
              <a:off x="10621861" y="5789703"/>
              <a:ext cx="593846" cy="634660"/>
            </a:xfrm>
            <a:prstGeom prst="rect">
              <a:avLst/>
            </a:prstGeom>
          </p:spPr>
        </p:pic>
        <p:pic>
          <p:nvPicPr>
            <p:cNvPr id="16" name="Picture 15">
              <a:extLst>
                <a:ext uri="{FF2B5EF4-FFF2-40B4-BE49-F238E27FC236}">
                  <a16:creationId xmlns:a16="http://schemas.microsoft.com/office/drawing/2014/main" id="{1EE6F465-A690-4861-87C0-E7A6A65E3377}"/>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11037236" y="818784"/>
              <a:ext cx="1154763" cy="1703758"/>
            </a:xfrm>
            <a:prstGeom prst="rect">
              <a:avLst/>
            </a:prstGeom>
          </p:spPr>
        </p:pic>
      </p:grpSp>
      <p:sp>
        <p:nvSpPr>
          <p:cNvPr id="17" name="Slide Number Placeholder 2">
            <a:extLst>
              <a:ext uri="{FF2B5EF4-FFF2-40B4-BE49-F238E27FC236}">
                <a16:creationId xmlns:a16="http://schemas.microsoft.com/office/drawing/2014/main" id="{8EE24E27-68F9-E941-9584-DF35AA5AA788}"/>
              </a:ext>
            </a:extLst>
          </p:cNvPr>
          <p:cNvSpPr>
            <a:spLocks noGrp="1"/>
          </p:cNvSpPr>
          <p:nvPr>
            <p:ph type="sldNum" sz="quarter" idx="10"/>
          </p:nvPr>
        </p:nvSpPr>
        <p:spPr>
          <a:xfrm>
            <a:off x="1" y="6553200"/>
            <a:ext cx="304799" cy="304799"/>
          </a:xfrm>
        </p:spPr>
        <p:txBody>
          <a:bodyPr/>
          <a:lstStyle>
            <a:lvl1pPr>
              <a:defRPr>
                <a:solidFill>
                  <a:schemeClr val="bg1"/>
                </a:solidFill>
              </a:defRPr>
            </a:lvl1pPr>
          </a:lstStyle>
          <a:p>
            <a:fld id="{89006F1E-66CD-4A4B-9370-B4A3080F0E6C}" type="slidenum">
              <a:rPr lang="en-US" smtClean="0"/>
              <a:pPr/>
              <a:t>‹#›</a:t>
            </a:fld>
            <a:endParaRPr lang="en-US"/>
          </a:p>
        </p:txBody>
      </p:sp>
      <p:sp>
        <p:nvSpPr>
          <p:cNvPr id="18" name="Footer Placeholder 1">
            <a:extLst>
              <a:ext uri="{FF2B5EF4-FFF2-40B4-BE49-F238E27FC236}">
                <a16:creationId xmlns:a16="http://schemas.microsoft.com/office/drawing/2014/main" id="{6380E455-E213-C44A-A7FC-3A9E06997A4C}"/>
              </a:ext>
            </a:extLst>
          </p:cNvPr>
          <p:cNvSpPr>
            <a:spLocks noGrp="1"/>
          </p:cNvSpPr>
          <p:nvPr>
            <p:ph type="ftr" sz="quarter" idx="14"/>
          </p:nvPr>
        </p:nvSpPr>
        <p:spPr>
          <a:xfrm>
            <a:off x="304799" y="6553201"/>
            <a:ext cx="7620001" cy="304800"/>
          </a:xfrm>
          <a:prstGeom prst="rect">
            <a:avLst/>
          </a:prstGeom>
        </p:spPr>
        <p:txBody>
          <a:bodyPr/>
          <a:lstStyle>
            <a:lvl1pPr>
              <a:defRPr>
                <a:solidFill>
                  <a:schemeClr val="bg1"/>
                </a:solidFill>
              </a:defRPr>
            </a:lvl1pPr>
          </a:lstStyle>
          <a:p>
            <a:r>
              <a:rPr lang="en-US">
                <a:ea typeface="MS PGothic" panose="020B0600070205080204" pitchFamily="34" charset="-128"/>
              </a:rPr>
              <a:t>Proprietary &amp; Confidential | Molecular Biology STRAP | XX-April-2021</a:t>
            </a:r>
          </a:p>
        </p:txBody>
      </p:sp>
      <p:sp>
        <p:nvSpPr>
          <p:cNvPr id="20" name="Content Placeholder 4">
            <a:extLst>
              <a:ext uri="{FF2B5EF4-FFF2-40B4-BE49-F238E27FC236}">
                <a16:creationId xmlns:a16="http://schemas.microsoft.com/office/drawing/2014/main" id="{20350945-012E-8845-8F5F-AD0E66DE7739}"/>
              </a:ext>
            </a:extLst>
          </p:cNvPr>
          <p:cNvSpPr>
            <a:spLocks noGrp="1"/>
          </p:cNvSpPr>
          <p:nvPr>
            <p:ph sz="quarter" idx="16" hasCustomPrompt="1"/>
          </p:nvPr>
        </p:nvSpPr>
        <p:spPr>
          <a:xfrm>
            <a:off x="318656" y="5268999"/>
            <a:ext cx="7691658" cy="489250"/>
          </a:xfrm>
        </p:spPr>
        <p:txBody>
          <a:bodyPr/>
          <a:lstStyle>
            <a:lvl1pPr marL="0" marR="0" indent="0" algn="l" defTabSz="914400" rtl="0" eaLnBrk="1" fontAlgn="auto" latinLnBrk="0" hangingPunct="1">
              <a:lnSpc>
                <a:spcPct val="120000"/>
              </a:lnSpc>
              <a:spcBef>
                <a:spcPts val="200"/>
              </a:spcBef>
              <a:spcAft>
                <a:spcPts val="0"/>
              </a:spcAft>
              <a:buClr>
                <a:schemeClr val="tx2"/>
              </a:buClr>
              <a:buSzPct val="100000"/>
              <a:buFont typeface="Arial" panose="020B0604020202020204" pitchFamily="34" charset="0"/>
              <a:buNone/>
              <a:tabLst/>
              <a:defRPr>
                <a:solidFill>
                  <a:schemeClr val="bg1"/>
                </a:solidFill>
              </a:defRPr>
            </a:lvl1pPr>
          </a:lstStyle>
          <a:p>
            <a:pPr marL="0" marR="0" lvl="0" indent="0" algn="l" defTabSz="914400" rtl="0" eaLnBrk="1" fontAlgn="auto" latinLnBrk="0" hangingPunct="1">
              <a:lnSpc>
                <a:spcPct val="120000"/>
              </a:lnSpc>
              <a:spcBef>
                <a:spcPts val="200"/>
              </a:spcBef>
              <a:spcAft>
                <a:spcPts val="0"/>
              </a:spcAft>
              <a:buClr>
                <a:schemeClr val="tx2"/>
              </a:buClr>
              <a:buSzPct val="100000"/>
              <a:buFont typeface="Arial" panose="020B0604020202020204" pitchFamily="34" charset="0"/>
              <a:buNone/>
              <a:tabLst/>
              <a:defRPr/>
            </a:pPr>
            <a:r>
              <a:rPr lang="en-US" sz="2000" b="0">
                <a:solidFill>
                  <a:schemeClr val="bg1"/>
                </a:solidFill>
              </a:rPr>
              <a:t>Custom message…</a:t>
            </a:r>
            <a:endParaRPr lang="en-US" sz="2000">
              <a:solidFill>
                <a:schemeClr val="bg1"/>
              </a:solidFill>
            </a:endParaRPr>
          </a:p>
        </p:txBody>
      </p:sp>
      <p:sp>
        <p:nvSpPr>
          <p:cNvPr id="21" name="Text Placeholder 2">
            <a:extLst>
              <a:ext uri="{FF2B5EF4-FFF2-40B4-BE49-F238E27FC236}">
                <a16:creationId xmlns:a16="http://schemas.microsoft.com/office/drawing/2014/main" id="{1F2724B9-ABB6-0B48-8CBE-4DC2424568F8}"/>
              </a:ext>
            </a:extLst>
          </p:cNvPr>
          <p:cNvSpPr>
            <a:spLocks noGrp="1"/>
          </p:cNvSpPr>
          <p:nvPr>
            <p:ph type="body" sz="quarter" idx="17" hasCustomPrompt="1"/>
          </p:nvPr>
        </p:nvSpPr>
        <p:spPr>
          <a:xfrm>
            <a:off x="255104" y="3792585"/>
            <a:ext cx="7755210" cy="1476413"/>
          </a:xfrm>
        </p:spPr>
        <p:txBody>
          <a:bodyPr/>
          <a:lstStyle>
            <a:lvl1pPr>
              <a:buNone/>
              <a:defRPr lang="en-US" sz="9600" b="1" kern="1200" dirty="0">
                <a:solidFill>
                  <a:schemeClr val="bg1"/>
                </a:solidFill>
                <a:latin typeface="+mn-lt"/>
                <a:ea typeface="+mn-ea"/>
                <a:cs typeface="+mn-cs"/>
              </a:defRPr>
            </a:lvl1pPr>
          </a:lstStyle>
          <a:p>
            <a:pPr lvl="0"/>
            <a:r>
              <a:rPr lang="en-US"/>
              <a:t>Custom…</a:t>
            </a:r>
          </a:p>
        </p:txBody>
      </p:sp>
    </p:spTree>
    <p:extLst>
      <p:ext uri="{BB962C8B-B14F-4D97-AF65-F5344CB8AC3E}">
        <p14:creationId xmlns:p14="http://schemas.microsoft.com/office/powerpoint/2010/main" val="966654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ustom Layout">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1AF264-71D4-E14C-8B25-6059E389D1EF}"/>
              </a:ext>
            </a:extLst>
          </p:cNvPr>
          <p:cNvSpPr>
            <a:spLocks noGrp="1"/>
          </p:cNvSpPr>
          <p:nvPr>
            <p:ph type="title" hasCustomPrompt="1"/>
          </p:nvPr>
        </p:nvSpPr>
        <p:spPr/>
        <p:txBody>
          <a:bodyPr/>
          <a:lstStyle>
            <a:lvl1pPr>
              <a:defRPr>
                <a:solidFill>
                  <a:schemeClr val="tx2"/>
                </a:solidFill>
              </a:defRPr>
            </a:lvl1pPr>
          </a:lstStyle>
          <a:p>
            <a:r>
              <a:rPr lang="en-US"/>
              <a:t>Master slide column guide</a:t>
            </a:r>
          </a:p>
        </p:txBody>
      </p:sp>
      <p:sp>
        <p:nvSpPr>
          <p:cNvPr id="347" name="Rectangle 346">
            <a:extLst>
              <a:ext uri="{FF2B5EF4-FFF2-40B4-BE49-F238E27FC236}">
                <a16:creationId xmlns:a16="http://schemas.microsoft.com/office/drawing/2014/main" id="{2A515182-556A-4148-919D-DA6C41B2B82A}"/>
              </a:ext>
            </a:extLst>
          </p:cNvPr>
          <p:cNvSpPr/>
          <p:nvPr userDrawn="1"/>
        </p:nvSpPr>
        <p:spPr>
          <a:xfrm>
            <a:off x="152400" y="5297034"/>
            <a:ext cx="3962400" cy="304800"/>
          </a:xfrm>
          <a:prstGeom prst="rect">
            <a:avLst/>
          </a:prstGeom>
          <a:solidFill>
            <a:schemeClr val="tx2">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48" name="Rectangle 347">
            <a:extLst>
              <a:ext uri="{FF2B5EF4-FFF2-40B4-BE49-F238E27FC236}">
                <a16:creationId xmlns:a16="http://schemas.microsoft.com/office/drawing/2014/main" id="{2D5D4001-8E66-144D-92CA-7D645E8843C3}"/>
              </a:ext>
            </a:extLst>
          </p:cNvPr>
          <p:cNvSpPr/>
          <p:nvPr userDrawn="1"/>
        </p:nvSpPr>
        <p:spPr>
          <a:xfrm>
            <a:off x="4114800" y="5297033"/>
            <a:ext cx="3962400" cy="304800"/>
          </a:xfrm>
          <a:prstGeom prst="rect">
            <a:avLst/>
          </a:prstGeom>
          <a:solidFill>
            <a:schemeClr val="tx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49" name="Rectangle 348">
            <a:extLst>
              <a:ext uri="{FF2B5EF4-FFF2-40B4-BE49-F238E27FC236}">
                <a16:creationId xmlns:a16="http://schemas.microsoft.com/office/drawing/2014/main" id="{1F915BF6-6801-F445-8447-829313D55DE1}"/>
              </a:ext>
            </a:extLst>
          </p:cNvPr>
          <p:cNvSpPr/>
          <p:nvPr userDrawn="1"/>
        </p:nvSpPr>
        <p:spPr>
          <a:xfrm>
            <a:off x="8077200" y="5297033"/>
            <a:ext cx="3962400" cy="304800"/>
          </a:xfrm>
          <a:prstGeom prst="rect">
            <a:avLst/>
          </a:prstGeom>
          <a:solidFill>
            <a:schemeClr val="tx2">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77" name="Rectangle 376">
            <a:extLst>
              <a:ext uri="{FF2B5EF4-FFF2-40B4-BE49-F238E27FC236}">
                <a16:creationId xmlns:a16="http://schemas.microsoft.com/office/drawing/2014/main" id="{409746C0-0633-8440-B5CF-DE04D82AFA84}"/>
              </a:ext>
            </a:extLst>
          </p:cNvPr>
          <p:cNvSpPr/>
          <p:nvPr userDrawn="1"/>
        </p:nvSpPr>
        <p:spPr>
          <a:xfrm>
            <a:off x="152400" y="4655679"/>
            <a:ext cx="2971800" cy="304800"/>
          </a:xfrm>
          <a:prstGeom prst="rect">
            <a:avLst/>
          </a:prstGeom>
          <a:solidFill>
            <a:schemeClr val="tx2">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78" name="Rectangle 377">
            <a:extLst>
              <a:ext uri="{FF2B5EF4-FFF2-40B4-BE49-F238E27FC236}">
                <a16:creationId xmlns:a16="http://schemas.microsoft.com/office/drawing/2014/main" id="{EB4B500C-F4AE-FC44-9061-B7345B89902B}"/>
              </a:ext>
            </a:extLst>
          </p:cNvPr>
          <p:cNvSpPr/>
          <p:nvPr userDrawn="1"/>
        </p:nvSpPr>
        <p:spPr>
          <a:xfrm>
            <a:off x="3124200" y="4655678"/>
            <a:ext cx="2971800" cy="304800"/>
          </a:xfrm>
          <a:prstGeom prst="rect">
            <a:avLst/>
          </a:prstGeom>
          <a:solidFill>
            <a:schemeClr val="tx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79" name="Rectangle 378">
            <a:extLst>
              <a:ext uri="{FF2B5EF4-FFF2-40B4-BE49-F238E27FC236}">
                <a16:creationId xmlns:a16="http://schemas.microsoft.com/office/drawing/2014/main" id="{0BF1E544-C1F3-ED4B-81EF-A461690F54E8}"/>
              </a:ext>
            </a:extLst>
          </p:cNvPr>
          <p:cNvSpPr/>
          <p:nvPr userDrawn="1"/>
        </p:nvSpPr>
        <p:spPr>
          <a:xfrm>
            <a:off x="6096000" y="4655678"/>
            <a:ext cx="2971800" cy="304800"/>
          </a:xfrm>
          <a:prstGeom prst="rect">
            <a:avLst/>
          </a:prstGeom>
          <a:solidFill>
            <a:schemeClr val="tx2">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80" name="Rectangle 379">
            <a:extLst>
              <a:ext uri="{FF2B5EF4-FFF2-40B4-BE49-F238E27FC236}">
                <a16:creationId xmlns:a16="http://schemas.microsoft.com/office/drawing/2014/main" id="{12BC584E-CCB4-E54D-B49E-9B06C53D232C}"/>
              </a:ext>
            </a:extLst>
          </p:cNvPr>
          <p:cNvSpPr/>
          <p:nvPr userDrawn="1"/>
        </p:nvSpPr>
        <p:spPr>
          <a:xfrm>
            <a:off x="9067800" y="4655678"/>
            <a:ext cx="2971800" cy="304800"/>
          </a:xfrm>
          <a:prstGeom prst="rect">
            <a:avLst/>
          </a:prstGeom>
          <a:solidFill>
            <a:schemeClr val="tx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13" name="Rectangle 412">
            <a:extLst>
              <a:ext uri="{FF2B5EF4-FFF2-40B4-BE49-F238E27FC236}">
                <a16:creationId xmlns:a16="http://schemas.microsoft.com/office/drawing/2014/main" id="{3C0DCD00-016C-8249-9E41-079096AFB3A6}"/>
              </a:ext>
            </a:extLst>
          </p:cNvPr>
          <p:cNvSpPr/>
          <p:nvPr userDrawn="1"/>
        </p:nvSpPr>
        <p:spPr>
          <a:xfrm>
            <a:off x="152400" y="4019094"/>
            <a:ext cx="2377440" cy="304800"/>
          </a:xfrm>
          <a:prstGeom prst="rect">
            <a:avLst/>
          </a:prstGeom>
          <a:solidFill>
            <a:schemeClr val="tx2">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14" name="Rectangle 413">
            <a:extLst>
              <a:ext uri="{FF2B5EF4-FFF2-40B4-BE49-F238E27FC236}">
                <a16:creationId xmlns:a16="http://schemas.microsoft.com/office/drawing/2014/main" id="{7D5C5BF9-225C-0945-9BD8-811FED6F7C6C}"/>
              </a:ext>
            </a:extLst>
          </p:cNvPr>
          <p:cNvSpPr/>
          <p:nvPr userDrawn="1"/>
        </p:nvSpPr>
        <p:spPr>
          <a:xfrm>
            <a:off x="2529840" y="4019093"/>
            <a:ext cx="2377440" cy="304800"/>
          </a:xfrm>
          <a:prstGeom prst="rect">
            <a:avLst/>
          </a:prstGeom>
          <a:solidFill>
            <a:schemeClr val="tx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15" name="Rectangle 414">
            <a:extLst>
              <a:ext uri="{FF2B5EF4-FFF2-40B4-BE49-F238E27FC236}">
                <a16:creationId xmlns:a16="http://schemas.microsoft.com/office/drawing/2014/main" id="{C63D455F-73BE-A943-8A70-41066037EB15}"/>
              </a:ext>
            </a:extLst>
          </p:cNvPr>
          <p:cNvSpPr/>
          <p:nvPr userDrawn="1"/>
        </p:nvSpPr>
        <p:spPr>
          <a:xfrm>
            <a:off x="4907280" y="4019093"/>
            <a:ext cx="2377440" cy="304800"/>
          </a:xfrm>
          <a:prstGeom prst="rect">
            <a:avLst/>
          </a:prstGeom>
          <a:solidFill>
            <a:schemeClr val="tx2">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16" name="Rectangle 415">
            <a:extLst>
              <a:ext uri="{FF2B5EF4-FFF2-40B4-BE49-F238E27FC236}">
                <a16:creationId xmlns:a16="http://schemas.microsoft.com/office/drawing/2014/main" id="{29C4F461-3408-F24E-93BE-7BE25C21160B}"/>
              </a:ext>
            </a:extLst>
          </p:cNvPr>
          <p:cNvSpPr/>
          <p:nvPr userDrawn="1"/>
        </p:nvSpPr>
        <p:spPr>
          <a:xfrm>
            <a:off x="7284720" y="4019093"/>
            <a:ext cx="2377440" cy="304800"/>
          </a:xfrm>
          <a:prstGeom prst="rect">
            <a:avLst/>
          </a:prstGeom>
          <a:solidFill>
            <a:schemeClr val="tx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17" name="Rectangle 416">
            <a:extLst>
              <a:ext uri="{FF2B5EF4-FFF2-40B4-BE49-F238E27FC236}">
                <a16:creationId xmlns:a16="http://schemas.microsoft.com/office/drawing/2014/main" id="{B07E25D9-5575-FA46-AE11-B58FECE45D22}"/>
              </a:ext>
            </a:extLst>
          </p:cNvPr>
          <p:cNvSpPr/>
          <p:nvPr userDrawn="1"/>
        </p:nvSpPr>
        <p:spPr>
          <a:xfrm>
            <a:off x="9662160" y="4019093"/>
            <a:ext cx="2377440" cy="304800"/>
          </a:xfrm>
          <a:prstGeom prst="rect">
            <a:avLst/>
          </a:prstGeom>
          <a:solidFill>
            <a:schemeClr val="tx2">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35" name="Rectangle 434">
            <a:extLst>
              <a:ext uri="{FF2B5EF4-FFF2-40B4-BE49-F238E27FC236}">
                <a16:creationId xmlns:a16="http://schemas.microsoft.com/office/drawing/2014/main" id="{168AE306-A0D3-924E-88F9-CBCC203C5193}"/>
              </a:ext>
            </a:extLst>
          </p:cNvPr>
          <p:cNvSpPr/>
          <p:nvPr userDrawn="1"/>
        </p:nvSpPr>
        <p:spPr>
          <a:xfrm>
            <a:off x="152400" y="5943601"/>
            <a:ext cx="5943600" cy="304800"/>
          </a:xfrm>
          <a:prstGeom prst="rect">
            <a:avLst/>
          </a:prstGeom>
          <a:solidFill>
            <a:schemeClr val="tx2">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36" name="Rectangle 435">
            <a:extLst>
              <a:ext uri="{FF2B5EF4-FFF2-40B4-BE49-F238E27FC236}">
                <a16:creationId xmlns:a16="http://schemas.microsoft.com/office/drawing/2014/main" id="{A3B192E7-794D-C14E-BC0F-394A020FA684}"/>
              </a:ext>
            </a:extLst>
          </p:cNvPr>
          <p:cNvSpPr/>
          <p:nvPr userDrawn="1"/>
        </p:nvSpPr>
        <p:spPr>
          <a:xfrm>
            <a:off x="6096000" y="5943600"/>
            <a:ext cx="5943600" cy="304800"/>
          </a:xfrm>
          <a:prstGeom prst="rect">
            <a:avLst/>
          </a:prstGeom>
          <a:solidFill>
            <a:schemeClr val="tx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74" name="Rectangle 473">
            <a:extLst>
              <a:ext uri="{FF2B5EF4-FFF2-40B4-BE49-F238E27FC236}">
                <a16:creationId xmlns:a16="http://schemas.microsoft.com/office/drawing/2014/main" id="{2E39ADA9-047C-064C-B38A-58491F27D38A}"/>
              </a:ext>
            </a:extLst>
          </p:cNvPr>
          <p:cNvSpPr/>
          <p:nvPr userDrawn="1"/>
        </p:nvSpPr>
        <p:spPr>
          <a:xfrm>
            <a:off x="152400" y="3336769"/>
            <a:ext cx="1981200" cy="304800"/>
          </a:xfrm>
          <a:prstGeom prst="rect">
            <a:avLst/>
          </a:prstGeom>
          <a:solidFill>
            <a:schemeClr val="tx2">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75" name="Rectangle 474">
            <a:extLst>
              <a:ext uri="{FF2B5EF4-FFF2-40B4-BE49-F238E27FC236}">
                <a16:creationId xmlns:a16="http://schemas.microsoft.com/office/drawing/2014/main" id="{950CBAF9-139A-444A-99D3-8878A71E1230}"/>
              </a:ext>
            </a:extLst>
          </p:cNvPr>
          <p:cNvSpPr/>
          <p:nvPr userDrawn="1"/>
        </p:nvSpPr>
        <p:spPr>
          <a:xfrm>
            <a:off x="2133600" y="3336768"/>
            <a:ext cx="1981200" cy="304800"/>
          </a:xfrm>
          <a:prstGeom prst="rect">
            <a:avLst/>
          </a:prstGeom>
          <a:solidFill>
            <a:schemeClr val="tx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76" name="Rectangle 475">
            <a:extLst>
              <a:ext uri="{FF2B5EF4-FFF2-40B4-BE49-F238E27FC236}">
                <a16:creationId xmlns:a16="http://schemas.microsoft.com/office/drawing/2014/main" id="{B5A13F0A-72FA-0D47-801F-47CA60E80C0C}"/>
              </a:ext>
            </a:extLst>
          </p:cNvPr>
          <p:cNvSpPr/>
          <p:nvPr userDrawn="1"/>
        </p:nvSpPr>
        <p:spPr>
          <a:xfrm>
            <a:off x="4114800" y="3336768"/>
            <a:ext cx="1981200" cy="304800"/>
          </a:xfrm>
          <a:prstGeom prst="rect">
            <a:avLst/>
          </a:prstGeom>
          <a:solidFill>
            <a:schemeClr val="tx2">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77" name="Rectangle 476">
            <a:extLst>
              <a:ext uri="{FF2B5EF4-FFF2-40B4-BE49-F238E27FC236}">
                <a16:creationId xmlns:a16="http://schemas.microsoft.com/office/drawing/2014/main" id="{4FEF358F-4817-F64B-8CC4-0FD0C1FABF29}"/>
              </a:ext>
            </a:extLst>
          </p:cNvPr>
          <p:cNvSpPr/>
          <p:nvPr userDrawn="1"/>
        </p:nvSpPr>
        <p:spPr>
          <a:xfrm>
            <a:off x="6096000" y="3336768"/>
            <a:ext cx="1981200" cy="304800"/>
          </a:xfrm>
          <a:prstGeom prst="rect">
            <a:avLst/>
          </a:prstGeom>
          <a:solidFill>
            <a:schemeClr val="tx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78" name="Rectangle 477">
            <a:extLst>
              <a:ext uri="{FF2B5EF4-FFF2-40B4-BE49-F238E27FC236}">
                <a16:creationId xmlns:a16="http://schemas.microsoft.com/office/drawing/2014/main" id="{EFF11427-1778-1747-93D7-55F0840A0284}"/>
              </a:ext>
            </a:extLst>
          </p:cNvPr>
          <p:cNvSpPr/>
          <p:nvPr userDrawn="1"/>
        </p:nvSpPr>
        <p:spPr>
          <a:xfrm>
            <a:off x="8077200" y="3336768"/>
            <a:ext cx="1981200" cy="304800"/>
          </a:xfrm>
          <a:prstGeom prst="rect">
            <a:avLst/>
          </a:prstGeom>
          <a:solidFill>
            <a:schemeClr val="tx2">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79" name="Rectangle 478">
            <a:extLst>
              <a:ext uri="{FF2B5EF4-FFF2-40B4-BE49-F238E27FC236}">
                <a16:creationId xmlns:a16="http://schemas.microsoft.com/office/drawing/2014/main" id="{F3D80D4E-21FD-8E4F-BCC2-F182D2FB139B}"/>
              </a:ext>
            </a:extLst>
          </p:cNvPr>
          <p:cNvSpPr/>
          <p:nvPr userDrawn="1"/>
        </p:nvSpPr>
        <p:spPr>
          <a:xfrm>
            <a:off x="10058400" y="3336768"/>
            <a:ext cx="1981200" cy="304800"/>
          </a:xfrm>
          <a:prstGeom prst="rect">
            <a:avLst/>
          </a:prstGeom>
          <a:solidFill>
            <a:schemeClr val="tx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nvGrpSpPr>
          <p:cNvPr id="439" name="Group 438">
            <a:extLst>
              <a:ext uri="{FF2B5EF4-FFF2-40B4-BE49-F238E27FC236}">
                <a16:creationId xmlns:a16="http://schemas.microsoft.com/office/drawing/2014/main" id="{772AB51C-F49A-0A4A-BA0B-000FC84A5867}"/>
              </a:ext>
            </a:extLst>
          </p:cNvPr>
          <p:cNvGrpSpPr/>
          <p:nvPr userDrawn="1"/>
        </p:nvGrpSpPr>
        <p:grpSpPr>
          <a:xfrm>
            <a:off x="0" y="3336768"/>
            <a:ext cx="304800" cy="304800"/>
            <a:chOff x="4748283" y="3386554"/>
            <a:chExt cx="548640" cy="548640"/>
          </a:xfrm>
        </p:grpSpPr>
        <p:sp>
          <p:nvSpPr>
            <p:cNvPr id="470" name="Rectangle 469">
              <a:extLst>
                <a:ext uri="{FF2B5EF4-FFF2-40B4-BE49-F238E27FC236}">
                  <a16:creationId xmlns:a16="http://schemas.microsoft.com/office/drawing/2014/main" id="{E4A75E68-C0BB-4840-B07F-1D82C5547F73}"/>
                </a:ext>
              </a:extLst>
            </p:cNvPr>
            <p:cNvSpPr/>
            <p:nvPr userDrawn="1"/>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71" name="Rectangle 470">
              <a:extLst>
                <a:ext uri="{FF2B5EF4-FFF2-40B4-BE49-F238E27FC236}">
                  <a16:creationId xmlns:a16="http://schemas.microsoft.com/office/drawing/2014/main" id="{8DD8EBE3-10D1-3E44-85FC-03439E297582}"/>
                </a:ext>
              </a:extLst>
            </p:cNvPr>
            <p:cNvSpPr/>
            <p:nvPr userDrawn="1"/>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72" name="Rectangle 471">
              <a:extLst>
                <a:ext uri="{FF2B5EF4-FFF2-40B4-BE49-F238E27FC236}">
                  <a16:creationId xmlns:a16="http://schemas.microsoft.com/office/drawing/2014/main" id="{6AEBDBAB-049C-C94F-BA15-670FE7786BB7}"/>
                </a:ext>
              </a:extLst>
            </p:cNvPr>
            <p:cNvSpPr/>
            <p:nvPr userDrawn="1"/>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73" name="Rectangle 472">
              <a:extLst>
                <a:ext uri="{FF2B5EF4-FFF2-40B4-BE49-F238E27FC236}">
                  <a16:creationId xmlns:a16="http://schemas.microsoft.com/office/drawing/2014/main" id="{1839B25E-E114-E34C-A32D-6D7EC38B1EE9}"/>
                </a:ext>
              </a:extLst>
            </p:cNvPr>
            <p:cNvSpPr/>
            <p:nvPr userDrawn="1"/>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sp>
        <p:nvSpPr>
          <p:cNvPr id="480" name="TextBox 479">
            <a:extLst>
              <a:ext uri="{FF2B5EF4-FFF2-40B4-BE49-F238E27FC236}">
                <a16:creationId xmlns:a16="http://schemas.microsoft.com/office/drawing/2014/main" id="{342D7EB4-B12F-644A-9E0A-98B8EF09117E}"/>
              </a:ext>
            </a:extLst>
          </p:cNvPr>
          <p:cNvSpPr txBox="1"/>
          <p:nvPr userDrawn="1"/>
        </p:nvSpPr>
        <p:spPr>
          <a:xfrm>
            <a:off x="304800" y="3126887"/>
            <a:ext cx="621965" cy="184666"/>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chemeClr val="tx1"/>
                </a:solidFill>
                <a:effectLst/>
                <a:uLnTx/>
                <a:uFillTx/>
              </a:rPr>
              <a:t>6 column</a:t>
            </a:r>
          </a:p>
        </p:txBody>
      </p:sp>
      <p:sp>
        <p:nvSpPr>
          <p:cNvPr id="481" name="TextBox 480">
            <a:extLst>
              <a:ext uri="{FF2B5EF4-FFF2-40B4-BE49-F238E27FC236}">
                <a16:creationId xmlns:a16="http://schemas.microsoft.com/office/drawing/2014/main" id="{7056B7B5-7702-9842-8ACC-189B0B1EC818}"/>
              </a:ext>
            </a:extLst>
          </p:cNvPr>
          <p:cNvSpPr txBox="1"/>
          <p:nvPr userDrawn="1"/>
        </p:nvSpPr>
        <p:spPr>
          <a:xfrm>
            <a:off x="304800" y="3823113"/>
            <a:ext cx="621965" cy="184666"/>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chemeClr val="tx1"/>
                </a:solidFill>
                <a:effectLst/>
                <a:uLnTx/>
                <a:uFillTx/>
              </a:rPr>
              <a:t>5 column</a:t>
            </a:r>
          </a:p>
        </p:txBody>
      </p:sp>
      <p:sp>
        <p:nvSpPr>
          <p:cNvPr id="482" name="TextBox 481">
            <a:extLst>
              <a:ext uri="{FF2B5EF4-FFF2-40B4-BE49-F238E27FC236}">
                <a16:creationId xmlns:a16="http://schemas.microsoft.com/office/drawing/2014/main" id="{86211BCB-2DF9-6644-8DCD-BC5B31A507D4}"/>
              </a:ext>
            </a:extLst>
          </p:cNvPr>
          <p:cNvSpPr txBox="1"/>
          <p:nvPr userDrawn="1"/>
        </p:nvSpPr>
        <p:spPr>
          <a:xfrm>
            <a:off x="304800" y="4456624"/>
            <a:ext cx="621965" cy="184666"/>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chemeClr val="tx1"/>
                </a:solidFill>
                <a:effectLst/>
                <a:uLnTx/>
                <a:uFillTx/>
              </a:rPr>
              <a:t>4 column</a:t>
            </a:r>
          </a:p>
        </p:txBody>
      </p:sp>
      <p:sp>
        <p:nvSpPr>
          <p:cNvPr id="483" name="TextBox 482">
            <a:extLst>
              <a:ext uri="{FF2B5EF4-FFF2-40B4-BE49-F238E27FC236}">
                <a16:creationId xmlns:a16="http://schemas.microsoft.com/office/drawing/2014/main" id="{480A6B41-B33C-4544-AA80-B05EA7E4F5F8}"/>
              </a:ext>
            </a:extLst>
          </p:cNvPr>
          <p:cNvSpPr txBox="1"/>
          <p:nvPr userDrawn="1"/>
        </p:nvSpPr>
        <p:spPr>
          <a:xfrm>
            <a:off x="304800" y="5094905"/>
            <a:ext cx="621965" cy="184666"/>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chemeClr val="tx1"/>
                </a:solidFill>
                <a:effectLst/>
                <a:uLnTx/>
                <a:uFillTx/>
              </a:rPr>
              <a:t>3 column</a:t>
            </a:r>
          </a:p>
        </p:txBody>
      </p:sp>
      <p:sp>
        <p:nvSpPr>
          <p:cNvPr id="484" name="TextBox 483">
            <a:extLst>
              <a:ext uri="{FF2B5EF4-FFF2-40B4-BE49-F238E27FC236}">
                <a16:creationId xmlns:a16="http://schemas.microsoft.com/office/drawing/2014/main" id="{29F7A788-CE98-6246-ADB3-ACDB5AD10573}"/>
              </a:ext>
            </a:extLst>
          </p:cNvPr>
          <p:cNvSpPr txBox="1"/>
          <p:nvPr userDrawn="1"/>
        </p:nvSpPr>
        <p:spPr>
          <a:xfrm>
            <a:off x="304800" y="5751326"/>
            <a:ext cx="621965" cy="184666"/>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chemeClr val="tx1"/>
                </a:solidFill>
                <a:effectLst/>
                <a:uLnTx/>
                <a:uFillTx/>
              </a:rPr>
              <a:t>2 column</a:t>
            </a:r>
          </a:p>
        </p:txBody>
      </p:sp>
      <p:sp>
        <p:nvSpPr>
          <p:cNvPr id="164" name="Slide Number Placeholder 2">
            <a:extLst>
              <a:ext uri="{FF2B5EF4-FFF2-40B4-BE49-F238E27FC236}">
                <a16:creationId xmlns:a16="http://schemas.microsoft.com/office/drawing/2014/main" id="{F03B75DB-F93B-BB4A-88B7-BC503665EB12}"/>
              </a:ext>
            </a:extLst>
          </p:cNvPr>
          <p:cNvSpPr>
            <a:spLocks noGrp="1"/>
          </p:cNvSpPr>
          <p:nvPr userDrawn="1">
            <p:ph type="sldNum" sz="quarter" idx="10"/>
          </p:nvPr>
        </p:nvSpPr>
        <p:spPr>
          <a:xfrm>
            <a:off x="1" y="6553200"/>
            <a:ext cx="304799" cy="304799"/>
          </a:xfrm>
        </p:spPr>
        <p:txBody>
          <a:bodyPr/>
          <a:lstStyle/>
          <a:p>
            <a:fld id="{89006F1E-66CD-4A4B-9370-B4A3080F0E6C}" type="slidenum">
              <a:rPr lang="en-US" smtClean="0"/>
              <a:pPr/>
              <a:t>‹#›</a:t>
            </a:fld>
            <a:endParaRPr lang="en-US"/>
          </a:p>
        </p:txBody>
      </p:sp>
      <p:sp>
        <p:nvSpPr>
          <p:cNvPr id="165" name="Footer Placeholder 1">
            <a:extLst>
              <a:ext uri="{FF2B5EF4-FFF2-40B4-BE49-F238E27FC236}">
                <a16:creationId xmlns:a16="http://schemas.microsoft.com/office/drawing/2014/main" id="{32024396-8CE7-064A-913E-52749C1A59C6}"/>
              </a:ext>
            </a:extLst>
          </p:cNvPr>
          <p:cNvSpPr>
            <a:spLocks noGrp="1"/>
          </p:cNvSpPr>
          <p:nvPr userDrawn="1">
            <p:ph type="ftr" sz="quarter" idx="14"/>
          </p:nvPr>
        </p:nvSpPr>
        <p:spPr>
          <a:xfrm>
            <a:off x="304799" y="6553201"/>
            <a:ext cx="7620001" cy="304800"/>
          </a:xfrm>
          <a:prstGeom prst="rect">
            <a:avLst/>
          </a:prstGeom>
        </p:spPr>
        <p:txBody>
          <a:bodyPr/>
          <a:lstStyle>
            <a:lvl1pPr>
              <a:defRPr>
                <a:solidFill>
                  <a:schemeClr val="accent5"/>
                </a:solidFill>
              </a:defRPr>
            </a:lvl1pPr>
          </a:lstStyle>
          <a:p>
            <a:r>
              <a:rPr lang="en-US">
                <a:ea typeface="MS PGothic" panose="020B0600070205080204" pitchFamily="34" charset="-128"/>
              </a:rPr>
              <a:t>Proprietary &amp; Confidential | Molecular Biology STRAP | XX-April-2021</a:t>
            </a:r>
          </a:p>
        </p:txBody>
      </p:sp>
      <p:grpSp>
        <p:nvGrpSpPr>
          <p:cNvPr id="12" name="Group 11">
            <a:extLst>
              <a:ext uri="{FF2B5EF4-FFF2-40B4-BE49-F238E27FC236}">
                <a16:creationId xmlns:a16="http://schemas.microsoft.com/office/drawing/2014/main" id="{6F86E547-682A-6B4F-B0EC-65D336F3A540}"/>
              </a:ext>
            </a:extLst>
          </p:cNvPr>
          <p:cNvGrpSpPr/>
          <p:nvPr userDrawn="1"/>
        </p:nvGrpSpPr>
        <p:grpSpPr>
          <a:xfrm>
            <a:off x="300227" y="876301"/>
            <a:ext cx="11586972" cy="5676899"/>
            <a:chOff x="300227" y="876301"/>
            <a:chExt cx="11586972" cy="5676899"/>
          </a:xfrm>
        </p:grpSpPr>
        <p:sp>
          <p:nvSpPr>
            <p:cNvPr id="3" name="Rectangle 2">
              <a:extLst>
                <a:ext uri="{FF2B5EF4-FFF2-40B4-BE49-F238E27FC236}">
                  <a16:creationId xmlns:a16="http://schemas.microsoft.com/office/drawing/2014/main" id="{8EE04DA2-78B1-A642-A2C2-0873783B7B9C}"/>
                </a:ext>
              </a:extLst>
            </p:cNvPr>
            <p:cNvSpPr/>
            <p:nvPr userDrawn="1"/>
          </p:nvSpPr>
          <p:spPr>
            <a:xfrm>
              <a:off x="300227" y="876301"/>
              <a:ext cx="11586972" cy="5676899"/>
            </a:xfrm>
            <a:prstGeom prst="rect">
              <a:avLst/>
            </a:prstGeom>
            <a:noFill/>
            <a:ln>
              <a:solidFill>
                <a:schemeClr val="accent5">
                  <a:lumMod val="60000"/>
                  <a:lumOff val="40000"/>
                </a:schemeClr>
              </a:solidFill>
              <a:prstDash val="dash"/>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cxnSp>
          <p:nvCxnSpPr>
            <p:cNvPr id="5" name="Straight Arrow Connector 4">
              <a:extLst>
                <a:ext uri="{FF2B5EF4-FFF2-40B4-BE49-F238E27FC236}">
                  <a16:creationId xmlns:a16="http://schemas.microsoft.com/office/drawing/2014/main" id="{73EED049-4AD2-0B49-BBEA-A4247ECC89A5}"/>
                </a:ext>
              </a:extLst>
            </p:cNvPr>
            <p:cNvCxnSpPr/>
            <p:nvPr userDrawn="1"/>
          </p:nvCxnSpPr>
          <p:spPr>
            <a:xfrm>
              <a:off x="474651" y="876301"/>
              <a:ext cx="0" cy="174504"/>
            </a:xfrm>
            <a:prstGeom prst="straightConnector1">
              <a:avLst/>
            </a:prstGeom>
            <a:ln w="12700">
              <a:solidFill>
                <a:schemeClr val="accent5"/>
              </a:solidFill>
              <a:tailEnd type="arrow"/>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1BA01FDD-B887-5D48-9BCC-AB3E59DA8C44}"/>
                </a:ext>
              </a:extLst>
            </p:cNvPr>
            <p:cNvSpPr txBox="1"/>
            <p:nvPr userDrawn="1"/>
          </p:nvSpPr>
          <p:spPr>
            <a:xfrm>
              <a:off x="579276" y="905884"/>
              <a:ext cx="3517997" cy="174504"/>
            </a:xfrm>
            <a:prstGeom prst="rect">
              <a:avLst/>
            </a:prstGeom>
            <a:noFill/>
          </p:spPr>
          <p:txBody>
            <a:bodyPr wrap="none" lIns="0" tIns="0" rIns="0" bIns="0" rtlCol="0">
              <a:normAutofit/>
            </a:bodyPr>
            <a:lstStyle/>
            <a:p>
              <a:pPr marL="0" indent="0" algn="l" defTabSz="914400">
                <a:lnSpc>
                  <a:spcPct val="120000"/>
                </a:lnSpc>
                <a:spcBef>
                  <a:spcPts val="200"/>
                </a:spcBef>
                <a:buClr>
                  <a:schemeClr val="tx2"/>
                </a:buClr>
                <a:buSzPct val="100000"/>
                <a:buFont typeface="Arial" panose="020B0604020202020204" pitchFamily="34" charset="0"/>
                <a:buNone/>
              </a:pPr>
              <a:r>
                <a:rPr lang="en-US" sz="1050"/>
                <a:t>Safe zone</a:t>
              </a:r>
            </a:p>
          </p:txBody>
        </p:sp>
        <p:cxnSp>
          <p:nvCxnSpPr>
            <p:cNvPr id="171" name="Straight Arrow Connector 170">
              <a:extLst>
                <a:ext uri="{FF2B5EF4-FFF2-40B4-BE49-F238E27FC236}">
                  <a16:creationId xmlns:a16="http://schemas.microsoft.com/office/drawing/2014/main" id="{9BD67516-3606-FF42-BF2C-613E58799753}"/>
                </a:ext>
              </a:extLst>
            </p:cNvPr>
            <p:cNvCxnSpPr/>
            <p:nvPr userDrawn="1"/>
          </p:nvCxnSpPr>
          <p:spPr>
            <a:xfrm>
              <a:off x="474651" y="1455311"/>
              <a:ext cx="0" cy="174504"/>
            </a:xfrm>
            <a:prstGeom prst="straightConnector1">
              <a:avLst/>
            </a:prstGeom>
            <a:ln w="12700">
              <a:solidFill>
                <a:schemeClr val="accent5"/>
              </a:solidFill>
              <a:tailEnd type="arrow"/>
            </a:ln>
          </p:spPr>
          <p:style>
            <a:lnRef idx="1">
              <a:schemeClr val="accent1"/>
            </a:lnRef>
            <a:fillRef idx="0">
              <a:schemeClr val="accent1"/>
            </a:fillRef>
            <a:effectRef idx="0">
              <a:schemeClr val="accent1"/>
            </a:effectRef>
            <a:fontRef idx="minor">
              <a:schemeClr val="tx1"/>
            </a:fontRef>
          </p:style>
        </p:cxnSp>
        <p:sp>
          <p:nvSpPr>
            <p:cNvPr id="172" name="TextBox 171">
              <a:extLst>
                <a:ext uri="{FF2B5EF4-FFF2-40B4-BE49-F238E27FC236}">
                  <a16:creationId xmlns:a16="http://schemas.microsoft.com/office/drawing/2014/main" id="{4E864EDE-9D5F-984C-A44E-2B8534B762A2}"/>
                </a:ext>
              </a:extLst>
            </p:cNvPr>
            <p:cNvSpPr txBox="1"/>
            <p:nvPr userDrawn="1"/>
          </p:nvSpPr>
          <p:spPr>
            <a:xfrm>
              <a:off x="579276" y="1484894"/>
              <a:ext cx="3517997" cy="174504"/>
            </a:xfrm>
            <a:prstGeom prst="rect">
              <a:avLst/>
            </a:prstGeom>
            <a:noFill/>
          </p:spPr>
          <p:txBody>
            <a:bodyPr wrap="none" lIns="0" tIns="0" rIns="0" bIns="0" rtlCol="0">
              <a:normAutofit/>
            </a:bodyPr>
            <a:lstStyle/>
            <a:p>
              <a:pPr marL="0" indent="0" algn="l" defTabSz="914400">
                <a:lnSpc>
                  <a:spcPct val="120000"/>
                </a:lnSpc>
                <a:spcBef>
                  <a:spcPts val="200"/>
                </a:spcBef>
                <a:buClr>
                  <a:schemeClr val="tx2"/>
                </a:buClr>
                <a:buSzPct val="100000"/>
                <a:buFont typeface="Arial" panose="020B0604020202020204" pitchFamily="34" charset="0"/>
                <a:buNone/>
              </a:pPr>
              <a:r>
                <a:rPr lang="en-US" sz="1050"/>
                <a:t>Safe zone with sub-title</a:t>
              </a:r>
            </a:p>
          </p:txBody>
        </p:sp>
        <p:cxnSp>
          <p:nvCxnSpPr>
            <p:cNvPr id="8" name="Straight Connector 7">
              <a:extLst>
                <a:ext uri="{FF2B5EF4-FFF2-40B4-BE49-F238E27FC236}">
                  <a16:creationId xmlns:a16="http://schemas.microsoft.com/office/drawing/2014/main" id="{11BD3366-59E4-7A48-9F82-4F24D0C736CB}"/>
                </a:ext>
              </a:extLst>
            </p:cNvPr>
            <p:cNvCxnSpPr>
              <a:cxnSpLocks/>
            </p:cNvCxnSpPr>
            <p:nvPr userDrawn="1"/>
          </p:nvCxnSpPr>
          <p:spPr>
            <a:xfrm>
              <a:off x="300227" y="1455311"/>
              <a:ext cx="11586972" cy="0"/>
            </a:xfrm>
            <a:prstGeom prst="line">
              <a:avLst/>
            </a:prstGeom>
            <a:noFill/>
            <a:ln>
              <a:solidFill>
                <a:schemeClr val="accent5">
                  <a:lumMod val="60000"/>
                  <a:lumOff val="40000"/>
                </a:schemeClr>
              </a:solidFill>
              <a:prstDash val="dash"/>
            </a:ln>
          </p:spPr>
          <p:style>
            <a:lnRef idx="2">
              <a:schemeClr val="accent6"/>
            </a:lnRef>
            <a:fillRef idx="1">
              <a:schemeClr val="lt1"/>
            </a:fillRef>
            <a:effectRef idx="0">
              <a:schemeClr val="accent6"/>
            </a:effectRef>
            <a:fontRef idx="minor">
              <a:schemeClr val="dk1"/>
            </a:fontRef>
          </p:style>
        </p:cxnSp>
      </p:grpSp>
      <p:grpSp>
        <p:nvGrpSpPr>
          <p:cNvPr id="16" name="Group 15">
            <a:extLst>
              <a:ext uri="{FF2B5EF4-FFF2-40B4-BE49-F238E27FC236}">
                <a16:creationId xmlns:a16="http://schemas.microsoft.com/office/drawing/2014/main" id="{69B2DC8A-7A6F-9644-8D71-F808322A48E6}"/>
              </a:ext>
            </a:extLst>
          </p:cNvPr>
          <p:cNvGrpSpPr/>
          <p:nvPr userDrawn="1"/>
        </p:nvGrpSpPr>
        <p:grpSpPr>
          <a:xfrm>
            <a:off x="2083982" y="1584073"/>
            <a:ext cx="8024037" cy="1628059"/>
            <a:chOff x="2105247" y="1591161"/>
            <a:chExt cx="8024037" cy="1628059"/>
          </a:xfrm>
        </p:grpSpPr>
        <p:pic>
          <p:nvPicPr>
            <p:cNvPr id="180" name="Picture 179">
              <a:extLst>
                <a:ext uri="{FF2B5EF4-FFF2-40B4-BE49-F238E27FC236}">
                  <a16:creationId xmlns:a16="http://schemas.microsoft.com/office/drawing/2014/main" id="{7DE60FB9-62FE-9C46-B40B-0229DBC6F0D9}"/>
                </a:ext>
              </a:extLst>
            </p:cNvPr>
            <p:cNvPicPr>
              <a:picLocks noChangeAspect="1"/>
            </p:cNvPicPr>
            <p:nvPr userDrawn="1"/>
          </p:nvPicPr>
          <p:blipFill>
            <a:blip r:embed="rId2"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3874331" y="1591161"/>
              <a:ext cx="4443338" cy="1542319"/>
            </a:xfrm>
            <a:prstGeom prst="rect">
              <a:avLst/>
            </a:prstGeom>
          </p:spPr>
        </p:pic>
        <p:sp>
          <p:nvSpPr>
            <p:cNvPr id="179" name="Parallelogram 178">
              <a:extLst>
                <a:ext uri="{FF2B5EF4-FFF2-40B4-BE49-F238E27FC236}">
                  <a16:creationId xmlns:a16="http://schemas.microsoft.com/office/drawing/2014/main" id="{C604ECB2-C049-5D43-9BEB-15DEE7EE1A1E}"/>
                </a:ext>
              </a:extLst>
            </p:cNvPr>
            <p:cNvSpPr>
              <a:spLocks/>
            </p:cNvSpPr>
            <p:nvPr userDrawn="1"/>
          </p:nvSpPr>
          <p:spPr bwMode="auto">
            <a:xfrm>
              <a:off x="2105247" y="1611455"/>
              <a:ext cx="8024037" cy="1607765"/>
            </a:xfrm>
            <a:prstGeom prst="parallelogram">
              <a:avLst>
                <a:gd name="adj" fmla="val 31844"/>
              </a:avLst>
            </a:prstGeom>
            <a:noFill/>
            <a:ln w="6350" cap="flat" cmpd="sng" algn="ctr">
              <a:solidFill>
                <a:schemeClr val="accent5">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r>
                <a:rPr lang="en-US" sz="1800">
                  <a:latin typeface="Arial" pitchFamily="124" charset="0"/>
                </a:rPr>
                <a:t>     </a:t>
              </a:r>
            </a:p>
          </p:txBody>
        </p:sp>
        <p:cxnSp>
          <p:nvCxnSpPr>
            <p:cNvPr id="14" name="Straight Connector 13">
              <a:extLst>
                <a:ext uri="{FF2B5EF4-FFF2-40B4-BE49-F238E27FC236}">
                  <a16:creationId xmlns:a16="http://schemas.microsoft.com/office/drawing/2014/main" id="{995298F5-F7FE-A248-809C-3B79A412B130}"/>
                </a:ext>
              </a:extLst>
            </p:cNvPr>
            <p:cNvCxnSpPr/>
            <p:nvPr userDrawn="1"/>
          </p:nvCxnSpPr>
          <p:spPr>
            <a:xfrm flipV="1">
              <a:off x="6265284" y="1611455"/>
              <a:ext cx="516531" cy="1607765"/>
            </a:xfrm>
            <a:prstGeom prst="line">
              <a:avLst/>
            </a:prstGeom>
            <a:noFill/>
            <a:ln w="6350" cap="flat" cmpd="sng" algn="ctr">
              <a:solidFill>
                <a:schemeClr val="accent5">
                  <a:lumMod val="60000"/>
                  <a:lumOff val="40000"/>
                </a:schemeClr>
              </a:solidFill>
              <a:prstDash val="solid"/>
              <a:round/>
              <a:headEnd type="none" w="med" len="med"/>
              <a:tailEnd type="none" w="med" len="med"/>
            </a:ln>
            <a:effectLst/>
          </p:spPr>
        </p:cxnSp>
        <p:sp>
          <p:nvSpPr>
            <p:cNvPr id="186" name="TextBox 185">
              <a:extLst>
                <a:ext uri="{FF2B5EF4-FFF2-40B4-BE49-F238E27FC236}">
                  <a16:creationId xmlns:a16="http://schemas.microsoft.com/office/drawing/2014/main" id="{2E915A16-BE94-8648-888A-1C89BAA886EB}"/>
                </a:ext>
              </a:extLst>
            </p:cNvPr>
            <p:cNvSpPr txBox="1"/>
            <p:nvPr userDrawn="1"/>
          </p:nvSpPr>
          <p:spPr>
            <a:xfrm>
              <a:off x="2682698" y="2296374"/>
              <a:ext cx="873729" cy="174504"/>
            </a:xfrm>
            <a:prstGeom prst="rect">
              <a:avLst/>
            </a:prstGeom>
            <a:noFill/>
          </p:spPr>
          <p:txBody>
            <a:bodyPr wrap="none" lIns="0" tIns="0" rIns="0" bIns="0" rtlCol="0">
              <a:normAutofit/>
            </a:bodyPr>
            <a:lstStyle/>
            <a:p>
              <a:pPr marL="0" indent="0" algn="ctr" defTabSz="914400">
                <a:lnSpc>
                  <a:spcPct val="120000"/>
                </a:lnSpc>
                <a:spcBef>
                  <a:spcPts val="200"/>
                </a:spcBef>
                <a:buClr>
                  <a:schemeClr val="tx2"/>
                </a:buClr>
                <a:buSzPct val="100000"/>
                <a:buFont typeface="Arial" panose="020B0604020202020204" pitchFamily="34" charset="0"/>
                <a:buNone/>
              </a:pPr>
              <a:r>
                <a:rPr lang="en-US" sz="1050"/>
                <a:t>Angle Guide</a:t>
              </a:r>
            </a:p>
          </p:txBody>
        </p:sp>
        <p:sp>
          <p:nvSpPr>
            <p:cNvPr id="187" name="TextBox 186">
              <a:extLst>
                <a:ext uri="{FF2B5EF4-FFF2-40B4-BE49-F238E27FC236}">
                  <a16:creationId xmlns:a16="http://schemas.microsoft.com/office/drawing/2014/main" id="{E5BD1D51-69A2-4F40-9366-6263E56C9410}"/>
                </a:ext>
              </a:extLst>
            </p:cNvPr>
            <p:cNvSpPr txBox="1"/>
            <p:nvPr userDrawn="1"/>
          </p:nvSpPr>
          <p:spPr>
            <a:xfrm>
              <a:off x="8580213" y="2296374"/>
              <a:ext cx="873729" cy="174504"/>
            </a:xfrm>
            <a:prstGeom prst="rect">
              <a:avLst/>
            </a:prstGeom>
            <a:noFill/>
          </p:spPr>
          <p:txBody>
            <a:bodyPr wrap="none" lIns="0" tIns="0" rIns="0" bIns="0" rtlCol="0">
              <a:normAutofit/>
            </a:bodyPr>
            <a:lstStyle/>
            <a:p>
              <a:pPr marL="0" indent="0" algn="ctr" defTabSz="914400">
                <a:lnSpc>
                  <a:spcPct val="120000"/>
                </a:lnSpc>
                <a:spcBef>
                  <a:spcPts val="200"/>
                </a:spcBef>
                <a:buClr>
                  <a:schemeClr val="tx2"/>
                </a:buClr>
                <a:buSzPct val="100000"/>
                <a:buFont typeface="Arial" panose="020B0604020202020204" pitchFamily="34" charset="0"/>
                <a:buNone/>
              </a:pPr>
              <a:r>
                <a:rPr lang="en-US" sz="1050"/>
                <a:t>Angle Guide</a:t>
              </a:r>
            </a:p>
          </p:txBody>
        </p:sp>
        <p:cxnSp>
          <p:nvCxnSpPr>
            <p:cNvPr id="189" name="Straight Connector 188">
              <a:extLst>
                <a:ext uri="{FF2B5EF4-FFF2-40B4-BE49-F238E27FC236}">
                  <a16:creationId xmlns:a16="http://schemas.microsoft.com/office/drawing/2014/main" id="{C216DAF5-4369-B241-B946-0ED9F3E7EC5D}"/>
                </a:ext>
              </a:extLst>
            </p:cNvPr>
            <p:cNvCxnSpPr/>
            <p:nvPr userDrawn="1"/>
          </p:nvCxnSpPr>
          <p:spPr>
            <a:xfrm flipV="1">
              <a:off x="3649675" y="1611455"/>
              <a:ext cx="516531" cy="1607765"/>
            </a:xfrm>
            <a:prstGeom prst="line">
              <a:avLst/>
            </a:prstGeom>
            <a:noFill/>
            <a:ln w="6350" cap="flat" cmpd="sng" algn="ctr">
              <a:solidFill>
                <a:schemeClr val="accent5">
                  <a:lumMod val="60000"/>
                  <a:lumOff val="40000"/>
                </a:schemeClr>
              </a:solidFill>
              <a:prstDash val="solid"/>
              <a:round/>
              <a:headEnd type="none" w="med" len="med"/>
              <a:tailEnd type="none" w="med" len="med"/>
            </a:ln>
            <a:effectLst/>
          </p:spPr>
        </p:cxnSp>
        <p:cxnSp>
          <p:nvCxnSpPr>
            <p:cNvPr id="190" name="Straight Connector 189">
              <a:extLst>
                <a:ext uri="{FF2B5EF4-FFF2-40B4-BE49-F238E27FC236}">
                  <a16:creationId xmlns:a16="http://schemas.microsoft.com/office/drawing/2014/main" id="{8E1CD583-1C76-814A-860F-230F9D23AD6A}"/>
                </a:ext>
              </a:extLst>
            </p:cNvPr>
            <p:cNvCxnSpPr/>
            <p:nvPr userDrawn="1"/>
          </p:nvCxnSpPr>
          <p:spPr>
            <a:xfrm flipV="1">
              <a:off x="7921380" y="1611455"/>
              <a:ext cx="516531" cy="1607765"/>
            </a:xfrm>
            <a:prstGeom prst="line">
              <a:avLst/>
            </a:prstGeom>
            <a:noFill/>
            <a:ln w="6350" cap="flat" cmpd="sng" algn="ctr">
              <a:solidFill>
                <a:schemeClr val="accent5">
                  <a:lumMod val="60000"/>
                  <a:lumOff val="40000"/>
                </a:schemeClr>
              </a:solidFill>
              <a:prstDash val="solid"/>
              <a:round/>
              <a:headEnd type="none" w="med" len="med"/>
              <a:tailEnd type="none" w="med" len="med"/>
            </a:ln>
            <a:effectLst/>
          </p:spPr>
        </p:cxnSp>
      </p:grpSp>
      <p:grpSp>
        <p:nvGrpSpPr>
          <p:cNvPr id="181" name="Group 180">
            <a:extLst>
              <a:ext uri="{FF2B5EF4-FFF2-40B4-BE49-F238E27FC236}">
                <a16:creationId xmlns:a16="http://schemas.microsoft.com/office/drawing/2014/main" id="{17B7CBAA-697B-9947-AD1C-C40235244B0F}"/>
              </a:ext>
            </a:extLst>
          </p:cNvPr>
          <p:cNvGrpSpPr/>
          <p:nvPr userDrawn="1"/>
        </p:nvGrpSpPr>
        <p:grpSpPr>
          <a:xfrm>
            <a:off x="3963407" y="3336768"/>
            <a:ext cx="304800" cy="304800"/>
            <a:chOff x="4748283" y="3386554"/>
            <a:chExt cx="548640" cy="548640"/>
          </a:xfrm>
        </p:grpSpPr>
        <p:sp>
          <p:nvSpPr>
            <p:cNvPr id="182" name="Rectangle 181">
              <a:extLst>
                <a:ext uri="{FF2B5EF4-FFF2-40B4-BE49-F238E27FC236}">
                  <a16:creationId xmlns:a16="http://schemas.microsoft.com/office/drawing/2014/main" id="{A88E0141-6287-F149-9F46-2D66A8545A01}"/>
                </a:ext>
              </a:extLst>
            </p:cNvPr>
            <p:cNvSpPr/>
            <p:nvPr userDrawn="1"/>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3" name="Rectangle 182">
              <a:extLst>
                <a:ext uri="{FF2B5EF4-FFF2-40B4-BE49-F238E27FC236}">
                  <a16:creationId xmlns:a16="http://schemas.microsoft.com/office/drawing/2014/main" id="{53551AF9-97A5-3B4E-AA4D-60D4753217F4}"/>
                </a:ext>
              </a:extLst>
            </p:cNvPr>
            <p:cNvSpPr/>
            <p:nvPr userDrawn="1"/>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4" name="Rectangle 183">
              <a:extLst>
                <a:ext uri="{FF2B5EF4-FFF2-40B4-BE49-F238E27FC236}">
                  <a16:creationId xmlns:a16="http://schemas.microsoft.com/office/drawing/2014/main" id="{5985A5AB-159C-6143-9CC0-F93C575653B7}"/>
                </a:ext>
              </a:extLst>
            </p:cNvPr>
            <p:cNvSpPr/>
            <p:nvPr userDrawn="1"/>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5" name="Rectangle 184">
              <a:extLst>
                <a:ext uri="{FF2B5EF4-FFF2-40B4-BE49-F238E27FC236}">
                  <a16:creationId xmlns:a16="http://schemas.microsoft.com/office/drawing/2014/main" id="{298D322F-20C0-4E4A-B870-32AA6455F639}"/>
                </a:ext>
              </a:extLst>
            </p:cNvPr>
            <p:cNvSpPr/>
            <p:nvPr userDrawn="1"/>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188" name="Group 187">
            <a:extLst>
              <a:ext uri="{FF2B5EF4-FFF2-40B4-BE49-F238E27FC236}">
                <a16:creationId xmlns:a16="http://schemas.microsoft.com/office/drawing/2014/main" id="{D2D85B8E-D7B2-0945-9AB6-7468F6721FA3}"/>
              </a:ext>
            </a:extLst>
          </p:cNvPr>
          <p:cNvGrpSpPr/>
          <p:nvPr userDrawn="1"/>
        </p:nvGrpSpPr>
        <p:grpSpPr>
          <a:xfrm>
            <a:off x="7924800" y="3336768"/>
            <a:ext cx="304800" cy="304800"/>
            <a:chOff x="4748283" y="3386554"/>
            <a:chExt cx="548640" cy="548640"/>
          </a:xfrm>
        </p:grpSpPr>
        <p:sp>
          <p:nvSpPr>
            <p:cNvPr id="191" name="Rectangle 190">
              <a:extLst>
                <a:ext uri="{FF2B5EF4-FFF2-40B4-BE49-F238E27FC236}">
                  <a16:creationId xmlns:a16="http://schemas.microsoft.com/office/drawing/2014/main" id="{A975A5EF-01D3-3743-AE47-374A038B61D5}"/>
                </a:ext>
              </a:extLst>
            </p:cNvPr>
            <p:cNvSpPr/>
            <p:nvPr userDrawn="1"/>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2" name="Rectangle 191">
              <a:extLst>
                <a:ext uri="{FF2B5EF4-FFF2-40B4-BE49-F238E27FC236}">
                  <a16:creationId xmlns:a16="http://schemas.microsoft.com/office/drawing/2014/main" id="{E95B4873-B22D-4346-A27E-F0AE11F35C65}"/>
                </a:ext>
              </a:extLst>
            </p:cNvPr>
            <p:cNvSpPr/>
            <p:nvPr userDrawn="1"/>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3" name="Rectangle 192">
              <a:extLst>
                <a:ext uri="{FF2B5EF4-FFF2-40B4-BE49-F238E27FC236}">
                  <a16:creationId xmlns:a16="http://schemas.microsoft.com/office/drawing/2014/main" id="{7316ECA5-361F-174B-9AA1-C6ADA38E62B2}"/>
                </a:ext>
              </a:extLst>
            </p:cNvPr>
            <p:cNvSpPr/>
            <p:nvPr userDrawn="1"/>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4" name="Rectangle 193">
              <a:extLst>
                <a:ext uri="{FF2B5EF4-FFF2-40B4-BE49-F238E27FC236}">
                  <a16:creationId xmlns:a16="http://schemas.microsoft.com/office/drawing/2014/main" id="{7C4536FB-C1EA-B348-A838-B84EFAEBC16E}"/>
                </a:ext>
              </a:extLst>
            </p:cNvPr>
            <p:cNvSpPr/>
            <p:nvPr userDrawn="1"/>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195" name="Group 194">
            <a:extLst>
              <a:ext uri="{FF2B5EF4-FFF2-40B4-BE49-F238E27FC236}">
                <a16:creationId xmlns:a16="http://schemas.microsoft.com/office/drawing/2014/main" id="{E76E31F7-947B-F845-8A9D-EEB5C5547986}"/>
              </a:ext>
            </a:extLst>
          </p:cNvPr>
          <p:cNvGrpSpPr/>
          <p:nvPr userDrawn="1"/>
        </p:nvGrpSpPr>
        <p:grpSpPr>
          <a:xfrm>
            <a:off x="9906000" y="3336768"/>
            <a:ext cx="304800" cy="304800"/>
            <a:chOff x="4748283" y="3386554"/>
            <a:chExt cx="548640" cy="548640"/>
          </a:xfrm>
        </p:grpSpPr>
        <p:sp>
          <p:nvSpPr>
            <p:cNvPr id="196" name="Rectangle 195">
              <a:extLst>
                <a:ext uri="{FF2B5EF4-FFF2-40B4-BE49-F238E27FC236}">
                  <a16:creationId xmlns:a16="http://schemas.microsoft.com/office/drawing/2014/main" id="{316090AB-72DB-D541-B2C2-489BC043E2A5}"/>
                </a:ext>
              </a:extLst>
            </p:cNvPr>
            <p:cNvSpPr/>
            <p:nvPr userDrawn="1"/>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7" name="Rectangle 196">
              <a:extLst>
                <a:ext uri="{FF2B5EF4-FFF2-40B4-BE49-F238E27FC236}">
                  <a16:creationId xmlns:a16="http://schemas.microsoft.com/office/drawing/2014/main" id="{1C58D423-9C9B-0645-8B5E-DFE1512BF945}"/>
                </a:ext>
              </a:extLst>
            </p:cNvPr>
            <p:cNvSpPr/>
            <p:nvPr userDrawn="1"/>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8" name="Rectangle 197">
              <a:extLst>
                <a:ext uri="{FF2B5EF4-FFF2-40B4-BE49-F238E27FC236}">
                  <a16:creationId xmlns:a16="http://schemas.microsoft.com/office/drawing/2014/main" id="{D5D367F0-F94B-C047-BCC6-C662CD0E3116}"/>
                </a:ext>
              </a:extLst>
            </p:cNvPr>
            <p:cNvSpPr/>
            <p:nvPr userDrawn="1"/>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9" name="Rectangle 198">
              <a:extLst>
                <a:ext uri="{FF2B5EF4-FFF2-40B4-BE49-F238E27FC236}">
                  <a16:creationId xmlns:a16="http://schemas.microsoft.com/office/drawing/2014/main" id="{6644CC31-CD99-5148-A6B5-480C5986B28D}"/>
                </a:ext>
              </a:extLst>
            </p:cNvPr>
            <p:cNvSpPr/>
            <p:nvPr userDrawn="1"/>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200" name="Group 199">
            <a:extLst>
              <a:ext uri="{FF2B5EF4-FFF2-40B4-BE49-F238E27FC236}">
                <a16:creationId xmlns:a16="http://schemas.microsoft.com/office/drawing/2014/main" id="{84639A96-D1F9-394C-8893-9264021E1873}"/>
              </a:ext>
            </a:extLst>
          </p:cNvPr>
          <p:cNvGrpSpPr/>
          <p:nvPr userDrawn="1"/>
        </p:nvGrpSpPr>
        <p:grpSpPr>
          <a:xfrm>
            <a:off x="11887200" y="3336768"/>
            <a:ext cx="304800" cy="304800"/>
            <a:chOff x="4748283" y="3386554"/>
            <a:chExt cx="548640" cy="548640"/>
          </a:xfrm>
        </p:grpSpPr>
        <p:sp>
          <p:nvSpPr>
            <p:cNvPr id="201" name="Rectangle 200">
              <a:extLst>
                <a:ext uri="{FF2B5EF4-FFF2-40B4-BE49-F238E27FC236}">
                  <a16:creationId xmlns:a16="http://schemas.microsoft.com/office/drawing/2014/main" id="{26CE27B7-D33C-7C4E-8A41-A84A8332E0EF}"/>
                </a:ext>
              </a:extLst>
            </p:cNvPr>
            <p:cNvSpPr/>
            <p:nvPr userDrawn="1"/>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02" name="Rectangle 201">
              <a:extLst>
                <a:ext uri="{FF2B5EF4-FFF2-40B4-BE49-F238E27FC236}">
                  <a16:creationId xmlns:a16="http://schemas.microsoft.com/office/drawing/2014/main" id="{1B1358A7-AEA5-094F-84EF-501CF65DAA64}"/>
                </a:ext>
              </a:extLst>
            </p:cNvPr>
            <p:cNvSpPr/>
            <p:nvPr userDrawn="1"/>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03" name="Rectangle 202">
              <a:extLst>
                <a:ext uri="{FF2B5EF4-FFF2-40B4-BE49-F238E27FC236}">
                  <a16:creationId xmlns:a16="http://schemas.microsoft.com/office/drawing/2014/main" id="{734C809D-6E20-4C4B-B459-5AE47AD263B1}"/>
                </a:ext>
              </a:extLst>
            </p:cNvPr>
            <p:cNvSpPr/>
            <p:nvPr userDrawn="1"/>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04" name="Rectangle 203">
              <a:extLst>
                <a:ext uri="{FF2B5EF4-FFF2-40B4-BE49-F238E27FC236}">
                  <a16:creationId xmlns:a16="http://schemas.microsoft.com/office/drawing/2014/main" id="{56A56238-E627-0743-8485-6A2EA0E310FB}"/>
                </a:ext>
              </a:extLst>
            </p:cNvPr>
            <p:cNvSpPr/>
            <p:nvPr userDrawn="1"/>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205" name="Group 204">
            <a:extLst>
              <a:ext uri="{FF2B5EF4-FFF2-40B4-BE49-F238E27FC236}">
                <a16:creationId xmlns:a16="http://schemas.microsoft.com/office/drawing/2014/main" id="{04709478-0306-0A4E-9E3D-2285947433B1}"/>
              </a:ext>
            </a:extLst>
          </p:cNvPr>
          <p:cNvGrpSpPr/>
          <p:nvPr userDrawn="1"/>
        </p:nvGrpSpPr>
        <p:grpSpPr>
          <a:xfrm>
            <a:off x="5943600" y="3336768"/>
            <a:ext cx="304800" cy="304800"/>
            <a:chOff x="4748283" y="3386554"/>
            <a:chExt cx="548640" cy="548640"/>
          </a:xfrm>
        </p:grpSpPr>
        <p:sp>
          <p:nvSpPr>
            <p:cNvPr id="206" name="Rectangle 205">
              <a:extLst>
                <a:ext uri="{FF2B5EF4-FFF2-40B4-BE49-F238E27FC236}">
                  <a16:creationId xmlns:a16="http://schemas.microsoft.com/office/drawing/2014/main" id="{4C8FF7EF-2E4F-FD4F-A3A0-75ABC31D9367}"/>
                </a:ext>
              </a:extLst>
            </p:cNvPr>
            <p:cNvSpPr/>
            <p:nvPr userDrawn="1"/>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07" name="Rectangle 206">
              <a:extLst>
                <a:ext uri="{FF2B5EF4-FFF2-40B4-BE49-F238E27FC236}">
                  <a16:creationId xmlns:a16="http://schemas.microsoft.com/office/drawing/2014/main" id="{E4423001-18F4-8747-A453-1E555B4DB433}"/>
                </a:ext>
              </a:extLst>
            </p:cNvPr>
            <p:cNvSpPr/>
            <p:nvPr userDrawn="1"/>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08" name="Rectangle 207">
              <a:extLst>
                <a:ext uri="{FF2B5EF4-FFF2-40B4-BE49-F238E27FC236}">
                  <a16:creationId xmlns:a16="http://schemas.microsoft.com/office/drawing/2014/main" id="{43CFB934-922B-CA44-B4A3-B5D1EBFF6679}"/>
                </a:ext>
              </a:extLst>
            </p:cNvPr>
            <p:cNvSpPr/>
            <p:nvPr userDrawn="1"/>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09" name="Rectangle 208">
              <a:extLst>
                <a:ext uri="{FF2B5EF4-FFF2-40B4-BE49-F238E27FC236}">
                  <a16:creationId xmlns:a16="http://schemas.microsoft.com/office/drawing/2014/main" id="{D3111098-443F-2E42-918A-9F46F3B6FC25}"/>
                </a:ext>
              </a:extLst>
            </p:cNvPr>
            <p:cNvSpPr/>
            <p:nvPr userDrawn="1"/>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210" name="Group 209">
            <a:extLst>
              <a:ext uri="{FF2B5EF4-FFF2-40B4-BE49-F238E27FC236}">
                <a16:creationId xmlns:a16="http://schemas.microsoft.com/office/drawing/2014/main" id="{057BE225-E017-EA44-B680-33434BD63A6F}"/>
              </a:ext>
            </a:extLst>
          </p:cNvPr>
          <p:cNvGrpSpPr/>
          <p:nvPr userDrawn="1"/>
        </p:nvGrpSpPr>
        <p:grpSpPr>
          <a:xfrm>
            <a:off x="1980193" y="3336768"/>
            <a:ext cx="304800" cy="304800"/>
            <a:chOff x="4748283" y="3386554"/>
            <a:chExt cx="548640" cy="548640"/>
          </a:xfrm>
        </p:grpSpPr>
        <p:sp>
          <p:nvSpPr>
            <p:cNvPr id="211" name="Rectangle 210">
              <a:extLst>
                <a:ext uri="{FF2B5EF4-FFF2-40B4-BE49-F238E27FC236}">
                  <a16:creationId xmlns:a16="http://schemas.microsoft.com/office/drawing/2014/main" id="{05058B38-A7D0-B143-8B3C-BEFC28FA8F38}"/>
                </a:ext>
              </a:extLst>
            </p:cNvPr>
            <p:cNvSpPr/>
            <p:nvPr userDrawn="1"/>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12" name="Rectangle 211">
              <a:extLst>
                <a:ext uri="{FF2B5EF4-FFF2-40B4-BE49-F238E27FC236}">
                  <a16:creationId xmlns:a16="http://schemas.microsoft.com/office/drawing/2014/main" id="{77CF3B45-6662-4146-986C-179EC7AFF7CF}"/>
                </a:ext>
              </a:extLst>
            </p:cNvPr>
            <p:cNvSpPr/>
            <p:nvPr userDrawn="1"/>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13" name="Rectangle 212">
              <a:extLst>
                <a:ext uri="{FF2B5EF4-FFF2-40B4-BE49-F238E27FC236}">
                  <a16:creationId xmlns:a16="http://schemas.microsoft.com/office/drawing/2014/main" id="{6FE86D6C-6C45-7848-B1D5-BF0D1DEC280D}"/>
                </a:ext>
              </a:extLst>
            </p:cNvPr>
            <p:cNvSpPr/>
            <p:nvPr userDrawn="1"/>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14" name="Rectangle 213">
              <a:extLst>
                <a:ext uri="{FF2B5EF4-FFF2-40B4-BE49-F238E27FC236}">
                  <a16:creationId xmlns:a16="http://schemas.microsoft.com/office/drawing/2014/main" id="{8CC16F0D-A051-7A49-91A5-5DA02E04F221}"/>
                </a:ext>
              </a:extLst>
            </p:cNvPr>
            <p:cNvSpPr/>
            <p:nvPr userDrawn="1"/>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215" name="Group 214">
            <a:extLst>
              <a:ext uri="{FF2B5EF4-FFF2-40B4-BE49-F238E27FC236}">
                <a16:creationId xmlns:a16="http://schemas.microsoft.com/office/drawing/2014/main" id="{D99BC775-8E39-C444-BCEA-DDA72473D4EC}"/>
              </a:ext>
            </a:extLst>
          </p:cNvPr>
          <p:cNvGrpSpPr/>
          <p:nvPr userDrawn="1"/>
        </p:nvGrpSpPr>
        <p:grpSpPr>
          <a:xfrm>
            <a:off x="0" y="4022568"/>
            <a:ext cx="304800" cy="304800"/>
            <a:chOff x="4748283" y="3386554"/>
            <a:chExt cx="548640" cy="548640"/>
          </a:xfrm>
        </p:grpSpPr>
        <p:sp>
          <p:nvSpPr>
            <p:cNvPr id="216" name="Rectangle 215">
              <a:extLst>
                <a:ext uri="{FF2B5EF4-FFF2-40B4-BE49-F238E27FC236}">
                  <a16:creationId xmlns:a16="http://schemas.microsoft.com/office/drawing/2014/main" id="{F9977F6A-6B9E-1C4E-AAC2-46D0DD34D901}"/>
                </a:ext>
              </a:extLst>
            </p:cNvPr>
            <p:cNvSpPr/>
            <p:nvPr userDrawn="1"/>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17" name="Rectangle 216">
              <a:extLst>
                <a:ext uri="{FF2B5EF4-FFF2-40B4-BE49-F238E27FC236}">
                  <a16:creationId xmlns:a16="http://schemas.microsoft.com/office/drawing/2014/main" id="{72F6DFE7-8D4C-3A47-ABCA-77D6942BC114}"/>
                </a:ext>
              </a:extLst>
            </p:cNvPr>
            <p:cNvSpPr/>
            <p:nvPr userDrawn="1"/>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18" name="Rectangle 217">
              <a:extLst>
                <a:ext uri="{FF2B5EF4-FFF2-40B4-BE49-F238E27FC236}">
                  <a16:creationId xmlns:a16="http://schemas.microsoft.com/office/drawing/2014/main" id="{898CAABC-824D-8B40-81D5-DB5C7B85FBD3}"/>
                </a:ext>
              </a:extLst>
            </p:cNvPr>
            <p:cNvSpPr/>
            <p:nvPr userDrawn="1"/>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19" name="Rectangle 218">
              <a:extLst>
                <a:ext uri="{FF2B5EF4-FFF2-40B4-BE49-F238E27FC236}">
                  <a16:creationId xmlns:a16="http://schemas.microsoft.com/office/drawing/2014/main" id="{401A11D4-F512-4E44-B4EE-35F179DA9F87}"/>
                </a:ext>
              </a:extLst>
            </p:cNvPr>
            <p:cNvSpPr/>
            <p:nvPr userDrawn="1"/>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220" name="Group 219">
            <a:extLst>
              <a:ext uri="{FF2B5EF4-FFF2-40B4-BE49-F238E27FC236}">
                <a16:creationId xmlns:a16="http://schemas.microsoft.com/office/drawing/2014/main" id="{700A9315-40A9-D84F-9AB7-D39B3E5B9A0F}"/>
              </a:ext>
            </a:extLst>
          </p:cNvPr>
          <p:cNvGrpSpPr/>
          <p:nvPr userDrawn="1"/>
        </p:nvGrpSpPr>
        <p:grpSpPr>
          <a:xfrm>
            <a:off x="11887200" y="4022568"/>
            <a:ext cx="304800" cy="304800"/>
            <a:chOff x="4748283" y="3386554"/>
            <a:chExt cx="548640" cy="548640"/>
          </a:xfrm>
        </p:grpSpPr>
        <p:sp>
          <p:nvSpPr>
            <p:cNvPr id="221" name="Rectangle 220">
              <a:extLst>
                <a:ext uri="{FF2B5EF4-FFF2-40B4-BE49-F238E27FC236}">
                  <a16:creationId xmlns:a16="http://schemas.microsoft.com/office/drawing/2014/main" id="{1DDA8EB4-69B8-454B-A0A8-51EB6909CABF}"/>
                </a:ext>
              </a:extLst>
            </p:cNvPr>
            <p:cNvSpPr/>
            <p:nvPr userDrawn="1"/>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22" name="Rectangle 221">
              <a:extLst>
                <a:ext uri="{FF2B5EF4-FFF2-40B4-BE49-F238E27FC236}">
                  <a16:creationId xmlns:a16="http://schemas.microsoft.com/office/drawing/2014/main" id="{C98D2229-52B2-4141-9486-B54FFDBC4976}"/>
                </a:ext>
              </a:extLst>
            </p:cNvPr>
            <p:cNvSpPr/>
            <p:nvPr userDrawn="1"/>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23" name="Rectangle 222">
              <a:extLst>
                <a:ext uri="{FF2B5EF4-FFF2-40B4-BE49-F238E27FC236}">
                  <a16:creationId xmlns:a16="http://schemas.microsoft.com/office/drawing/2014/main" id="{97C4CC21-6416-2143-96C8-F6F25E2B1AC7}"/>
                </a:ext>
              </a:extLst>
            </p:cNvPr>
            <p:cNvSpPr/>
            <p:nvPr userDrawn="1"/>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24" name="Rectangle 223">
              <a:extLst>
                <a:ext uri="{FF2B5EF4-FFF2-40B4-BE49-F238E27FC236}">
                  <a16:creationId xmlns:a16="http://schemas.microsoft.com/office/drawing/2014/main" id="{1C12B847-D2B4-884C-8313-F6C7514ABD4F}"/>
                </a:ext>
              </a:extLst>
            </p:cNvPr>
            <p:cNvSpPr/>
            <p:nvPr userDrawn="1"/>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225" name="Group 224">
            <a:extLst>
              <a:ext uri="{FF2B5EF4-FFF2-40B4-BE49-F238E27FC236}">
                <a16:creationId xmlns:a16="http://schemas.microsoft.com/office/drawing/2014/main" id="{B23162C8-AA87-234C-8BFA-54E95C1CB7D8}"/>
              </a:ext>
            </a:extLst>
          </p:cNvPr>
          <p:cNvGrpSpPr/>
          <p:nvPr userDrawn="1"/>
        </p:nvGrpSpPr>
        <p:grpSpPr>
          <a:xfrm>
            <a:off x="0" y="5942808"/>
            <a:ext cx="304800" cy="304800"/>
            <a:chOff x="4748283" y="3386554"/>
            <a:chExt cx="548640" cy="548640"/>
          </a:xfrm>
        </p:grpSpPr>
        <p:sp>
          <p:nvSpPr>
            <p:cNvPr id="226" name="Rectangle 225">
              <a:extLst>
                <a:ext uri="{FF2B5EF4-FFF2-40B4-BE49-F238E27FC236}">
                  <a16:creationId xmlns:a16="http://schemas.microsoft.com/office/drawing/2014/main" id="{843E3B4D-34D5-464E-ACDC-6FA951C726CF}"/>
                </a:ext>
              </a:extLst>
            </p:cNvPr>
            <p:cNvSpPr/>
            <p:nvPr userDrawn="1"/>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27" name="Rectangle 226">
              <a:extLst>
                <a:ext uri="{FF2B5EF4-FFF2-40B4-BE49-F238E27FC236}">
                  <a16:creationId xmlns:a16="http://schemas.microsoft.com/office/drawing/2014/main" id="{45072EF5-19DE-E444-AAA3-70EA825EF3A6}"/>
                </a:ext>
              </a:extLst>
            </p:cNvPr>
            <p:cNvSpPr/>
            <p:nvPr userDrawn="1"/>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28" name="Rectangle 227">
              <a:extLst>
                <a:ext uri="{FF2B5EF4-FFF2-40B4-BE49-F238E27FC236}">
                  <a16:creationId xmlns:a16="http://schemas.microsoft.com/office/drawing/2014/main" id="{45B8AFE6-D81D-334A-A0DE-108DEC4FE9E4}"/>
                </a:ext>
              </a:extLst>
            </p:cNvPr>
            <p:cNvSpPr/>
            <p:nvPr userDrawn="1"/>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29" name="Rectangle 228">
              <a:extLst>
                <a:ext uri="{FF2B5EF4-FFF2-40B4-BE49-F238E27FC236}">
                  <a16:creationId xmlns:a16="http://schemas.microsoft.com/office/drawing/2014/main" id="{DD7B1247-C4D0-8345-A044-77842C853636}"/>
                </a:ext>
              </a:extLst>
            </p:cNvPr>
            <p:cNvSpPr/>
            <p:nvPr userDrawn="1"/>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230" name="Group 229">
            <a:extLst>
              <a:ext uri="{FF2B5EF4-FFF2-40B4-BE49-F238E27FC236}">
                <a16:creationId xmlns:a16="http://schemas.microsoft.com/office/drawing/2014/main" id="{4FAF1564-23C7-014C-8813-95E58171A851}"/>
              </a:ext>
            </a:extLst>
          </p:cNvPr>
          <p:cNvGrpSpPr/>
          <p:nvPr userDrawn="1"/>
        </p:nvGrpSpPr>
        <p:grpSpPr>
          <a:xfrm>
            <a:off x="11887200" y="5942808"/>
            <a:ext cx="304800" cy="304800"/>
            <a:chOff x="4748283" y="3386554"/>
            <a:chExt cx="548640" cy="548640"/>
          </a:xfrm>
        </p:grpSpPr>
        <p:sp>
          <p:nvSpPr>
            <p:cNvPr id="231" name="Rectangle 230">
              <a:extLst>
                <a:ext uri="{FF2B5EF4-FFF2-40B4-BE49-F238E27FC236}">
                  <a16:creationId xmlns:a16="http://schemas.microsoft.com/office/drawing/2014/main" id="{3B76C84A-88F8-3C45-A239-5651976DD66D}"/>
                </a:ext>
              </a:extLst>
            </p:cNvPr>
            <p:cNvSpPr/>
            <p:nvPr userDrawn="1"/>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32" name="Rectangle 231">
              <a:extLst>
                <a:ext uri="{FF2B5EF4-FFF2-40B4-BE49-F238E27FC236}">
                  <a16:creationId xmlns:a16="http://schemas.microsoft.com/office/drawing/2014/main" id="{845DC494-BE64-A745-8CD0-81E051547230}"/>
                </a:ext>
              </a:extLst>
            </p:cNvPr>
            <p:cNvSpPr/>
            <p:nvPr userDrawn="1"/>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33" name="Rectangle 232">
              <a:extLst>
                <a:ext uri="{FF2B5EF4-FFF2-40B4-BE49-F238E27FC236}">
                  <a16:creationId xmlns:a16="http://schemas.microsoft.com/office/drawing/2014/main" id="{FBD3DA86-F239-BD49-8C62-C34D450A6C60}"/>
                </a:ext>
              </a:extLst>
            </p:cNvPr>
            <p:cNvSpPr/>
            <p:nvPr userDrawn="1"/>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34" name="Rectangle 233">
              <a:extLst>
                <a:ext uri="{FF2B5EF4-FFF2-40B4-BE49-F238E27FC236}">
                  <a16:creationId xmlns:a16="http://schemas.microsoft.com/office/drawing/2014/main" id="{3BCD5E29-B820-2F4C-9158-81957BD5C79F}"/>
                </a:ext>
              </a:extLst>
            </p:cNvPr>
            <p:cNvSpPr/>
            <p:nvPr userDrawn="1"/>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235" name="Group 234">
            <a:extLst>
              <a:ext uri="{FF2B5EF4-FFF2-40B4-BE49-F238E27FC236}">
                <a16:creationId xmlns:a16="http://schemas.microsoft.com/office/drawing/2014/main" id="{BC4339DB-0A78-4D4F-ACC7-B6BCF9BCF895}"/>
              </a:ext>
            </a:extLst>
          </p:cNvPr>
          <p:cNvGrpSpPr/>
          <p:nvPr userDrawn="1"/>
        </p:nvGrpSpPr>
        <p:grpSpPr>
          <a:xfrm>
            <a:off x="5943600" y="5942808"/>
            <a:ext cx="304800" cy="304800"/>
            <a:chOff x="4748283" y="3386554"/>
            <a:chExt cx="548640" cy="548640"/>
          </a:xfrm>
        </p:grpSpPr>
        <p:sp>
          <p:nvSpPr>
            <p:cNvPr id="236" name="Rectangle 235">
              <a:extLst>
                <a:ext uri="{FF2B5EF4-FFF2-40B4-BE49-F238E27FC236}">
                  <a16:creationId xmlns:a16="http://schemas.microsoft.com/office/drawing/2014/main" id="{66EE9A13-5940-B04E-BB5C-B092EBAD5D48}"/>
                </a:ext>
              </a:extLst>
            </p:cNvPr>
            <p:cNvSpPr/>
            <p:nvPr userDrawn="1"/>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37" name="Rectangle 236">
              <a:extLst>
                <a:ext uri="{FF2B5EF4-FFF2-40B4-BE49-F238E27FC236}">
                  <a16:creationId xmlns:a16="http://schemas.microsoft.com/office/drawing/2014/main" id="{28A2D025-B1E2-ED4E-9B87-D697E3816D54}"/>
                </a:ext>
              </a:extLst>
            </p:cNvPr>
            <p:cNvSpPr/>
            <p:nvPr userDrawn="1"/>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38" name="Rectangle 237">
              <a:extLst>
                <a:ext uri="{FF2B5EF4-FFF2-40B4-BE49-F238E27FC236}">
                  <a16:creationId xmlns:a16="http://schemas.microsoft.com/office/drawing/2014/main" id="{0391AC68-8EC3-FA49-9143-A349248317DD}"/>
                </a:ext>
              </a:extLst>
            </p:cNvPr>
            <p:cNvSpPr/>
            <p:nvPr userDrawn="1"/>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39" name="Rectangle 238">
              <a:extLst>
                <a:ext uri="{FF2B5EF4-FFF2-40B4-BE49-F238E27FC236}">
                  <a16:creationId xmlns:a16="http://schemas.microsoft.com/office/drawing/2014/main" id="{E3C4D852-4913-CF46-BC3B-94FA8DC3ED68}"/>
                </a:ext>
              </a:extLst>
            </p:cNvPr>
            <p:cNvSpPr/>
            <p:nvPr userDrawn="1"/>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240" name="Group 239">
            <a:extLst>
              <a:ext uri="{FF2B5EF4-FFF2-40B4-BE49-F238E27FC236}">
                <a16:creationId xmlns:a16="http://schemas.microsoft.com/office/drawing/2014/main" id="{C1C44CFA-8AE5-7C40-B170-B3FC77FAF595}"/>
              </a:ext>
            </a:extLst>
          </p:cNvPr>
          <p:cNvGrpSpPr/>
          <p:nvPr userDrawn="1"/>
        </p:nvGrpSpPr>
        <p:grpSpPr>
          <a:xfrm>
            <a:off x="0" y="4653504"/>
            <a:ext cx="304800" cy="304800"/>
            <a:chOff x="4748283" y="3386554"/>
            <a:chExt cx="548640" cy="548640"/>
          </a:xfrm>
        </p:grpSpPr>
        <p:sp>
          <p:nvSpPr>
            <p:cNvPr id="241" name="Rectangle 240">
              <a:extLst>
                <a:ext uri="{FF2B5EF4-FFF2-40B4-BE49-F238E27FC236}">
                  <a16:creationId xmlns:a16="http://schemas.microsoft.com/office/drawing/2014/main" id="{31B9B98A-2259-5E45-B29F-3130A3054D8B}"/>
                </a:ext>
              </a:extLst>
            </p:cNvPr>
            <p:cNvSpPr/>
            <p:nvPr userDrawn="1"/>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42" name="Rectangle 241">
              <a:extLst>
                <a:ext uri="{FF2B5EF4-FFF2-40B4-BE49-F238E27FC236}">
                  <a16:creationId xmlns:a16="http://schemas.microsoft.com/office/drawing/2014/main" id="{6015B817-B7B4-824C-8B3F-348D0346093A}"/>
                </a:ext>
              </a:extLst>
            </p:cNvPr>
            <p:cNvSpPr/>
            <p:nvPr userDrawn="1"/>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43" name="Rectangle 242">
              <a:extLst>
                <a:ext uri="{FF2B5EF4-FFF2-40B4-BE49-F238E27FC236}">
                  <a16:creationId xmlns:a16="http://schemas.microsoft.com/office/drawing/2014/main" id="{D93EDFDC-3D94-CE4B-B39F-A6DDA54EE3D4}"/>
                </a:ext>
              </a:extLst>
            </p:cNvPr>
            <p:cNvSpPr/>
            <p:nvPr userDrawn="1"/>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44" name="Rectangle 243">
              <a:extLst>
                <a:ext uri="{FF2B5EF4-FFF2-40B4-BE49-F238E27FC236}">
                  <a16:creationId xmlns:a16="http://schemas.microsoft.com/office/drawing/2014/main" id="{435ADABB-6E70-3C41-B0FD-DAA5B1F750F5}"/>
                </a:ext>
              </a:extLst>
            </p:cNvPr>
            <p:cNvSpPr/>
            <p:nvPr userDrawn="1"/>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245" name="Group 244">
            <a:extLst>
              <a:ext uri="{FF2B5EF4-FFF2-40B4-BE49-F238E27FC236}">
                <a16:creationId xmlns:a16="http://schemas.microsoft.com/office/drawing/2014/main" id="{3399A56C-B83E-7643-A12B-4EA65A03C522}"/>
              </a:ext>
            </a:extLst>
          </p:cNvPr>
          <p:cNvGrpSpPr/>
          <p:nvPr userDrawn="1"/>
        </p:nvGrpSpPr>
        <p:grpSpPr>
          <a:xfrm>
            <a:off x="11887200" y="4653504"/>
            <a:ext cx="304800" cy="304800"/>
            <a:chOff x="4748283" y="3386554"/>
            <a:chExt cx="548640" cy="548640"/>
          </a:xfrm>
        </p:grpSpPr>
        <p:sp>
          <p:nvSpPr>
            <p:cNvPr id="246" name="Rectangle 245">
              <a:extLst>
                <a:ext uri="{FF2B5EF4-FFF2-40B4-BE49-F238E27FC236}">
                  <a16:creationId xmlns:a16="http://schemas.microsoft.com/office/drawing/2014/main" id="{FB972310-8E11-5640-81BC-CD5D32201139}"/>
                </a:ext>
              </a:extLst>
            </p:cNvPr>
            <p:cNvSpPr/>
            <p:nvPr userDrawn="1"/>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47" name="Rectangle 246">
              <a:extLst>
                <a:ext uri="{FF2B5EF4-FFF2-40B4-BE49-F238E27FC236}">
                  <a16:creationId xmlns:a16="http://schemas.microsoft.com/office/drawing/2014/main" id="{912CC259-0F2E-E84A-A6A3-85D77CC9D1E0}"/>
                </a:ext>
              </a:extLst>
            </p:cNvPr>
            <p:cNvSpPr/>
            <p:nvPr userDrawn="1"/>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48" name="Rectangle 247">
              <a:extLst>
                <a:ext uri="{FF2B5EF4-FFF2-40B4-BE49-F238E27FC236}">
                  <a16:creationId xmlns:a16="http://schemas.microsoft.com/office/drawing/2014/main" id="{52F77FD8-0431-184A-9695-981B4C5D8544}"/>
                </a:ext>
              </a:extLst>
            </p:cNvPr>
            <p:cNvSpPr/>
            <p:nvPr userDrawn="1"/>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49" name="Rectangle 248">
              <a:extLst>
                <a:ext uri="{FF2B5EF4-FFF2-40B4-BE49-F238E27FC236}">
                  <a16:creationId xmlns:a16="http://schemas.microsoft.com/office/drawing/2014/main" id="{36E6A796-48F0-E043-9031-7E2821EF66B4}"/>
                </a:ext>
              </a:extLst>
            </p:cNvPr>
            <p:cNvSpPr/>
            <p:nvPr userDrawn="1"/>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250" name="Group 249">
            <a:extLst>
              <a:ext uri="{FF2B5EF4-FFF2-40B4-BE49-F238E27FC236}">
                <a16:creationId xmlns:a16="http://schemas.microsoft.com/office/drawing/2014/main" id="{3EDF014D-88EC-1F47-AC20-387EE0C92025}"/>
              </a:ext>
            </a:extLst>
          </p:cNvPr>
          <p:cNvGrpSpPr/>
          <p:nvPr userDrawn="1"/>
        </p:nvGrpSpPr>
        <p:grpSpPr>
          <a:xfrm>
            <a:off x="5943600" y="4653504"/>
            <a:ext cx="304800" cy="304800"/>
            <a:chOff x="4748283" y="3386554"/>
            <a:chExt cx="548640" cy="548640"/>
          </a:xfrm>
        </p:grpSpPr>
        <p:sp>
          <p:nvSpPr>
            <p:cNvPr id="251" name="Rectangle 250">
              <a:extLst>
                <a:ext uri="{FF2B5EF4-FFF2-40B4-BE49-F238E27FC236}">
                  <a16:creationId xmlns:a16="http://schemas.microsoft.com/office/drawing/2014/main" id="{A74667D0-5DDF-9A4B-AB47-D1E4277760AF}"/>
                </a:ext>
              </a:extLst>
            </p:cNvPr>
            <p:cNvSpPr/>
            <p:nvPr userDrawn="1"/>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52" name="Rectangle 251">
              <a:extLst>
                <a:ext uri="{FF2B5EF4-FFF2-40B4-BE49-F238E27FC236}">
                  <a16:creationId xmlns:a16="http://schemas.microsoft.com/office/drawing/2014/main" id="{6C83533B-6095-FB43-B52C-64A467E82A40}"/>
                </a:ext>
              </a:extLst>
            </p:cNvPr>
            <p:cNvSpPr/>
            <p:nvPr userDrawn="1"/>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53" name="Rectangle 252">
              <a:extLst>
                <a:ext uri="{FF2B5EF4-FFF2-40B4-BE49-F238E27FC236}">
                  <a16:creationId xmlns:a16="http://schemas.microsoft.com/office/drawing/2014/main" id="{738327B2-A959-BA4B-86DA-0106C58C404B}"/>
                </a:ext>
              </a:extLst>
            </p:cNvPr>
            <p:cNvSpPr/>
            <p:nvPr userDrawn="1"/>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54" name="Rectangle 253">
              <a:extLst>
                <a:ext uri="{FF2B5EF4-FFF2-40B4-BE49-F238E27FC236}">
                  <a16:creationId xmlns:a16="http://schemas.microsoft.com/office/drawing/2014/main" id="{F4E92AB0-7BFA-2746-B207-200F1CAA027B}"/>
                </a:ext>
              </a:extLst>
            </p:cNvPr>
            <p:cNvSpPr/>
            <p:nvPr userDrawn="1"/>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255" name="Group 254">
            <a:extLst>
              <a:ext uri="{FF2B5EF4-FFF2-40B4-BE49-F238E27FC236}">
                <a16:creationId xmlns:a16="http://schemas.microsoft.com/office/drawing/2014/main" id="{5CA4096E-5973-6A47-B708-CE3BB13BB51A}"/>
              </a:ext>
            </a:extLst>
          </p:cNvPr>
          <p:cNvGrpSpPr/>
          <p:nvPr userDrawn="1"/>
        </p:nvGrpSpPr>
        <p:grpSpPr>
          <a:xfrm>
            <a:off x="0" y="5302728"/>
            <a:ext cx="304800" cy="304800"/>
            <a:chOff x="4748283" y="3386554"/>
            <a:chExt cx="548640" cy="548640"/>
          </a:xfrm>
        </p:grpSpPr>
        <p:sp>
          <p:nvSpPr>
            <p:cNvPr id="256" name="Rectangle 255">
              <a:extLst>
                <a:ext uri="{FF2B5EF4-FFF2-40B4-BE49-F238E27FC236}">
                  <a16:creationId xmlns:a16="http://schemas.microsoft.com/office/drawing/2014/main" id="{498E62DC-BC0A-B04A-84CF-17BFBB579E34}"/>
                </a:ext>
              </a:extLst>
            </p:cNvPr>
            <p:cNvSpPr/>
            <p:nvPr userDrawn="1"/>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57" name="Rectangle 256">
              <a:extLst>
                <a:ext uri="{FF2B5EF4-FFF2-40B4-BE49-F238E27FC236}">
                  <a16:creationId xmlns:a16="http://schemas.microsoft.com/office/drawing/2014/main" id="{89047A1C-E0AC-1847-9DFA-91C547516170}"/>
                </a:ext>
              </a:extLst>
            </p:cNvPr>
            <p:cNvSpPr/>
            <p:nvPr userDrawn="1"/>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58" name="Rectangle 257">
              <a:extLst>
                <a:ext uri="{FF2B5EF4-FFF2-40B4-BE49-F238E27FC236}">
                  <a16:creationId xmlns:a16="http://schemas.microsoft.com/office/drawing/2014/main" id="{E4618B3D-BC20-364E-B6F2-A86023EA0AEA}"/>
                </a:ext>
              </a:extLst>
            </p:cNvPr>
            <p:cNvSpPr/>
            <p:nvPr userDrawn="1"/>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59" name="Rectangle 258">
              <a:extLst>
                <a:ext uri="{FF2B5EF4-FFF2-40B4-BE49-F238E27FC236}">
                  <a16:creationId xmlns:a16="http://schemas.microsoft.com/office/drawing/2014/main" id="{080F8D48-1993-EE43-AA8A-B844279EE18E}"/>
                </a:ext>
              </a:extLst>
            </p:cNvPr>
            <p:cNvSpPr/>
            <p:nvPr userDrawn="1"/>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260" name="Group 259">
            <a:extLst>
              <a:ext uri="{FF2B5EF4-FFF2-40B4-BE49-F238E27FC236}">
                <a16:creationId xmlns:a16="http://schemas.microsoft.com/office/drawing/2014/main" id="{572295DF-BFD7-2844-ACBC-57AF6670E7FC}"/>
              </a:ext>
            </a:extLst>
          </p:cNvPr>
          <p:cNvGrpSpPr/>
          <p:nvPr userDrawn="1"/>
        </p:nvGrpSpPr>
        <p:grpSpPr>
          <a:xfrm>
            <a:off x="3962399" y="5297033"/>
            <a:ext cx="304800" cy="304800"/>
            <a:chOff x="4748283" y="3386554"/>
            <a:chExt cx="548640" cy="548640"/>
          </a:xfrm>
        </p:grpSpPr>
        <p:sp>
          <p:nvSpPr>
            <p:cNvPr id="261" name="Rectangle 260">
              <a:extLst>
                <a:ext uri="{FF2B5EF4-FFF2-40B4-BE49-F238E27FC236}">
                  <a16:creationId xmlns:a16="http://schemas.microsoft.com/office/drawing/2014/main" id="{9531D9D3-9807-2D41-98AF-C233F2A345C4}"/>
                </a:ext>
              </a:extLst>
            </p:cNvPr>
            <p:cNvSpPr/>
            <p:nvPr userDrawn="1"/>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62" name="Rectangle 261">
              <a:extLst>
                <a:ext uri="{FF2B5EF4-FFF2-40B4-BE49-F238E27FC236}">
                  <a16:creationId xmlns:a16="http://schemas.microsoft.com/office/drawing/2014/main" id="{FF063361-13F3-9743-812C-C457478D9E7E}"/>
                </a:ext>
              </a:extLst>
            </p:cNvPr>
            <p:cNvSpPr/>
            <p:nvPr userDrawn="1"/>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63" name="Rectangle 262">
              <a:extLst>
                <a:ext uri="{FF2B5EF4-FFF2-40B4-BE49-F238E27FC236}">
                  <a16:creationId xmlns:a16="http://schemas.microsoft.com/office/drawing/2014/main" id="{F0D5479E-2297-724A-AD87-20AB7317BF5B}"/>
                </a:ext>
              </a:extLst>
            </p:cNvPr>
            <p:cNvSpPr/>
            <p:nvPr userDrawn="1"/>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64" name="Rectangle 263">
              <a:extLst>
                <a:ext uri="{FF2B5EF4-FFF2-40B4-BE49-F238E27FC236}">
                  <a16:creationId xmlns:a16="http://schemas.microsoft.com/office/drawing/2014/main" id="{A39C6D45-EBF9-304D-979C-07284B5D6D96}"/>
                </a:ext>
              </a:extLst>
            </p:cNvPr>
            <p:cNvSpPr/>
            <p:nvPr userDrawn="1"/>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265" name="Group 264">
            <a:extLst>
              <a:ext uri="{FF2B5EF4-FFF2-40B4-BE49-F238E27FC236}">
                <a16:creationId xmlns:a16="http://schemas.microsoft.com/office/drawing/2014/main" id="{4020775E-E0AB-0642-B4D8-AAEF53F6BDED}"/>
              </a:ext>
            </a:extLst>
          </p:cNvPr>
          <p:cNvGrpSpPr/>
          <p:nvPr userDrawn="1"/>
        </p:nvGrpSpPr>
        <p:grpSpPr>
          <a:xfrm>
            <a:off x="7924800" y="5297033"/>
            <a:ext cx="304800" cy="304800"/>
            <a:chOff x="4748283" y="3386554"/>
            <a:chExt cx="548640" cy="548640"/>
          </a:xfrm>
        </p:grpSpPr>
        <p:sp>
          <p:nvSpPr>
            <p:cNvPr id="266" name="Rectangle 265">
              <a:extLst>
                <a:ext uri="{FF2B5EF4-FFF2-40B4-BE49-F238E27FC236}">
                  <a16:creationId xmlns:a16="http://schemas.microsoft.com/office/drawing/2014/main" id="{34D64D5A-03A1-9E4E-8525-EFCF850C87F9}"/>
                </a:ext>
              </a:extLst>
            </p:cNvPr>
            <p:cNvSpPr/>
            <p:nvPr userDrawn="1"/>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67" name="Rectangle 266">
              <a:extLst>
                <a:ext uri="{FF2B5EF4-FFF2-40B4-BE49-F238E27FC236}">
                  <a16:creationId xmlns:a16="http://schemas.microsoft.com/office/drawing/2014/main" id="{853D0987-81A4-F24F-8C13-13357AE58484}"/>
                </a:ext>
              </a:extLst>
            </p:cNvPr>
            <p:cNvSpPr/>
            <p:nvPr userDrawn="1"/>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68" name="Rectangle 267">
              <a:extLst>
                <a:ext uri="{FF2B5EF4-FFF2-40B4-BE49-F238E27FC236}">
                  <a16:creationId xmlns:a16="http://schemas.microsoft.com/office/drawing/2014/main" id="{50958379-F8C2-8F40-8180-29E43012C72B}"/>
                </a:ext>
              </a:extLst>
            </p:cNvPr>
            <p:cNvSpPr/>
            <p:nvPr userDrawn="1"/>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69" name="Rectangle 268">
              <a:extLst>
                <a:ext uri="{FF2B5EF4-FFF2-40B4-BE49-F238E27FC236}">
                  <a16:creationId xmlns:a16="http://schemas.microsoft.com/office/drawing/2014/main" id="{A0538587-EC49-2249-956F-027FCD163C3C}"/>
                </a:ext>
              </a:extLst>
            </p:cNvPr>
            <p:cNvSpPr/>
            <p:nvPr userDrawn="1"/>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270" name="Group 269">
            <a:extLst>
              <a:ext uri="{FF2B5EF4-FFF2-40B4-BE49-F238E27FC236}">
                <a16:creationId xmlns:a16="http://schemas.microsoft.com/office/drawing/2014/main" id="{850696AE-914F-7240-B26D-ABE8A6AA6FCC}"/>
              </a:ext>
            </a:extLst>
          </p:cNvPr>
          <p:cNvGrpSpPr/>
          <p:nvPr userDrawn="1"/>
        </p:nvGrpSpPr>
        <p:grpSpPr>
          <a:xfrm>
            <a:off x="11887200" y="5297033"/>
            <a:ext cx="304800" cy="304800"/>
            <a:chOff x="4748283" y="3386554"/>
            <a:chExt cx="548640" cy="548640"/>
          </a:xfrm>
        </p:grpSpPr>
        <p:sp>
          <p:nvSpPr>
            <p:cNvPr id="271" name="Rectangle 270">
              <a:extLst>
                <a:ext uri="{FF2B5EF4-FFF2-40B4-BE49-F238E27FC236}">
                  <a16:creationId xmlns:a16="http://schemas.microsoft.com/office/drawing/2014/main" id="{1B8E2C2E-369C-8D41-ACAD-0950C62A7FE2}"/>
                </a:ext>
              </a:extLst>
            </p:cNvPr>
            <p:cNvSpPr/>
            <p:nvPr userDrawn="1"/>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72" name="Rectangle 271">
              <a:extLst>
                <a:ext uri="{FF2B5EF4-FFF2-40B4-BE49-F238E27FC236}">
                  <a16:creationId xmlns:a16="http://schemas.microsoft.com/office/drawing/2014/main" id="{C9B33D44-E58A-4246-9893-47FFB6D61815}"/>
                </a:ext>
              </a:extLst>
            </p:cNvPr>
            <p:cNvSpPr/>
            <p:nvPr userDrawn="1"/>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73" name="Rectangle 272">
              <a:extLst>
                <a:ext uri="{FF2B5EF4-FFF2-40B4-BE49-F238E27FC236}">
                  <a16:creationId xmlns:a16="http://schemas.microsoft.com/office/drawing/2014/main" id="{6A5A6A88-23E5-DA43-AC87-60030C15C2DB}"/>
                </a:ext>
              </a:extLst>
            </p:cNvPr>
            <p:cNvSpPr/>
            <p:nvPr userDrawn="1"/>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74" name="Rectangle 273">
              <a:extLst>
                <a:ext uri="{FF2B5EF4-FFF2-40B4-BE49-F238E27FC236}">
                  <a16:creationId xmlns:a16="http://schemas.microsoft.com/office/drawing/2014/main" id="{825EC81F-0A84-3B46-87A3-DEBA90A7D292}"/>
                </a:ext>
              </a:extLst>
            </p:cNvPr>
            <p:cNvSpPr/>
            <p:nvPr userDrawn="1"/>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275" name="Group 274">
            <a:extLst>
              <a:ext uri="{FF2B5EF4-FFF2-40B4-BE49-F238E27FC236}">
                <a16:creationId xmlns:a16="http://schemas.microsoft.com/office/drawing/2014/main" id="{0981C3F5-4084-184F-A7A7-043851635784}"/>
              </a:ext>
            </a:extLst>
          </p:cNvPr>
          <p:cNvGrpSpPr/>
          <p:nvPr userDrawn="1"/>
        </p:nvGrpSpPr>
        <p:grpSpPr>
          <a:xfrm>
            <a:off x="2377440" y="4022568"/>
            <a:ext cx="304800" cy="304800"/>
            <a:chOff x="4748283" y="3386554"/>
            <a:chExt cx="548640" cy="548640"/>
          </a:xfrm>
        </p:grpSpPr>
        <p:sp>
          <p:nvSpPr>
            <p:cNvPr id="276" name="Rectangle 275">
              <a:extLst>
                <a:ext uri="{FF2B5EF4-FFF2-40B4-BE49-F238E27FC236}">
                  <a16:creationId xmlns:a16="http://schemas.microsoft.com/office/drawing/2014/main" id="{16970939-B084-EA40-959C-9BCB17415C25}"/>
                </a:ext>
              </a:extLst>
            </p:cNvPr>
            <p:cNvSpPr/>
            <p:nvPr userDrawn="1"/>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77" name="Rectangle 276">
              <a:extLst>
                <a:ext uri="{FF2B5EF4-FFF2-40B4-BE49-F238E27FC236}">
                  <a16:creationId xmlns:a16="http://schemas.microsoft.com/office/drawing/2014/main" id="{4563899D-79C0-BB42-9BB5-F0FB724E0A29}"/>
                </a:ext>
              </a:extLst>
            </p:cNvPr>
            <p:cNvSpPr/>
            <p:nvPr userDrawn="1"/>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78" name="Rectangle 277">
              <a:extLst>
                <a:ext uri="{FF2B5EF4-FFF2-40B4-BE49-F238E27FC236}">
                  <a16:creationId xmlns:a16="http://schemas.microsoft.com/office/drawing/2014/main" id="{84B38BD6-26C0-514D-8037-ED779AACAFAD}"/>
                </a:ext>
              </a:extLst>
            </p:cNvPr>
            <p:cNvSpPr/>
            <p:nvPr userDrawn="1"/>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79" name="Rectangle 278">
              <a:extLst>
                <a:ext uri="{FF2B5EF4-FFF2-40B4-BE49-F238E27FC236}">
                  <a16:creationId xmlns:a16="http://schemas.microsoft.com/office/drawing/2014/main" id="{A8D6370A-8137-7F4F-AA30-ECFF43FB1BBC}"/>
                </a:ext>
              </a:extLst>
            </p:cNvPr>
            <p:cNvSpPr/>
            <p:nvPr userDrawn="1"/>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280" name="Group 279">
            <a:extLst>
              <a:ext uri="{FF2B5EF4-FFF2-40B4-BE49-F238E27FC236}">
                <a16:creationId xmlns:a16="http://schemas.microsoft.com/office/drawing/2014/main" id="{B01EF6DD-5F1D-2B43-832A-A93A1408CC38}"/>
              </a:ext>
            </a:extLst>
          </p:cNvPr>
          <p:cNvGrpSpPr/>
          <p:nvPr userDrawn="1"/>
        </p:nvGrpSpPr>
        <p:grpSpPr>
          <a:xfrm>
            <a:off x="4754880" y="4022568"/>
            <a:ext cx="304800" cy="304800"/>
            <a:chOff x="4748283" y="3386554"/>
            <a:chExt cx="548640" cy="548640"/>
          </a:xfrm>
        </p:grpSpPr>
        <p:sp>
          <p:nvSpPr>
            <p:cNvPr id="281" name="Rectangle 280">
              <a:extLst>
                <a:ext uri="{FF2B5EF4-FFF2-40B4-BE49-F238E27FC236}">
                  <a16:creationId xmlns:a16="http://schemas.microsoft.com/office/drawing/2014/main" id="{E3450CDA-3FFE-864E-B8DC-5EA790172A47}"/>
                </a:ext>
              </a:extLst>
            </p:cNvPr>
            <p:cNvSpPr/>
            <p:nvPr userDrawn="1"/>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82" name="Rectangle 281">
              <a:extLst>
                <a:ext uri="{FF2B5EF4-FFF2-40B4-BE49-F238E27FC236}">
                  <a16:creationId xmlns:a16="http://schemas.microsoft.com/office/drawing/2014/main" id="{BAFA33DA-5652-FC4E-B0BF-E058340B6B83}"/>
                </a:ext>
              </a:extLst>
            </p:cNvPr>
            <p:cNvSpPr/>
            <p:nvPr userDrawn="1"/>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83" name="Rectangle 282">
              <a:extLst>
                <a:ext uri="{FF2B5EF4-FFF2-40B4-BE49-F238E27FC236}">
                  <a16:creationId xmlns:a16="http://schemas.microsoft.com/office/drawing/2014/main" id="{65304518-B1A6-674E-95CF-C03E4B41C4E7}"/>
                </a:ext>
              </a:extLst>
            </p:cNvPr>
            <p:cNvSpPr/>
            <p:nvPr userDrawn="1"/>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84" name="Rectangle 283">
              <a:extLst>
                <a:ext uri="{FF2B5EF4-FFF2-40B4-BE49-F238E27FC236}">
                  <a16:creationId xmlns:a16="http://schemas.microsoft.com/office/drawing/2014/main" id="{1193FEB8-221F-374A-8DA9-1F6418F61176}"/>
                </a:ext>
              </a:extLst>
            </p:cNvPr>
            <p:cNvSpPr/>
            <p:nvPr userDrawn="1"/>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285" name="Group 284">
            <a:extLst>
              <a:ext uri="{FF2B5EF4-FFF2-40B4-BE49-F238E27FC236}">
                <a16:creationId xmlns:a16="http://schemas.microsoft.com/office/drawing/2014/main" id="{4C0FF9B2-32A0-7446-B44A-A30E93EBA764}"/>
              </a:ext>
            </a:extLst>
          </p:cNvPr>
          <p:cNvGrpSpPr/>
          <p:nvPr userDrawn="1"/>
        </p:nvGrpSpPr>
        <p:grpSpPr>
          <a:xfrm>
            <a:off x="7132320" y="4022568"/>
            <a:ext cx="304800" cy="304800"/>
            <a:chOff x="4748283" y="3386554"/>
            <a:chExt cx="548640" cy="548640"/>
          </a:xfrm>
        </p:grpSpPr>
        <p:sp>
          <p:nvSpPr>
            <p:cNvPr id="286" name="Rectangle 285">
              <a:extLst>
                <a:ext uri="{FF2B5EF4-FFF2-40B4-BE49-F238E27FC236}">
                  <a16:creationId xmlns:a16="http://schemas.microsoft.com/office/drawing/2014/main" id="{79DDF252-792F-D141-9164-5305CBE3CFE8}"/>
                </a:ext>
              </a:extLst>
            </p:cNvPr>
            <p:cNvSpPr/>
            <p:nvPr userDrawn="1"/>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87" name="Rectangle 286">
              <a:extLst>
                <a:ext uri="{FF2B5EF4-FFF2-40B4-BE49-F238E27FC236}">
                  <a16:creationId xmlns:a16="http://schemas.microsoft.com/office/drawing/2014/main" id="{A05803F2-CE5F-B846-878D-C5A7BCF34EF2}"/>
                </a:ext>
              </a:extLst>
            </p:cNvPr>
            <p:cNvSpPr/>
            <p:nvPr userDrawn="1"/>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88" name="Rectangle 287">
              <a:extLst>
                <a:ext uri="{FF2B5EF4-FFF2-40B4-BE49-F238E27FC236}">
                  <a16:creationId xmlns:a16="http://schemas.microsoft.com/office/drawing/2014/main" id="{570DFCA3-0A0A-7949-91E2-25B051A71FA6}"/>
                </a:ext>
              </a:extLst>
            </p:cNvPr>
            <p:cNvSpPr/>
            <p:nvPr userDrawn="1"/>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89" name="Rectangle 288">
              <a:extLst>
                <a:ext uri="{FF2B5EF4-FFF2-40B4-BE49-F238E27FC236}">
                  <a16:creationId xmlns:a16="http://schemas.microsoft.com/office/drawing/2014/main" id="{2BF2C611-54CD-1D47-BFE3-BE450D6B5F77}"/>
                </a:ext>
              </a:extLst>
            </p:cNvPr>
            <p:cNvSpPr/>
            <p:nvPr userDrawn="1"/>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290" name="Group 289">
            <a:extLst>
              <a:ext uri="{FF2B5EF4-FFF2-40B4-BE49-F238E27FC236}">
                <a16:creationId xmlns:a16="http://schemas.microsoft.com/office/drawing/2014/main" id="{0FAF98C5-6AD8-7244-ABCC-FF8DBDFC1869}"/>
              </a:ext>
            </a:extLst>
          </p:cNvPr>
          <p:cNvGrpSpPr/>
          <p:nvPr userDrawn="1"/>
        </p:nvGrpSpPr>
        <p:grpSpPr>
          <a:xfrm>
            <a:off x="9509760" y="4022568"/>
            <a:ext cx="304800" cy="304800"/>
            <a:chOff x="4748283" y="3386554"/>
            <a:chExt cx="548640" cy="548640"/>
          </a:xfrm>
        </p:grpSpPr>
        <p:sp>
          <p:nvSpPr>
            <p:cNvPr id="291" name="Rectangle 290">
              <a:extLst>
                <a:ext uri="{FF2B5EF4-FFF2-40B4-BE49-F238E27FC236}">
                  <a16:creationId xmlns:a16="http://schemas.microsoft.com/office/drawing/2014/main" id="{B09B8B01-D074-AA4E-82C0-885DEE388DE2}"/>
                </a:ext>
              </a:extLst>
            </p:cNvPr>
            <p:cNvSpPr/>
            <p:nvPr userDrawn="1"/>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92" name="Rectangle 291">
              <a:extLst>
                <a:ext uri="{FF2B5EF4-FFF2-40B4-BE49-F238E27FC236}">
                  <a16:creationId xmlns:a16="http://schemas.microsoft.com/office/drawing/2014/main" id="{F204C474-6963-B54C-A1BC-CFDC1FDC7044}"/>
                </a:ext>
              </a:extLst>
            </p:cNvPr>
            <p:cNvSpPr/>
            <p:nvPr userDrawn="1"/>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93" name="Rectangle 292">
              <a:extLst>
                <a:ext uri="{FF2B5EF4-FFF2-40B4-BE49-F238E27FC236}">
                  <a16:creationId xmlns:a16="http://schemas.microsoft.com/office/drawing/2014/main" id="{A47065FD-73A9-9843-8B94-250376C3FB36}"/>
                </a:ext>
              </a:extLst>
            </p:cNvPr>
            <p:cNvSpPr/>
            <p:nvPr userDrawn="1"/>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94" name="Rectangle 293">
              <a:extLst>
                <a:ext uri="{FF2B5EF4-FFF2-40B4-BE49-F238E27FC236}">
                  <a16:creationId xmlns:a16="http://schemas.microsoft.com/office/drawing/2014/main" id="{4143DC2B-E40E-A043-A084-B601C1D25F3B}"/>
                </a:ext>
              </a:extLst>
            </p:cNvPr>
            <p:cNvSpPr/>
            <p:nvPr userDrawn="1"/>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295" name="Group 294">
            <a:extLst>
              <a:ext uri="{FF2B5EF4-FFF2-40B4-BE49-F238E27FC236}">
                <a16:creationId xmlns:a16="http://schemas.microsoft.com/office/drawing/2014/main" id="{29E0A699-6AD5-8F46-BD5E-39D99DC9BE89}"/>
              </a:ext>
            </a:extLst>
          </p:cNvPr>
          <p:cNvGrpSpPr/>
          <p:nvPr userDrawn="1"/>
        </p:nvGrpSpPr>
        <p:grpSpPr>
          <a:xfrm>
            <a:off x="2971800" y="4653504"/>
            <a:ext cx="304800" cy="304800"/>
            <a:chOff x="4748283" y="3386554"/>
            <a:chExt cx="548640" cy="548640"/>
          </a:xfrm>
        </p:grpSpPr>
        <p:sp>
          <p:nvSpPr>
            <p:cNvPr id="296" name="Rectangle 295">
              <a:extLst>
                <a:ext uri="{FF2B5EF4-FFF2-40B4-BE49-F238E27FC236}">
                  <a16:creationId xmlns:a16="http://schemas.microsoft.com/office/drawing/2014/main" id="{9FC9E2B0-E09C-7A43-9945-02E44B917CAF}"/>
                </a:ext>
              </a:extLst>
            </p:cNvPr>
            <p:cNvSpPr/>
            <p:nvPr userDrawn="1"/>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97" name="Rectangle 296">
              <a:extLst>
                <a:ext uri="{FF2B5EF4-FFF2-40B4-BE49-F238E27FC236}">
                  <a16:creationId xmlns:a16="http://schemas.microsoft.com/office/drawing/2014/main" id="{77E6256A-CE6E-DE4E-A7CD-1C6EF1C31E29}"/>
                </a:ext>
              </a:extLst>
            </p:cNvPr>
            <p:cNvSpPr/>
            <p:nvPr userDrawn="1"/>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98" name="Rectangle 297">
              <a:extLst>
                <a:ext uri="{FF2B5EF4-FFF2-40B4-BE49-F238E27FC236}">
                  <a16:creationId xmlns:a16="http://schemas.microsoft.com/office/drawing/2014/main" id="{E5C93033-80B8-7944-B34C-18221A61793A}"/>
                </a:ext>
              </a:extLst>
            </p:cNvPr>
            <p:cNvSpPr/>
            <p:nvPr userDrawn="1"/>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99" name="Rectangle 298">
              <a:extLst>
                <a:ext uri="{FF2B5EF4-FFF2-40B4-BE49-F238E27FC236}">
                  <a16:creationId xmlns:a16="http://schemas.microsoft.com/office/drawing/2014/main" id="{1DA62BC5-03FF-2C49-8D42-D0AC0B48C9D0}"/>
                </a:ext>
              </a:extLst>
            </p:cNvPr>
            <p:cNvSpPr/>
            <p:nvPr userDrawn="1"/>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300" name="Group 299">
            <a:extLst>
              <a:ext uri="{FF2B5EF4-FFF2-40B4-BE49-F238E27FC236}">
                <a16:creationId xmlns:a16="http://schemas.microsoft.com/office/drawing/2014/main" id="{413738E8-2C55-3047-8443-F0A7CD809578}"/>
              </a:ext>
            </a:extLst>
          </p:cNvPr>
          <p:cNvGrpSpPr/>
          <p:nvPr userDrawn="1"/>
        </p:nvGrpSpPr>
        <p:grpSpPr>
          <a:xfrm>
            <a:off x="8915400" y="4653504"/>
            <a:ext cx="304800" cy="304800"/>
            <a:chOff x="4748283" y="3386554"/>
            <a:chExt cx="548640" cy="548640"/>
          </a:xfrm>
        </p:grpSpPr>
        <p:sp>
          <p:nvSpPr>
            <p:cNvPr id="301" name="Rectangle 300">
              <a:extLst>
                <a:ext uri="{FF2B5EF4-FFF2-40B4-BE49-F238E27FC236}">
                  <a16:creationId xmlns:a16="http://schemas.microsoft.com/office/drawing/2014/main" id="{E4BD1A93-3E1B-BB4F-A223-02769F784568}"/>
                </a:ext>
              </a:extLst>
            </p:cNvPr>
            <p:cNvSpPr/>
            <p:nvPr userDrawn="1"/>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02" name="Rectangle 301">
              <a:extLst>
                <a:ext uri="{FF2B5EF4-FFF2-40B4-BE49-F238E27FC236}">
                  <a16:creationId xmlns:a16="http://schemas.microsoft.com/office/drawing/2014/main" id="{F1BDEAE0-847B-8F47-8827-F9568F8D44AB}"/>
                </a:ext>
              </a:extLst>
            </p:cNvPr>
            <p:cNvSpPr/>
            <p:nvPr userDrawn="1"/>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03" name="Rectangle 302">
              <a:extLst>
                <a:ext uri="{FF2B5EF4-FFF2-40B4-BE49-F238E27FC236}">
                  <a16:creationId xmlns:a16="http://schemas.microsoft.com/office/drawing/2014/main" id="{AF8DC815-56D0-AC49-B9C8-FA9335E2EABB}"/>
                </a:ext>
              </a:extLst>
            </p:cNvPr>
            <p:cNvSpPr/>
            <p:nvPr userDrawn="1"/>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04" name="Rectangle 303">
              <a:extLst>
                <a:ext uri="{FF2B5EF4-FFF2-40B4-BE49-F238E27FC236}">
                  <a16:creationId xmlns:a16="http://schemas.microsoft.com/office/drawing/2014/main" id="{043191BE-FBCB-EB41-AA68-DBA4FFEF9362}"/>
                </a:ext>
              </a:extLst>
            </p:cNvPr>
            <p:cNvSpPr/>
            <p:nvPr userDrawn="1"/>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413427313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23851" y="1065214"/>
            <a:ext cx="11569700" cy="4833937"/>
          </a:xfrm>
        </p:spPr>
        <p:txBody>
          <a:bodyPr/>
          <a:lstStyle>
            <a:lvl1pPr>
              <a:defRPr/>
            </a:lvl1pPr>
            <a:lvl2pPr>
              <a:defRPr baseline="0"/>
            </a:lvl2pPr>
            <a:lvl3pPr>
              <a:buClr>
                <a:schemeClr val="accent5">
                  <a:lumMod val="75000"/>
                </a:schemeClr>
              </a:buClr>
              <a:defRPr/>
            </a:lvl3pPr>
          </a:lstStyle>
          <a:p>
            <a:pPr lvl="0"/>
            <a:r>
              <a:rPr lang="en-US"/>
              <a:t>First level: Arial 20pt</a:t>
            </a:r>
          </a:p>
          <a:p>
            <a:pPr lvl="1"/>
            <a:r>
              <a:rPr lang="en-US"/>
              <a:t>Second level: Arial 18pt</a:t>
            </a:r>
          </a:p>
          <a:p>
            <a:pPr lvl="2"/>
            <a:r>
              <a:rPr lang="en-US"/>
              <a:t>Third level: Arial 16pt</a:t>
            </a:r>
          </a:p>
        </p:txBody>
      </p:sp>
      <p:sp>
        <p:nvSpPr>
          <p:cNvPr id="4" name="Title 3"/>
          <p:cNvSpPr>
            <a:spLocks noGrp="1"/>
          </p:cNvSpPr>
          <p:nvPr>
            <p:ph type="title"/>
          </p:nvPr>
        </p:nvSpPr>
        <p:spPr/>
        <p:txBody>
          <a:bodyPr/>
          <a:lstStyle/>
          <a:p>
            <a:r>
              <a:rPr lang="en-US"/>
              <a:t>Click to edit Master title style</a:t>
            </a:r>
          </a:p>
        </p:txBody>
      </p:sp>
      <p:sp>
        <p:nvSpPr>
          <p:cNvPr id="5" name="Slide Number Placeholder 2">
            <a:extLst>
              <a:ext uri="{FF2B5EF4-FFF2-40B4-BE49-F238E27FC236}">
                <a16:creationId xmlns:a16="http://schemas.microsoft.com/office/drawing/2014/main" id="{764AC182-02E1-451B-986B-39CF68E6125A}"/>
              </a:ext>
            </a:extLst>
          </p:cNvPr>
          <p:cNvSpPr>
            <a:spLocks noGrp="1"/>
          </p:cNvSpPr>
          <p:nvPr>
            <p:ph type="sldNum" sz="quarter" idx="10"/>
          </p:nvPr>
        </p:nvSpPr>
        <p:spPr>
          <a:xfrm>
            <a:off x="1" y="6553200"/>
            <a:ext cx="304799" cy="304799"/>
          </a:xfrm>
        </p:spPr>
        <p:txBody>
          <a:bodyPr/>
          <a:lstStyle/>
          <a:p>
            <a:fld id="{89006F1E-66CD-4A4B-9370-B4A3080F0E6C}" type="slidenum">
              <a:rPr lang="en-US" smtClean="0"/>
              <a:pPr/>
              <a:t>‹#›</a:t>
            </a:fld>
            <a:endParaRPr lang="en-US"/>
          </a:p>
        </p:txBody>
      </p:sp>
    </p:spTree>
    <p:extLst>
      <p:ext uri="{BB962C8B-B14F-4D97-AF65-F5344CB8AC3E}">
        <p14:creationId xmlns:p14="http://schemas.microsoft.com/office/powerpoint/2010/main" val="73131420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7_Custom Layout">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7892796" cy="6858000"/>
          </a:xfrm>
          <a:prstGeom prst="rect">
            <a:avLst/>
          </a:prstGeom>
        </p:spPr>
      </p:pic>
      <p:pic>
        <p:nvPicPr>
          <p:cNvPr id="2" name="Picture 1"/>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2700" y="1773238"/>
            <a:ext cx="5080687" cy="5084762"/>
          </a:xfrm>
          <a:prstGeom prst="rect">
            <a:avLst/>
          </a:prstGeom>
        </p:spPr>
      </p:pic>
      <p:sp>
        <p:nvSpPr>
          <p:cNvPr id="10" name="Text Placeholder 6"/>
          <p:cNvSpPr>
            <a:spLocks noGrp="1"/>
          </p:cNvSpPr>
          <p:nvPr>
            <p:ph type="body" sz="quarter" idx="11"/>
          </p:nvPr>
        </p:nvSpPr>
        <p:spPr>
          <a:xfrm>
            <a:off x="3352800" y="1966913"/>
            <a:ext cx="8572500" cy="1447800"/>
          </a:xfrm>
        </p:spPr>
        <p:txBody>
          <a:bodyPr anchor="ctr"/>
          <a:lstStyle>
            <a:lvl1pPr marL="0" indent="0" algn="ctr">
              <a:buNone/>
              <a:defRPr sz="3200" b="1">
                <a:solidFill>
                  <a:schemeClr val="accent4"/>
                </a:solidFill>
              </a:defRPr>
            </a:lvl1pPr>
          </a:lstStyle>
          <a:p>
            <a:pPr lvl="0"/>
            <a:r>
              <a:rPr lang="en-US"/>
              <a:t>Click to edit Master text styles</a:t>
            </a:r>
          </a:p>
        </p:txBody>
      </p:sp>
    </p:spTree>
    <p:extLst>
      <p:ext uri="{BB962C8B-B14F-4D97-AF65-F5344CB8AC3E}">
        <p14:creationId xmlns:p14="http://schemas.microsoft.com/office/powerpoint/2010/main" val="280195608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slideLayout" Target="../slideLayouts/slideLayout45.xml"/><Relationship Id="rId39" Type="http://schemas.openxmlformats.org/officeDocument/2006/relationships/slideLayout" Target="../slideLayouts/slideLayout58.xml"/><Relationship Id="rId3" Type="http://schemas.openxmlformats.org/officeDocument/2006/relationships/slideLayout" Target="../slideLayouts/slideLayout22.xml"/><Relationship Id="rId21" Type="http://schemas.openxmlformats.org/officeDocument/2006/relationships/slideLayout" Target="../slideLayouts/slideLayout40.xml"/><Relationship Id="rId34" Type="http://schemas.openxmlformats.org/officeDocument/2006/relationships/slideLayout" Target="../slideLayouts/slideLayout53.xml"/><Relationship Id="rId42" Type="http://schemas.openxmlformats.org/officeDocument/2006/relationships/slideLayout" Target="../slideLayouts/slideLayout61.xml"/><Relationship Id="rId47" Type="http://schemas.openxmlformats.org/officeDocument/2006/relationships/slideLayout" Target="../slideLayouts/slideLayout66.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33" Type="http://schemas.openxmlformats.org/officeDocument/2006/relationships/slideLayout" Target="../slideLayouts/slideLayout52.xml"/><Relationship Id="rId38" Type="http://schemas.openxmlformats.org/officeDocument/2006/relationships/slideLayout" Target="../slideLayouts/slideLayout57.xml"/><Relationship Id="rId46" Type="http://schemas.openxmlformats.org/officeDocument/2006/relationships/slideLayout" Target="../slideLayouts/slideLayout65.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29" Type="http://schemas.openxmlformats.org/officeDocument/2006/relationships/slideLayout" Target="../slideLayouts/slideLayout48.xml"/><Relationship Id="rId41" Type="http://schemas.openxmlformats.org/officeDocument/2006/relationships/slideLayout" Target="../slideLayouts/slideLayout60.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32" Type="http://schemas.openxmlformats.org/officeDocument/2006/relationships/slideLayout" Target="../slideLayouts/slideLayout51.xml"/><Relationship Id="rId37" Type="http://schemas.openxmlformats.org/officeDocument/2006/relationships/slideLayout" Target="../slideLayouts/slideLayout56.xml"/><Relationship Id="rId40" Type="http://schemas.openxmlformats.org/officeDocument/2006/relationships/slideLayout" Target="../slideLayouts/slideLayout59.xml"/><Relationship Id="rId45" Type="http://schemas.openxmlformats.org/officeDocument/2006/relationships/slideLayout" Target="../slideLayouts/slideLayout64.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slideLayout" Target="../slideLayouts/slideLayout47.xml"/><Relationship Id="rId36" Type="http://schemas.openxmlformats.org/officeDocument/2006/relationships/slideLayout" Target="../slideLayouts/slideLayout55.xml"/><Relationship Id="rId49" Type="http://schemas.openxmlformats.org/officeDocument/2006/relationships/image" Target="../media/image10.emf"/><Relationship Id="rId10" Type="http://schemas.openxmlformats.org/officeDocument/2006/relationships/slideLayout" Target="../slideLayouts/slideLayout29.xml"/><Relationship Id="rId19" Type="http://schemas.openxmlformats.org/officeDocument/2006/relationships/slideLayout" Target="../slideLayouts/slideLayout38.xml"/><Relationship Id="rId31" Type="http://schemas.openxmlformats.org/officeDocument/2006/relationships/slideLayout" Target="../slideLayouts/slideLayout50.xml"/><Relationship Id="rId44" Type="http://schemas.openxmlformats.org/officeDocument/2006/relationships/slideLayout" Target="../slideLayouts/slideLayout63.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slideLayout" Target="../slideLayouts/slideLayout46.xml"/><Relationship Id="rId30" Type="http://schemas.openxmlformats.org/officeDocument/2006/relationships/slideLayout" Target="../slideLayouts/slideLayout49.xml"/><Relationship Id="rId35" Type="http://schemas.openxmlformats.org/officeDocument/2006/relationships/slideLayout" Target="../slideLayouts/slideLayout54.xml"/><Relationship Id="rId43" Type="http://schemas.openxmlformats.org/officeDocument/2006/relationships/slideLayout" Target="../slideLayouts/slideLayout62.xml"/><Relationship Id="rId48" Type="http://schemas.openxmlformats.org/officeDocument/2006/relationships/theme" Target="../theme/theme2.xml"/><Relationship Id="rId8"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theme" Target="../theme/theme3.xml"/><Relationship Id="rId3" Type="http://schemas.openxmlformats.org/officeDocument/2006/relationships/slideLayout" Target="../slideLayouts/slideLayout69.xml"/><Relationship Id="rId21" Type="http://schemas.openxmlformats.org/officeDocument/2006/relationships/image" Target="../media/image57.emf"/><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oleObject" Target="../embeddings/oleObject1.bin"/><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10" Type="http://schemas.openxmlformats.org/officeDocument/2006/relationships/slideLayout" Target="../slideLayouts/slideLayout76.xml"/><Relationship Id="rId19" Type="http://schemas.openxmlformats.org/officeDocument/2006/relationships/tags" Target="../tags/tag1.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image" Target="../media/image10.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p:cNvSpPr/>
          <p:nvPr/>
        </p:nvSpPr>
        <p:spPr bwMode="auto">
          <a:xfrm>
            <a:off x="0" y="6299205"/>
            <a:ext cx="12192000" cy="55879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124" charset="0"/>
            </a:endParaRPr>
          </a:p>
        </p:txBody>
      </p:sp>
      <p:sp>
        <p:nvSpPr>
          <p:cNvPr id="1027" name="Rectangle 7"/>
          <p:cNvSpPr>
            <a:spLocks noGrp="1" noChangeArrowheads="1"/>
          </p:cNvSpPr>
          <p:nvPr>
            <p:ph type="body" idx="1"/>
          </p:nvPr>
        </p:nvSpPr>
        <p:spPr bwMode="auto">
          <a:xfrm>
            <a:off x="325968" y="1065217"/>
            <a:ext cx="11567584" cy="4833937"/>
          </a:xfrm>
          <a:prstGeom prst="rect">
            <a:avLst/>
          </a:prstGeom>
          <a:noFill/>
          <a:ln w="9525">
            <a:noFill/>
            <a:miter lim="800000"/>
            <a:headEnd/>
            <a:tailEnd/>
          </a:ln>
        </p:spPr>
        <p:txBody>
          <a:bodyPr vert="horz" wrap="square" lIns="91430" tIns="45716" rIns="91430" bIns="45716" numCol="1" anchor="t" anchorCtr="0" compatLnSpc="1">
            <a:prstTxWarp prst="textNoShape">
              <a:avLst/>
            </a:prstTxWarp>
          </a:bodyPr>
          <a:lstStyle/>
          <a:p>
            <a:pPr lvl="0"/>
            <a:r>
              <a:rPr lang="en-US"/>
              <a:t>First level: Arial 20pt</a:t>
            </a:r>
          </a:p>
          <a:p>
            <a:pPr lvl="1"/>
            <a:r>
              <a:rPr lang="en-US"/>
              <a:t>Second level: Arial 18pt</a:t>
            </a:r>
          </a:p>
          <a:p>
            <a:pPr lvl="2"/>
            <a:r>
              <a:rPr lang="en-US"/>
              <a:t>Third level: Arial 16pt					</a:t>
            </a:r>
          </a:p>
        </p:txBody>
      </p:sp>
      <p:sp>
        <p:nvSpPr>
          <p:cNvPr id="1028" name="Rectangle 8"/>
          <p:cNvSpPr>
            <a:spLocks noGrp="1" noChangeArrowheads="1"/>
          </p:cNvSpPr>
          <p:nvPr>
            <p:ph type="title"/>
          </p:nvPr>
        </p:nvSpPr>
        <p:spPr bwMode="gray">
          <a:xfrm>
            <a:off x="3" y="0"/>
            <a:ext cx="12191999" cy="533400"/>
          </a:xfrm>
          <a:prstGeom prst="rect">
            <a:avLst/>
          </a:prstGeom>
          <a:solidFill>
            <a:schemeClr val="accent5"/>
          </a:solidFill>
          <a:ln w="9525">
            <a:noFill/>
            <a:miter lim="800000"/>
            <a:headEnd/>
            <a:tailEnd/>
          </a:ln>
        </p:spPr>
        <p:txBody>
          <a:bodyPr vert="horz" wrap="square" lIns="274320" tIns="45716" rIns="45720" bIns="45716" numCol="1" anchor="ctr" anchorCtr="0" compatLnSpc="1">
            <a:prstTxWarp prst="textNoShape">
              <a:avLst/>
            </a:prstTxWarp>
          </a:bodyPr>
          <a:lstStyle/>
          <a:p>
            <a:pPr lvl="0"/>
            <a:r>
              <a:rPr lang="en-US"/>
              <a:t>Title : Arial 24pt</a:t>
            </a:r>
          </a:p>
        </p:txBody>
      </p:sp>
      <p:grpSp>
        <p:nvGrpSpPr>
          <p:cNvPr id="3" name="Group 2"/>
          <p:cNvGrpSpPr/>
          <p:nvPr userDrawn="1"/>
        </p:nvGrpSpPr>
        <p:grpSpPr>
          <a:xfrm>
            <a:off x="160869" y="6407946"/>
            <a:ext cx="11341522" cy="354012"/>
            <a:chOff x="160869" y="6385491"/>
            <a:chExt cx="11341522" cy="354012"/>
          </a:xfrm>
        </p:grpSpPr>
        <p:pic>
          <p:nvPicPr>
            <p:cNvPr id="1031" name="Picture 3" descr="ThermoFisher_PPT-Logo_032-Bk.jpg"/>
            <p:cNvPicPr>
              <a:picLocks noChangeAspect="1"/>
            </p:cNvPicPr>
            <p:nvPr/>
          </p:nvPicPr>
          <p:blipFill>
            <a:blip r:embed="rId21" cstate="print">
              <a:extLst>
                <a:ext uri="{28A0092B-C50C-407E-A947-70E740481C1C}">
                  <a14:useLocalDpi xmlns:a14="http://schemas.microsoft.com/office/drawing/2010/main"/>
                </a:ext>
              </a:extLst>
            </a:blip>
            <a:srcRect/>
            <a:stretch>
              <a:fillRect/>
            </a:stretch>
          </p:blipFill>
          <p:spPr bwMode="auto">
            <a:xfrm>
              <a:off x="10267951" y="6430138"/>
              <a:ext cx="1234440" cy="264719"/>
            </a:xfrm>
            <a:prstGeom prst="rect">
              <a:avLst/>
            </a:prstGeom>
            <a:noFill/>
            <a:ln w="9525">
              <a:noFill/>
              <a:miter lim="800000"/>
              <a:headEnd/>
              <a:tailEnd/>
            </a:ln>
          </p:spPr>
        </p:pic>
        <p:sp>
          <p:nvSpPr>
            <p:cNvPr id="98313" name="Rectangle 9"/>
            <p:cNvSpPr>
              <a:spLocks noChangeArrowheads="1"/>
            </p:cNvSpPr>
            <p:nvPr/>
          </p:nvSpPr>
          <p:spPr bwMode="auto">
            <a:xfrm>
              <a:off x="160869" y="6385491"/>
              <a:ext cx="1746251" cy="354012"/>
            </a:xfrm>
            <a:prstGeom prst="rect">
              <a:avLst/>
            </a:prstGeom>
            <a:noFill/>
            <a:ln w="9525">
              <a:noFill/>
              <a:miter lim="800000"/>
              <a:headEnd/>
              <a:tailEnd/>
            </a:ln>
            <a:effectLst/>
          </p:spPr>
          <p:txBody>
            <a:bodyPr anchor="ctr"/>
            <a:lstStyle/>
            <a:p>
              <a:fld id="{BC224649-6F24-4CDF-9623-7616656F3EFD}" type="slidenum">
                <a:rPr lang="en-US" sz="1000" b="1"/>
                <a:pPr/>
                <a:t>‹#›</a:t>
              </a:fld>
              <a:endParaRPr lang="en-US" sz="1200" b="1"/>
            </a:p>
          </p:txBody>
        </p:sp>
        <p:sp>
          <p:nvSpPr>
            <p:cNvPr id="9" name="Text Box 9"/>
            <p:cNvSpPr txBox="1">
              <a:spLocks noChangeArrowheads="1"/>
            </p:cNvSpPr>
            <p:nvPr/>
          </p:nvSpPr>
          <p:spPr bwMode="auto">
            <a:xfrm>
              <a:off x="543984" y="6454775"/>
              <a:ext cx="1359668" cy="215444"/>
            </a:xfrm>
            <a:prstGeom prst="rect">
              <a:avLst/>
            </a:prstGeom>
            <a:noFill/>
            <a:ln w="9525">
              <a:noFill/>
              <a:miter lim="800000"/>
              <a:headEnd/>
              <a:tailEnd/>
            </a:ln>
          </p:spPr>
          <p:txBody>
            <a:bodyPr wrap="none" anchor="ctr">
              <a:spAutoFit/>
            </a:bodyPr>
            <a:lstStyle/>
            <a:p>
              <a:pPr defTabSz="457189"/>
              <a:r>
                <a:rPr lang="en-US" sz="800" i="1">
                  <a:latin typeface="Arial Unicode MS" pitchFamily="34" charset="-128"/>
                </a:rPr>
                <a:t>Proprietary &amp; Confidential</a:t>
              </a:r>
            </a:p>
          </p:txBody>
        </p:sp>
      </p:grpSp>
      <p:sp>
        <p:nvSpPr>
          <p:cNvPr id="98322" name="Line 18"/>
          <p:cNvSpPr>
            <a:spLocks noChangeShapeType="1"/>
          </p:cNvSpPr>
          <p:nvPr/>
        </p:nvSpPr>
        <p:spPr bwMode="auto">
          <a:xfrm>
            <a:off x="-10584" y="6311900"/>
            <a:ext cx="12202584" cy="0"/>
          </a:xfrm>
          <a:prstGeom prst="line">
            <a:avLst/>
          </a:prstGeom>
          <a:noFill/>
          <a:ln w="28575">
            <a:solidFill>
              <a:schemeClr val="accent5"/>
            </a:solidFill>
            <a:round/>
            <a:headEnd/>
            <a:tailEnd/>
          </a:ln>
        </p:spPr>
        <p:txBody>
          <a:bodyPr wrap="none" anchor="ctr"/>
          <a:lstStyle/>
          <a:p>
            <a:pPr>
              <a:defRPr/>
            </a:pPr>
            <a:endParaRPr lang="en-US" sz="1800">
              <a:latin typeface="Arial" pitchFamily="124" charset="0"/>
              <a:ea typeface="+mn-ea"/>
            </a:endParaRPr>
          </a:p>
        </p:txBody>
      </p:sp>
    </p:spTree>
    <p:extLst>
      <p:ext uri="{BB962C8B-B14F-4D97-AF65-F5344CB8AC3E}">
        <p14:creationId xmlns:p14="http://schemas.microsoft.com/office/powerpoint/2010/main" val="262203258"/>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9" r:id="rId4"/>
    <p:sldLayoutId id="2147483691" r:id="rId5"/>
    <p:sldLayoutId id="2147483695" r:id="rId6"/>
    <p:sldLayoutId id="2147483697" r:id="rId7"/>
    <p:sldLayoutId id="2147483700" r:id="rId8"/>
    <p:sldLayoutId id="2147483698" r:id="rId9"/>
    <p:sldLayoutId id="2147483699" r:id="rId10"/>
    <p:sldLayoutId id="2147483682" r:id="rId11"/>
    <p:sldLayoutId id="2147483683" r:id="rId12"/>
    <p:sldLayoutId id="2147483684" r:id="rId13"/>
    <p:sldLayoutId id="2147483685" r:id="rId14"/>
    <p:sldLayoutId id="2147483686" r:id="rId15"/>
    <p:sldLayoutId id="2147483687" r:id="rId16"/>
    <p:sldLayoutId id="2147483688" r:id="rId17"/>
    <p:sldLayoutId id="2147483701" r:id="rId18"/>
    <p:sldLayoutId id="2147483696" r:id="rId19"/>
  </p:sldLayoutIdLst>
  <p:transition>
    <p:fade/>
  </p:transition>
  <p:txStyles>
    <p:titleStyle>
      <a:lvl1pPr algn="l" rtl="0" eaLnBrk="1" fontAlgn="base" hangingPunct="1">
        <a:lnSpc>
          <a:spcPct val="95000"/>
        </a:lnSpc>
        <a:spcBef>
          <a:spcPct val="0"/>
        </a:spcBef>
        <a:spcAft>
          <a:spcPct val="0"/>
        </a:spcAft>
        <a:defRPr sz="2400">
          <a:solidFill>
            <a:schemeClr val="bg1"/>
          </a:solidFill>
          <a:latin typeface="+mj-lt"/>
          <a:ea typeface="ＭＳ Ｐゴシック" pitchFamily="-60" charset="-128"/>
          <a:cs typeface="ＭＳ Ｐゴシック" pitchFamily="-60" charset="-128"/>
        </a:defRPr>
      </a:lvl1pPr>
      <a:lvl2pPr algn="l" rtl="0" eaLnBrk="1" fontAlgn="base" hangingPunct="1">
        <a:lnSpc>
          <a:spcPct val="95000"/>
        </a:lnSpc>
        <a:spcBef>
          <a:spcPct val="0"/>
        </a:spcBef>
        <a:spcAft>
          <a:spcPct val="0"/>
        </a:spcAft>
        <a:defRPr sz="2800">
          <a:solidFill>
            <a:schemeClr val="tx1"/>
          </a:solidFill>
          <a:latin typeface="Arial" pitchFamily="124" charset="0"/>
          <a:ea typeface="ＭＳ Ｐゴシック" pitchFamily="-60" charset="-128"/>
          <a:cs typeface="ＭＳ Ｐゴシック" pitchFamily="-60" charset="-128"/>
        </a:defRPr>
      </a:lvl2pPr>
      <a:lvl3pPr algn="l" rtl="0" eaLnBrk="1" fontAlgn="base" hangingPunct="1">
        <a:lnSpc>
          <a:spcPct val="95000"/>
        </a:lnSpc>
        <a:spcBef>
          <a:spcPct val="0"/>
        </a:spcBef>
        <a:spcAft>
          <a:spcPct val="0"/>
        </a:spcAft>
        <a:defRPr sz="2800">
          <a:solidFill>
            <a:schemeClr val="tx1"/>
          </a:solidFill>
          <a:latin typeface="Arial" pitchFamily="124" charset="0"/>
          <a:ea typeface="ＭＳ Ｐゴシック" pitchFamily="-60" charset="-128"/>
          <a:cs typeface="ＭＳ Ｐゴシック" pitchFamily="-60" charset="-128"/>
        </a:defRPr>
      </a:lvl3pPr>
      <a:lvl4pPr algn="l" rtl="0" eaLnBrk="1" fontAlgn="base" hangingPunct="1">
        <a:lnSpc>
          <a:spcPct val="95000"/>
        </a:lnSpc>
        <a:spcBef>
          <a:spcPct val="0"/>
        </a:spcBef>
        <a:spcAft>
          <a:spcPct val="0"/>
        </a:spcAft>
        <a:defRPr sz="2800">
          <a:solidFill>
            <a:schemeClr val="tx1"/>
          </a:solidFill>
          <a:latin typeface="Arial" pitchFamily="124" charset="0"/>
          <a:ea typeface="ＭＳ Ｐゴシック" pitchFamily="-60" charset="-128"/>
          <a:cs typeface="ＭＳ Ｐゴシック" pitchFamily="-60" charset="-128"/>
        </a:defRPr>
      </a:lvl4pPr>
      <a:lvl5pPr algn="l" rtl="0" eaLnBrk="1" fontAlgn="base" hangingPunct="1">
        <a:lnSpc>
          <a:spcPct val="95000"/>
        </a:lnSpc>
        <a:spcBef>
          <a:spcPct val="0"/>
        </a:spcBef>
        <a:spcAft>
          <a:spcPct val="0"/>
        </a:spcAft>
        <a:defRPr sz="2800">
          <a:solidFill>
            <a:schemeClr val="tx1"/>
          </a:solidFill>
          <a:latin typeface="Arial" pitchFamily="124" charset="0"/>
          <a:ea typeface="ＭＳ Ｐゴシック" pitchFamily="-60" charset="-128"/>
          <a:cs typeface="ＭＳ Ｐゴシック" pitchFamily="-60" charset="-128"/>
        </a:defRPr>
      </a:lvl5pPr>
      <a:lvl6pPr marL="457189" algn="l" rtl="0" eaLnBrk="1" fontAlgn="base" hangingPunct="1">
        <a:lnSpc>
          <a:spcPct val="95000"/>
        </a:lnSpc>
        <a:spcBef>
          <a:spcPct val="0"/>
        </a:spcBef>
        <a:spcAft>
          <a:spcPct val="0"/>
        </a:spcAft>
        <a:defRPr sz="2800">
          <a:solidFill>
            <a:schemeClr val="tx1"/>
          </a:solidFill>
          <a:latin typeface="Arial" pitchFamily="124" charset="0"/>
        </a:defRPr>
      </a:lvl6pPr>
      <a:lvl7pPr marL="914377" algn="l" rtl="0" eaLnBrk="1" fontAlgn="base" hangingPunct="1">
        <a:lnSpc>
          <a:spcPct val="95000"/>
        </a:lnSpc>
        <a:spcBef>
          <a:spcPct val="0"/>
        </a:spcBef>
        <a:spcAft>
          <a:spcPct val="0"/>
        </a:spcAft>
        <a:defRPr sz="2800">
          <a:solidFill>
            <a:schemeClr val="tx1"/>
          </a:solidFill>
          <a:latin typeface="Arial" pitchFamily="124" charset="0"/>
        </a:defRPr>
      </a:lvl7pPr>
      <a:lvl8pPr marL="1371566" algn="l" rtl="0" eaLnBrk="1" fontAlgn="base" hangingPunct="1">
        <a:lnSpc>
          <a:spcPct val="95000"/>
        </a:lnSpc>
        <a:spcBef>
          <a:spcPct val="0"/>
        </a:spcBef>
        <a:spcAft>
          <a:spcPct val="0"/>
        </a:spcAft>
        <a:defRPr sz="2800">
          <a:solidFill>
            <a:schemeClr val="tx1"/>
          </a:solidFill>
          <a:latin typeface="Arial" pitchFamily="124" charset="0"/>
        </a:defRPr>
      </a:lvl8pPr>
      <a:lvl9pPr marL="1828754" algn="l" rtl="0" eaLnBrk="1" fontAlgn="base" hangingPunct="1">
        <a:lnSpc>
          <a:spcPct val="95000"/>
        </a:lnSpc>
        <a:spcBef>
          <a:spcPct val="0"/>
        </a:spcBef>
        <a:spcAft>
          <a:spcPct val="0"/>
        </a:spcAft>
        <a:defRPr sz="2800">
          <a:solidFill>
            <a:schemeClr val="tx1"/>
          </a:solidFill>
          <a:latin typeface="Arial" pitchFamily="124" charset="0"/>
        </a:defRPr>
      </a:lvl9pPr>
    </p:titleStyle>
    <p:bodyStyle>
      <a:lvl1pPr marL="188909" indent="-188909" algn="l" defTabSz="171446" rtl="0" eaLnBrk="1" fontAlgn="base" hangingPunct="1">
        <a:spcBef>
          <a:spcPct val="0"/>
        </a:spcBef>
        <a:spcAft>
          <a:spcPts val="600"/>
        </a:spcAft>
        <a:buClr>
          <a:schemeClr val="accent4"/>
        </a:buClr>
        <a:buChar char="•"/>
        <a:defRPr sz="2000" b="0">
          <a:solidFill>
            <a:schemeClr val="tx1"/>
          </a:solidFill>
          <a:latin typeface="+mn-lt"/>
          <a:ea typeface="ＭＳ Ｐゴシック" pitchFamily="-60" charset="-128"/>
          <a:cs typeface="ＭＳ Ｐゴシック" pitchFamily="-60" charset="-128"/>
        </a:defRPr>
      </a:lvl1pPr>
      <a:lvl2pPr marL="342891" indent="-171446" algn="l" defTabSz="342891" rtl="0" eaLnBrk="1" fontAlgn="base" hangingPunct="1">
        <a:spcBef>
          <a:spcPct val="0"/>
        </a:spcBef>
        <a:spcAft>
          <a:spcPts val="600"/>
        </a:spcAft>
        <a:buClr>
          <a:schemeClr val="accent5">
            <a:lumMod val="75000"/>
          </a:schemeClr>
        </a:buClr>
        <a:buFont typeface="Arial" pitchFamily="34" charset="0"/>
        <a:buChar char="•"/>
        <a:defRPr sz="1800">
          <a:solidFill>
            <a:schemeClr val="tx1"/>
          </a:solidFill>
          <a:latin typeface="+mn-lt"/>
          <a:ea typeface="ＭＳ Ｐゴシック" pitchFamily="124" charset="-128"/>
        </a:defRPr>
      </a:lvl2pPr>
      <a:lvl3pPr marL="571486" indent="-171446" algn="l" defTabSz="571486" rtl="0" eaLnBrk="1" fontAlgn="base" hangingPunct="1">
        <a:spcBef>
          <a:spcPct val="0"/>
        </a:spcBef>
        <a:spcAft>
          <a:spcPts val="600"/>
        </a:spcAft>
        <a:buClr>
          <a:schemeClr val="accent5">
            <a:lumMod val="75000"/>
          </a:schemeClr>
        </a:buClr>
        <a:buFont typeface="Arial" pitchFamily="34" charset="0"/>
        <a:buChar char="•"/>
        <a:defRPr sz="1600">
          <a:solidFill>
            <a:schemeClr val="tx1"/>
          </a:solidFill>
          <a:latin typeface="+mn-lt"/>
          <a:ea typeface="ＭＳ Ｐゴシック" pitchFamily="124" charset="-128"/>
        </a:defRPr>
      </a:lvl3pPr>
      <a:lvl4pPr marL="1317592" indent="-203195" algn="l" rtl="0" eaLnBrk="1" fontAlgn="base" hangingPunct="1">
        <a:spcBef>
          <a:spcPct val="0"/>
        </a:spcBef>
        <a:spcAft>
          <a:spcPct val="20000"/>
        </a:spcAft>
        <a:buFont typeface="Symbol" pitchFamily="18" charset="2"/>
        <a:buChar char="-"/>
        <a:defRPr sz="1600">
          <a:solidFill>
            <a:schemeClr val="tx1"/>
          </a:solidFill>
          <a:latin typeface="+mn-lt"/>
          <a:ea typeface="ＭＳ Ｐゴシック" pitchFamily="124" charset="-128"/>
        </a:defRPr>
      </a:lvl4pPr>
      <a:lvl5pPr marL="1716045" indent="-182558" algn="l" rtl="0" eaLnBrk="1" fontAlgn="base" hangingPunct="1">
        <a:spcBef>
          <a:spcPct val="0"/>
        </a:spcBef>
        <a:spcAft>
          <a:spcPct val="20000"/>
        </a:spcAft>
        <a:buChar char="•"/>
        <a:defRPr sz="1500">
          <a:solidFill>
            <a:schemeClr val="tx1"/>
          </a:solidFill>
          <a:latin typeface="+mn-lt"/>
          <a:ea typeface="ＭＳ Ｐゴシック" pitchFamily="124" charset="-128"/>
        </a:defRPr>
      </a:lvl5pPr>
      <a:lvl6pPr marL="2173234" indent="-182558" algn="l" rtl="0" eaLnBrk="1" fontAlgn="base" hangingPunct="1">
        <a:spcBef>
          <a:spcPct val="0"/>
        </a:spcBef>
        <a:spcAft>
          <a:spcPct val="20000"/>
        </a:spcAft>
        <a:buChar char="•"/>
        <a:defRPr sz="1500">
          <a:solidFill>
            <a:schemeClr val="tx1"/>
          </a:solidFill>
          <a:latin typeface="+mn-lt"/>
          <a:ea typeface="ＭＳ Ｐゴシック" pitchFamily="124" charset="-128"/>
        </a:defRPr>
      </a:lvl6pPr>
      <a:lvl7pPr marL="2630422" indent="-182558" algn="l" rtl="0" eaLnBrk="1" fontAlgn="base" hangingPunct="1">
        <a:spcBef>
          <a:spcPct val="0"/>
        </a:spcBef>
        <a:spcAft>
          <a:spcPct val="20000"/>
        </a:spcAft>
        <a:buChar char="•"/>
        <a:defRPr sz="1500">
          <a:solidFill>
            <a:schemeClr val="tx1"/>
          </a:solidFill>
          <a:latin typeface="+mn-lt"/>
          <a:ea typeface="ＭＳ Ｐゴシック" pitchFamily="124" charset="-128"/>
        </a:defRPr>
      </a:lvl7pPr>
      <a:lvl8pPr marL="3087611" indent="-182558" algn="l" rtl="0" eaLnBrk="1" fontAlgn="base" hangingPunct="1">
        <a:spcBef>
          <a:spcPct val="0"/>
        </a:spcBef>
        <a:spcAft>
          <a:spcPct val="20000"/>
        </a:spcAft>
        <a:buChar char="•"/>
        <a:defRPr sz="1500">
          <a:solidFill>
            <a:schemeClr val="tx1"/>
          </a:solidFill>
          <a:latin typeface="+mn-lt"/>
          <a:ea typeface="ＭＳ Ｐゴシック" pitchFamily="124" charset="-128"/>
        </a:defRPr>
      </a:lvl8pPr>
      <a:lvl9pPr marL="3544799" indent="-182558" algn="l" rtl="0" eaLnBrk="1" fontAlgn="base" hangingPunct="1">
        <a:spcBef>
          <a:spcPct val="0"/>
        </a:spcBef>
        <a:spcAft>
          <a:spcPct val="20000"/>
        </a:spcAft>
        <a:buChar char="•"/>
        <a:defRPr sz="1500">
          <a:solidFill>
            <a:schemeClr val="tx1"/>
          </a:solidFill>
          <a:latin typeface="+mn-lt"/>
          <a:ea typeface="ＭＳ Ｐゴシック" pitchFamily="124" charset="-128"/>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168" userDrawn="1">
          <p15:clr>
            <a:srgbClr val="F26B43"/>
          </p15:clr>
        </p15:guide>
        <p15:guide id="4" pos="1992" userDrawn="1">
          <p15:clr>
            <a:srgbClr val="F26B43"/>
          </p15:clr>
        </p15:guide>
        <p15:guide id="5" pos="2112" userDrawn="1">
          <p15:clr>
            <a:srgbClr val="F26B43"/>
          </p15:clr>
        </p15:guide>
        <p15:guide id="6" pos="5712" userDrawn="1">
          <p15:clr>
            <a:srgbClr val="F26B43"/>
          </p15:clr>
        </p15:guide>
        <p15:guide id="7" pos="5568" userDrawn="1">
          <p15:clr>
            <a:srgbClr val="F26B43"/>
          </p15:clr>
        </p15:guide>
        <p15:guide id="8" pos="7512" userDrawn="1">
          <p15:clr>
            <a:srgbClr val="F26B43"/>
          </p15:clr>
        </p15:guide>
        <p15:guide id="9" orient="horz" pos="336" userDrawn="1">
          <p15:clr>
            <a:srgbClr val="F26B43"/>
          </p15:clr>
        </p15:guide>
        <p15:guide id="10" orient="horz" pos="671" userDrawn="1">
          <p15:clr>
            <a:srgbClr val="F26B43"/>
          </p15:clr>
        </p15:guide>
        <p15:guide id="11" orient="horz" pos="233" userDrawn="1">
          <p15:clr>
            <a:srgbClr val="F26B43"/>
          </p15:clr>
        </p15:guide>
        <p15:guide id="12" orient="horz" pos="3967" userDrawn="1">
          <p15:clr>
            <a:srgbClr val="F26B43"/>
          </p15:clr>
        </p15:guide>
        <p15:guide id="13" orient="horz" pos="3716" userDrawn="1">
          <p15:clr>
            <a:srgbClr val="F26B43"/>
          </p15:clr>
        </p15:guide>
        <p15:guide id="14" orient="horz" pos="15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1" y="304799"/>
            <a:ext cx="9753600" cy="381001"/>
          </a:xfrm>
          <a:prstGeom prst="rect">
            <a:avLst/>
          </a:prstGeom>
        </p:spPr>
        <p:txBody>
          <a:bodyPr vert="horz" wrap="square" lIns="0" tIns="0" rIns="0" bIns="0" rtlCol="0" anchor="t" anchorCtr="0">
            <a:noAutofit/>
          </a:bodyPr>
          <a:lstStyle/>
          <a:p>
            <a:r>
              <a:rPr lang="en-US"/>
              <a:t>Slide title [28pt Arial Bold]</a:t>
            </a:r>
          </a:p>
        </p:txBody>
      </p:sp>
      <p:grpSp>
        <p:nvGrpSpPr>
          <p:cNvPr id="7" name="Group 6">
            <a:extLst>
              <a:ext uri="{FF2B5EF4-FFF2-40B4-BE49-F238E27FC236}">
                <a16:creationId xmlns:a16="http://schemas.microsoft.com/office/drawing/2014/main" id="{C54DB860-41E2-E04B-ABD0-6BA4D570E7A0}"/>
              </a:ext>
            </a:extLst>
          </p:cNvPr>
          <p:cNvGrpSpPr/>
          <p:nvPr/>
        </p:nvGrpSpPr>
        <p:grpSpPr>
          <a:xfrm>
            <a:off x="10295372" y="0"/>
            <a:ext cx="1591826" cy="694426"/>
            <a:chOff x="-20628" y="0"/>
            <a:chExt cx="2488951" cy="1085792"/>
          </a:xfrm>
        </p:grpSpPr>
        <p:sp>
          <p:nvSpPr>
            <p:cNvPr id="8" name="Parallelogram 7">
              <a:extLst>
                <a:ext uri="{FF2B5EF4-FFF2-40B4-BE49-F238E27FC236}">
                  <a16:creationId xmlns:a16="http://schemas.microsoft.com/office/drawing/2014/main" id="{A441B466-B52D-0443-BF86-D267F733A465}"/>
                </a:ext>
              </a:extLst>
            </p:cNvPr>
            <p:cNvSpPr/>
            <p:nvPr/>
          </p:nvSpPr>
          <p:spPr bwMode="auto">
            <a:xfrm>
              <a:off x="-20628" y="0"/>
              <a:ext cx="2488951" cy="1085792"/>
            </a:xfrm>
            <a:prstGeom prst="parallelogram">
              <a:avLst>
                <a:gd name="adj" fmla="val 0"/>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a:latin typeface="Arial" pitchFamily="124" charset="0"/>
                </a:rPr>
                <a:t>               </a:t>
              </a:r>
            </a:p>
          </p:txBody>
        </p:sp>
        <p:pic>
          <p:nvPicPr>
            <p:cNvPr id="9" name="Picture 8">
              <a:extLst>
                <a:ext uri="{FF2B5EF4-FFF2-40B4-BE49-F238E27FC236}">
                  <a16:creationId xmlns:a16="http://schemas.microsoft.com/office/drawing/2014/main" id="{2CE94B44-7208-0848-80E7-7165E7D106A8}"/>
                </a:ext>
              </a:extLst>
            </p:cNvPr>
            <p:cNvPicPr>
              <a:picLocks noChangeAspect="1"/>
            </p:cNvPicPr>
            <p:nvPr/>
          </p:nvPicPr>
          <p:blipFill>
            <a:blip r:embed="rId49" cstate="screen">
              <a:extLst>
                <a:ext uri="{28A0092B-C50C-407E-A947-70E740481C1C}">
                  <a14:useLocalDpi xmlns:a14="http://schemas.microsoft.com/office/drawing/2010/main"/>
                </a:ext>
              </a:extLst>
            </a:blip>
            <a:stretch>
              <a:fillRect/>
            </a:stretch>
          </p:blipFill>
          <p:spPr>
            <a:xfrm>
              <a:off x="135820" y="154984"/>
              <a:ext cx="2178058" cy="756021"/>
            </a:xfrm>
            <a:prstGeom prst="rect">
              <a:avLst/>
            </a:prstGeom>
          </p:spPr>
        </p:pic>
      </p:grpSp>
      <p:sp>
        <p:nvSpPr>
          <p:cNvPr id="17" name="Slide Number Placeholder 16">
            <a:extLst>
              <a:ext uri="{FF2B5EF4-FFF2-40B4-BE49-F238E27FC236}">
                <a16:creationId xmlns:a16="http://schemas.microsoft.com/office/drawing/2014/main" id="{F0B13DE1-DE5F-D844-BE5C-AEBBEC35CBB8}"/>
              </a:ext>
            </a:extLst>
          </p:cNvPr>
          <p:cNvSpPr>
            <a:spLocks noGrp="1"/>
          </p:cNvSpPr>
          <p:nvPr>
            <p:ph type="sldNum" sz="quarter" idx="4"/>
          </p:nvPr>
        </p:nvSpPr>
        <p:spPr>
          <a:xfrm>
            <a:off x="1" y="6553200"/>
            <a:ext cx="304799" cy="304799"/>
          </a:xfrm>
          <a:prstGeom prst="rect">
            <a:avLst/>
          </a:prstGeom>
        </p:spPr>
        <p:txBody>
          <a:bodyPr vert="horz" lIns="0" tIns="0" rIns="0" bIns="0" rtlCol="0" anchor="ctr"/>
          <a:lstStyle>
            <a:lvl1pPr algn="ctr">
              <a:defRPr sz="1000">
                <a:solidFill>
                  <a:schemeClr val="accent5"/>
                </a:solidFill>
              </a:defRPr>
            </a:lvl1pPr>
          </a:lstStyle>
          <a:p>
            <a:fld id="{89006F1E-66CD-4A4B-9370-B4A3080F0E6C}" type="slidenum">
              <a:rPr lang="en-US" smtClean="0"/>
              <a:pPr/>
              <a:t>‹#›</a:t>
            </a:fld>
            <a:endParaRPr lang="en-US"/>
          </a:p>
        </p:txBody>
      </p:sp>
      <p:sp>
        <p:nvSpPr>
          <p:cNvPr id="3" name="Footer Placeholder 2">
            <a:extLst>
              <a:ext uri="{FF2B5EF4-FFF2-40B4-BE49-F238E27FC236}">
                <a16:creationId xmlns:a16="http://schemas.microsoft.com/office/drawing/2014/main" id="{586EC55D-6678-BB4B-BDDC-58D10FF57EC3}"/>
              </a:ext>
            </a:extLst>
          </p:cNvPr>
          <p:cNvSpPr>
            <a:spLocks noGrp="1"/>
          </p:cNvSpPr>
          <p:nvPr>
            <p:ph type="ftr" sz="quarter" idx="3"/>
          </p:nvPr>
        </p:nvSpPr>
        <p:spPr>
          <a:xfrm>
            <a:off x="304799" y="6553200"/>
            <a:ext cx="5791201" cy="304799"/>
          </a:xfrm>
          <a:prstGeom prst="rect">
            <a:avLst/>
          </a:prstGeom>
        </p:spPr>
        <p:txBody>
          <a:bodyPr vert="horz" lIns="91440" tIns="45720" rIns="91440" bIns="45720" rtlCol="0" anchor="ctr"/>
          <a:lstStyle>
            <a:lvl1pPr algn="l">
              <a:defRPr lang="en-US" sz="800" kern="1200">
                <a:solidFill>
                  <a:schemeClr val="accent5"/>
                </a:solidFill>
                <a:latin typeface="+mn-lt"/>
                <a:ea typeface="+mn-ea"/>
                <a:cs typeface="+mn-cs"/>
              </a:defRPr>
            </a:lvl1pPr>
          </a:lstStyle>
          <a:p>
            <a:r>
              <a:rPr lang="en-US"/>
              <a:t>Proprietary &amp; Confidential |  authoremail@thermofisher.com | 12-April-2021</a:t>
            </a:r>
          </a:p>
        </p:txBody>
      </p:sp>
      <p:sp>
        <p:nvSpPr>
          <p:cNvPr id="4" name="Text Placeholder 3">
            <a:extLst>
              <a:ext uri="{FF2B5EF4-FFF2-40B4-BE49-F238E27FC236}">
                <a16:creationId xmlns:a16="http://schemas.microsoft.com/office/drawing/2014/main" id="{F00A9AC8-05E2-9846-9B67-40D61264EC3C}"/>
              </a:ext>
            </a:extLst>
          </p:cNvPr>
          <p:cNvSpPr>
            <a:spLocks noGrp="1"/>
          </p:cNvSpPr>
          <p:nvPr>
            <p:ph type="body" idx="1"/>
          </p:nvPr>
        </p:nvSpPr>
        <p:spPr>
          <a:xfrm>
            <a:off x="304800" y="876300"/>
            <a:ext cx="11582398" cy="53006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 </a:t>
            </a:r>
          </a:p>
          <a:p>
            <a:pPr lvl="3"/>
            <a:r>
              <a:rPr lang="en-US"/>
              <a:t>Fourth level</a:t>
            </a:r>
          </a:p>
          <a:p>
            <a:pPr lvl="4"/>
            <a:r>
              <a:rPr lang="en-US"/>
              <a:t>Fifth level</a:t>
            </a:r>
          </a:p>
        </p:txBody>
      </p:sp>
    </p:spTree>
    <p:extLst>
      <p:ext uri="{BB962C8B-B14F-4D97-AF65-F5344CB8AC3E}">
        <p14:creationId xmlns:p14="http://schemas.microsoft.com/office/powerpoint/2010/main" val="3256589703"/>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 id="2147483737" r:id="rId21"/>
    <p:sldLayoutId id="2147483738" r:id="rId22"/>
    <p:sldLayoutId id="2147483739" r:id="rId23"/>
    <p:sldLayoutId id="2147483740" r:id="rId24"/>
    <p:sldLayoutId id="2147483741" r:id="rId25"/>
    <p:sldLayoutId id="2147483742" r:id="rId26"/>
    <p:sldLayoutId id="2147483743" r:id="rId27"/>
    <p:sldLayoutId id="2147483744" r:id="rId28"/>
    <p:sldLayoutId id="2147483745" r:id="rId29"/>
    <p:sldLayoutId id="2147483746" r:id="rId30"/>
    <p:sldLayoutId id="2147483747" r:id="rId31"/>
    <p:sldLayoutId id="2147483748" r:id="rId32"/>
    <p:sldLayoutId id="2147483749" r:id="rId33"/>
    <p:sldLayoutId id="2147483750" r:id="rId34"/>
    <p:sldLayoutId id="2147483751" r:id="rId35"/>
    <p:sldLayoutId id="2147483752" r:id="rId36"/>
    <p:sldLayoutId id="2147483753" r:id="rId37"/>
    <p:sldLayoutId id="2147483754" r:id="rId38"/>
    <p:sldLayoutId id="2147483755" r:id="rId39"/>
    <p:sldLayoutId id="2147483756" r:id="rId40"/>
    <p:sldLayoutId id="2147483757" r:id="rId41"/>
    <p:sldLayoutId id="2147483758" r:id="rId42"/>
    <p:sldLayoutId id="2147483759" r:id="rId43"/>
    <p:sldLayoutId id="2147483760" r:id="rId44"/>
    <p:sldLayoutId id="2147483761" r:id="rId45"/>
    <p:sldLayoutId id="2147483762" r:id="rId46"/>
    <p:sldLayoutId id="2147483763" r:id="rId47"/>
  </p:sldLayoutIdLst>
  <p:hf hdr="0" dt="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287338" indent="-287338" algn="l" defTabSz="914400" rtl="0" eaLnBrk="1" latinLnBrk="0" hangingPunct="1">
        <a:lnSpc>
          <a:spcPct val="120000"/>
        </a:lnSpc>
        <a:spcBef>
          <a:spcPts val="200"/>
        </a:spcBef>
        <a:buClr>
          <a:schemeClr val="tx2"/>
        </a:buClr>
        <a:buSzPct val="100000"/>
        <a:buFont typeface="Arial" panose="020B0604020202020204" pitchFamily="34" charset="0"/>
        <a:buChar char="•"/>
        <a:tabLst/>
        <a:defRPr sz="2000" b="0" kern="1200">
          <a:solidFill>
            <a:schemeClr val="tx1"/>
          </a:solidFill>
          <a:latin typeface="+mn-lt"/>
          <a:ea typeface="+mn-ea"/>
          <a:cs typeface="+mn-cs"/>
        </a:defRPr>
      </a:lvl1pPr>
      <a:lvl2pPr marL="519113" marR="0" indent="-284163" algn="l" defTabSz="914400" rtl="0" eaLnBrk="1" fontAlgn="auto" latinLnBrk="0" hangingPunct="1">
        <a:lnSpc>
          <a:spcPct val="120000"/>
        </a:lnSpc>
        <a:spcBef>
          <a:spcPts val="200"/>
        </a:spcBef>
        <a:spcAft>
          <a:spcPts val="0"/>
        </a:spcAft>
        <a:buClrTx/>
        <a:buSzPct val="76000"/>
        <a:buFont typeface="Arial" panose="020B0604020202020204" pitchFamily="34" charset="0"/>
        <a:buChar char="•"/>
        <a:tabLst/>
        <a:defRPr sz="1800" b="0" kern="1200">
          <a:solidFill>
            <a:schemeClr val="tx1"/>
          </a:solidFill>
          <a:latin typeface="+mn-lt"/>
          <a:ea typeface="+mn-ea"/>
          <a:cs typeface="+mn-cs"/>
        </a:defRPr>
      </a:lvl2pPr>
      <a:lvl3pPr marL="692150" marR="0" indent="-228600"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400" b="0" kern="1200">
          <a:solidFill>
            <a:schemeClr val="tx1"/>
          </a:solidFill>
          <a:latin typeface="+mn-lt"/>
          <a:ea typeface="+mn-ea"/>
          <a:cs typeface="+mn-cs"/>
        </a:defRPr>
      </a:lvl3pPr>
      <a:lvl4pPr marL="862013" marR="0" indent="-171450"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200" b="0" kern="1200">
          <a:solidFill>
            <a:schemeClr val="tx1"/>
          </a:solidFill>
          <a:latin typeface="+mn-lt"/>
          <a:ea typeface="+mn-ea"/>
          <a:cs typeface="+mn-cs"/>
        </a:defRPr>
      </a:lvl4pPr>
      <a:lvl5pPr marL="1079500" marR="0" indent="-157163"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1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15:clr>
            <a:srgbClr val="F26B43"/>
          </p15:clr>
        </p15:guide>
        <p15:guide id="4" pos="7488">
          <p15:clr>
            <a:srgbClr val="F26B43"/>
          </p15:clr>
        </p15:guide>
        <p15:guide id="7" pos="5184">
          <p15:clr>
            <a:srgbClr val="F26B43"/>
          </p15:clr>
        </p15:guide>
        <p15:guide id="8" pos="2496">
          <p15:clr>
            <a:srgbClr val="F26B43"/>
          </p15:clr>
        </p15:guide>
        <p15:guide id="9" pos="192">
          <p15:clr>
            <a:srgbClr val="F26B43"/>
          </p15:clr>
        </p15:guide>
        <p15:guide id="10" pos="2688">
          <p15:clr>
            <a:srgbClr val="F26B43"/>
          </p15:clr>
        </p15:guide>
        <p15:guide id="11" orient="horz" pos="4128">
          <p15:clr>
            <a:srgbClr val="F26B43"/>
          </p15:clr>
        </p15:guide>
        <p15:guide id="12" pos="3840">
          <p15:clr>
            <a:srgbClr val="F26B43"/>
          </p15:clr>
        </p15:guide>
        <p15:guide id="13" pos="4992">
          <p15:clr>
            <a:srgbClr val="F26B43"/>
          </p15:clr>
        </p15:guide>
        <p15:guide id="14" orient="horz" pos="432">
          <p15:clr>
            <a:srgbClr val="F26B43"/>
          </p15:clr>
        </p15:guide>
        <p15:guide id="15" orient="horz" pos="552">
          <p15:clr>
            <a:srgbClr val="F26B43"/>
          </p15:clr>
        </p15:guide>
        <p15:guide id="16" orient="horz" pos="792">
          <p15:clr>
            <a:srgbClr val="F26B43"/>
          </p15:clr>
        </p15:guide>
        <p15:guide id="17" orient="horz" pos="912">
          <p15:clr>
            <a:srgbClr val="F26B43"/>
          </p15:clr>
        </p15:guide>
        <p15:guide id="18" pos="768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1C66F76-03C3-490E-BA34-4FB357DCE6E6}"/>
              </a:ext>
            </a:extLst>
          </p:cNvPr>
          <p:cNvGraphicFramePr>
            <a:graphicFrameLocks noChangeAspect="1"/>
          </p:cNvGraphicFramePr>
          <p:nvPr userDrawn="1">
            <p:custDataLst>
              <p:tags r:id="rId19"/>
            </p:custDataLst>
            <p:extLst>
              <p:ext uri="{D42A27DB-BD31-4B8C-83A1-F6EECF244321}">
                <p14:modId xmlns:p14="http://schemas.microsoft.com/office/powerpoint/2010/main" val="346727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95" imgH="396" progId="TCLayout.ActiveDocument.1">
                  <p:embed/>
                </p:oleObj>
              </mc:Choice>
              <mc:Fallback>
                <p:oleObj name="think-cell Slide" r:id="rId20" imgW="395" imgH="396" progId="TCLayout.ActiveDocument.1">
                  <p:embed/>
                  <p:pic>
                    <p:nvPicPr>
                      <p:cNvPr id="6" name="Object 5" hidden="1">
                        <a:extLst>
                          <a:ext uri="{FF2B5EF4-FFF2-40B4-BE49-F238E27FC236}">
                            <a16:creationId xmlns:a16="http://schemas.microsoft.com/office/drawing/2014/main" id="{21C66F76-03C3-490E-BA34-4FB357DCE6E6}"/>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04801" y="304799"/>
            <a:ext cx="9753600" cy="381001"/>
          </a:xfrm>
          <a:prstGeom prst="rect">
            <a:avLst/>
          </a:prstGeom>
        </p:spPr>
        <p:txBody>
          <a:bodyPr vert="horz" wrap="square" lIns="0" tIns="0" rIns="0" bIns="0" rtlCol="0" anchor="t" anchorCtr="0">
            <a:noAutofit/>
          </a:bodyPr>
          <a:lstStyle/>
          <a:p>
            <a:r>
              <a:rPr lang="en-US"/>
              <a:t>Slide title [28pt Arial Bold]</a:t>
            </a:r>
          </a:p>
        </p:txBody>
      </p:sp>
      <p:grpSp>
        <p:nvGrpSpPr>
          <p:cNvPr id="7" name="Group 6">
            <a:extLst>
              <a:ext uri="{FF2B5EF4-FFF2-40B4-BE49-F238E27FC236}">
                <a16:creationId xmlns:a16="http://schemas.microsoft.com/office/drawing/2014/main" id="{C54DB860-41E2-E04B-ABD0-6BA4D570E7A0}"/>
              </a:ext>
            </a:extLst>
          </p:cNvPr>
          <p:cNvGrpSpPr/>
          <p:nvPr userDrawn="1"/>
        </p:nvGrpSpPr>
        <p:grpSpPr>
          <a:xfrm>
            <a:off x="10295372" y="0"/>
            <a:ext cx="1591826" cy="694426"/>
            <a:chOff x="-20628" y="0"/>
            <a:chExt cx="2488951" cy="1085792"/>
          </a:xfrm>
        </p:grpSpPr>
        <p:sp>
          <p:nvSpPr>
            <p:cNvPr id="8" name="Parallelogram 7">
              <a:extLst>
                <a:ext uri="{FF2B5EF4-FFF2-40B4-BE49-F238E27FC236}">
                  <a16:creationId xmlns:a16="http://schemas.microsoft.com/office/drawing/2014/main" id="{A441B466-B52D-0443-BF86-D267F733A465}"/>
                </a:ext>
              </a:extLst>
            </p:cNvPr>
            <p:cNvSpPr/>
            <p:nvPr userDrawn="1"/>
          </p:nvSpPr>
          <p:spPr bwMode="auto">
            <a:xfrm>
              <a:off x="-20628" y="0"/>
              <a:ext cx="2488951" cy="1085792"/>
            </a:xfrm>
            <a:prstGeom prst="parallelogram">
              <a:avLst>
                <a:gd name="adj" fmla="val 0"/>
              </a:avLst>
            </a:prstGeom>
            <a:solidFill>
              <a:srgbClr val="E7131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a:latin typeface="Arial" pitchFamily="124" charset="0"/>
                </a:rPr>
                <a:t>               </a:t>
              </a:r>
            </a:p>
          </p:txBody>
        </p:sp>
        <p:pic>
          <p:nvPicPr>
            <p:cNvPr id="9" name="Picture 8">
              <a:extLst>
                <a:ext uri="{FF2B5EF4-FFF2-40B4-BE49-F238E27FC236}">
                  <a16:creationId xmlns:a16="http://schemas.microsoft.com/office/drawing/2014/main" id="{2CE94B44-7208-0848-80E7-7165E7D106A8}"/>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135820" y="154984"/>
              <a:ext cx="2178058" cy="756021"/>
            </a:xfrm>
            <a:prstGeom prst="rect">
              <a:avLst/>
            </a:prstGeom>
          </p:spPr>
        </p:pic>
      </p:grpSp>
      <p:sp>
        <p:nvSpPr>
          <p:cNvPr id="17" name="Slide Number Placeholder 16">
            <a:extLst>
              <a:ext uri="{FF2B5EF4-FFF2-40B4-BE49-F238E27FC236}">
                <a16:creationId xmlns:a16="http://schemas.microsoft.com/office/drawing/2014/main" id="{F0B13DE1-DE5F-D844-BE5C-AEBBEC35CBB8}"/>
              </a:ext>
            </a:extLst>
          </p:cNvPr>
          <p:cNvSpPr>
            <a:spLocks noGrp="1"/>
          </p:cNvSpPr>
          <p:nvPr>
            <p:ph type="sldNum" sz="quarter" idx="4"/>
          </p:nvPr>
        </p:nvSpPr>
        <p:spPr>
          <a:xfrm>
            <a:off x="1" y="6553200"/>
            <a:ext cx="304799" cy="304799"/>
          </a:xfrm>
          <a:prstGeom prst="rect">
            <a:avLst/>
          </a:prstGeom>
        </p:spPr>
        <p:txBody>
          <a:bodyPr vert="horz" lIns="0" tIns="0" rIns="0" bIns="0" rtlCol="0" anchor="ctr"/>
          <a:lstStyle>
            <a:lvl1pPr algn="ctr">
              <a:defRPr sz="1000">
                <a:solidFill>
                  <a:schemeClr val="accent5"/>
                </a:solidFill>
              </a:defRPr>
            </a:lvl1pPr>
          </a:lstStyle>
          <a:p>
            <a:fld id="{89006F1E-66CD-4A4B-9370-B4A3080F0E6C}" type="slidenum">
              <a:rPr lang="en-US" smtClean="0"/>
              <a:pPr/>
              <a:t>‹#›</a:t>
            </a:fld>
            <a:endParaRPr lang="en-US"/>
          </a:p>
        </p:txBody>
      </p:sp>
      <p:sp>
        <p:nvSpPr>
          <p:cNvPr id="3" name="Footer Placeholder 2">
            <a:extLst>
              <a:ext uri="{FF2B5EF4-FFF2-40B4-BE49-F238E27FC236}">
                <a16:creationId xmlns:a16="http://schemas.microsoft.com/office/drawing/2014/main" id="{586EC55D-6678-BB4B-BDDC-58D10FF57EC3}"/>
              </a:ext>
            </a:extLst>
          </p:cNvPr>
          <p:cNvSpPr>
            <a:spLocks noGrp="1"/>
          </p:cNvSpPr>
          <p:nvPr>
            <p:ph type="ftr" sz="quarter" idx="3"/>
          </p:nvPr>
        </p:nvSpPr>
        <p:spPr>
          <a:xfrm>
            <a:off x="304799" y="6553200"/>
            <a:ext cx="7620001" cy="304799"/>
          </a:xfrm>
          <a:prstGeom prst="rect">
            <a:avLst/>
          </a:prstGeom>
        </p:spPr>
        <p:txBody>
          <a:bodyPr vert="horz" lIns="91440" tIns="45720" rIns="91440" bIns="45720" rtlCol="0" anchor="ctr"/>
          <a:lstStyle>
            <a:lvl1pPr algn="l">
              <a:defRPr lang="en-US" sz="800" kern="1200">
                <a:solidFill>
                  <a:schemeClr val="accent5"/>
                </a:solidFill>
                <a:latin typeface="+mn-lt"/>
                <a:ea typeface="+mn-ea"/>
                <a:cs typeface="+mn-cs"/>
              </a:defRPr>
            </a:lvl1pPr>
          </a:lstStyle>
          <a:p>
            <a:r>
              <a:rPr lang="en-US"/>
              <a:t>Proprietary &amp; Confidential | Molecular Biology STRAP | XX-April-2021</a:t>
            </a:r>
          </a:p>
        </p:txBody>
      </p:sp>
      <p:sp>
        <p:nvSpPr>
          <p:cNvPr id="4" name="Text Placeholder 3">
            <a:extLst>
              <a:ext uri="{FF2B5EF4-FFF2-40B4-BE49-F238E27FC236}">
                <a16:creationId xmlns:a16="http://schemas.microsoft.com/office/drawing/2014/main" id="{F00A9AC8-05E2-9846-9B67-40D61264EC3C}"/>
              </a:ext>
            </a:extLst>
          </p:cNvPr>
          <p:cNvSpPr>
            <a:spLocks noGrp="1"/>
          </p:cNvSpPr>
          <p:nvPr>
            <p:ph type="body" idx="1"/>
          </p:nvPr>
        </p:nvSpPr>
        <p:spPr>
          <a:xfrm>
            <a:off x="304800" y="876300"/>
            <a:ext cx="11582398" cy="53006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 </a:t>
            </a:r>
          </a:p>
          <a:p>
            <a:pPr lvl="3"/>
            <a:r>
              <a:rPr lang="en-US"/>
              <a:t>Fourth level</a:t>
            </a:r>
          </a:p>
          <a:p>
            <a:pPr lvl="4"/>
            <a:r>
              <a:rPr lang="en-US"/>
              <a:t>Fifth level</a:t>
            </a:r>
          </a:p>
        </p:txBody>
      </p:sp>
    </p:spTree>
    <p:extLst>
      <p:ext uri="{BB962C8B-B14F-4D97-AF65-F5344CB8AC3E}">
        <p14:creationId xmlns:p14="http://schemas.microsoft.com/office/powerpoint/2010/main" val="1732885182"/>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 id="2147483777" r:id="rId12"/>
    <p:sldLayoutId id="2147483778" r:id="rId13"/>
    <p:sldLayoutId id="2147483779" r:id="rId14"/>
    <p:sldLayoutId id="2147483780" r:id="rId15"/>
    <p:sldLayoutId id="2147483781" r:id="rId16"/>
    <p:sldLayoutId id="2147483782" r:id="rId17"/>
  </p:sldLayoutIdLst>
  <p:hf hdr="0" dt="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342900" indent="-342900" algn="l" defTabSz="914400" rtl="0" eaLnBrk="1" latinLnBrk="0" hangingPunct="1">
        <a:lnSpc>
          <a:spcPct val="120000"/>
        </a:lnSpc>
        <a:spcBef>
          <a:spcPts val="200"/>
        </a:spcBef>
        <a:buClr>
          <a:schemeClr val="tx2"/>
        </a:buClr>
        <a:buSzPct val="100000"/>
        <a:buFont typeface="Arial" panose="020B0604020202020204" pitchFamily="34" charset="0"/>
        <a:buChar char="•"/>
        <a:tabLst/>
        <a:defRPr sz="2000" b="0" kern="1200">
          <a:solidFill>
            <a:schemeClr val="tx1"/>
          </a:solidFill>
          <a:latin typeface="+mn-lt"/>
          <a:ea typeface="+mn-ea"/>
          <a:cs typeface="+mn-cs"/>
        </a:defRPr>
      </a:lvl1pPr>
      <a:lvl2pPr marL="520700" marR="0" indent="-285750" algn="l" defTabSz="914400" rtl="0" eaLnBrk="1" fontAlgn="auto" latinLnBrk="0" hangingPunct="1">
        <a:lnSpc>
          <a:spcPct val="120000"/>
        </a:lnSpc>
        <a:spcBef>
          <a:spcPts val="200"/>
        </a:spcBef>
        <a:spcAft>
          <a:spcPts val="0"/>
        </a:spcAft>
        <a:buClrTx/>
        <a:buSzPct val="76000"/>
        <a:buFont typeface="Arial" panose="020B0604020202020204" pitchFamily="34" charset="0"/>
        <a:buChar char="•"/>
        <a:tabLst/>
        <a:defRPr sz="1800" b="0" kern="1200">
          <a:solidFill>
            <a:schemeClr val="tx1"/>
          </a:solidFill>
          <a:latin typeface="+mn-lt"/>
          <a:ea typeface="+mn-ea"/>
          <a:cs typeface="+mn-cs"/>
        </a:defRPr>
      </a:lvl2pPr>
      <a:lvl3pPr marL="749300" marR="0" indent="-285750"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400" b="0" kern="1200">
          <a:solidFill>
            <a:schemeClr val="tx1"/>
          </a:solidFill>
          <a:latin typeface="+mn-lt"/>
          <a:ea typeface="+mn-ea"/>
          <a:cs typeface="+mn-cs"/>
        </a:defRPr>
      </a:lvl3pPr>
      <a:lvl4pPr marL="862013" marR="0" indent="-171450"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200" b="0" kern="1200">
          <a:solidFill>
            <a:schemeClr val="tx1"/>
          </a:solidFill>
          <a:latin typeface="+mn-lt"/>
          <a:ea typeface="+mn-ea"/>
          <a:cs typeface="+mn-cs"/>
        </a:defRPr>
      </a:lvl4pPr>
      <a:lvl5pPr marL="1093787" marR="0" indent="-171450"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1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15:clr>
            <a:srgbClr val="F26B43"/>
          </p15:clr>
        </p15:guide>
        <p15:guide id="4" pos="7488">
          <p15:clr>
            <a:srgbClr val="F26B43"/>
          </p15:clr>
        </p15:guide>
        <p15:guide id="7" pos="5184">
          <p15:clr>
            <a:srgbClr val="F26B43"/>
          </p15:clr>
        </p15:guide>
        <p15:guide id="8" pos="2496">
          <p15:clr>
            <a:srgbClr val="F26B43"/>
          </p15:clr>
        </p15:guide>
        <p15:guide id="9" pos="192">
          <p15:clr>
            <a:srgbClr val="F26B43"/>
          </p15:clr>
        </p15:guide>
        <p15:guide id="10" pos="2688">
          <p15:clr>
            <a:srgbClr val="F26B43"/>
          </p15:clr>
        </p15:guide>
        <p15:guide id="11" orient="horz" pos="4128">
          <p15:clr>
            <a:srgbClr val="F26B43"/>
          </p15:clr>
        </p15:guide>
        <p15:guide id="12" pos="3840">
          <p15:clr>
            <a:srgbClr val="F26B43"/>
          </p15:clr>
        </p15:guide>
        <p15:guide id="13" pos="4992">
          <p15:clr>
            <a:srgbClr val="F26B43"/>
          </p15:clr>
        </p15:guide>
        <p15:guide id="14" orient="horz" pos="432">
          <p15:clr>
            <a:srgbClr val="F26B43"/>
          </p15:clr>
        </p15:guide>
        <p15:guide id="15" orient="horz" pos="552">
          <p15:clr>
            <a:srgbClr val="F26B43"/>
          </p15:clr>
        </p15:guide>
        <p15:guide id="16" orient="horz" pos="792">
          <p15:clr>
            <a:srgbClr val="F26B43"/>
          </p15:clr>
        </p15:guide>
        <p15:guide id="17" orient="horz" pos="91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13.xml.rels><?xml version="1.0" encoding="UTF-8" standalone="yes"?>
<Relationships xmlns="http://schemas.openxmlformats.org/package/2006/relationships"><Relationship Id="rId2" Type="http://schemas.openxmlformats.org/officeDocument/2006/relationships/hyperlink" Target="https://en.wikipedia.org/wiki/Polymerase_chain_reaction" TargetMode="Externa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64.jpeg"/><Relationship Id="rId13" Type="http://schemas.openxmlformats.org/officeDocument/2006/relationships/image" Target="../media/image68.jpeg"/><Relationship Id="rId3" Type="http://schemas.openxmlformats.org/officeDocument/2006/relationships/image" Target="../media/image59.jpeg"/><Relationship Id="rId7" Type="http://schemas.openxmlformats.org/officeDocument/2006/relationships/image" Target="../media/image63.png"/><Relationship Id="rId12" Type="http://schemas.openxmlformats.org/officeDocument/2006/relationships/image" Target="../media/image67.jpeg"/><Relationship Id="rId2" Type="http://schemas.openxmlformats.org/officeDocument/2006/relationships/hyperlink" Target="https://www.youtube.com/watch?v=Nl6eLez3CNI" TargetMode="External"/><Relationship Id="rId1" Type="http://schemas.openxmlformats.org/officeDocument/2006/relationships/slideLayout" Target="../slideLayouts/slideLayout2.xml"/><Relationship Id="rId6" Type="http://schemas.openxmlformats.org/officeDocument/2006/relationships/image" Target="../media/image62.png"/><Relationship Id="rId11" Type="http://schemas.microsoft.com/office/2007/relationships/hdphoto" Target="../media/hdphoto2.wdp"/><Relationship Id="rId5" Type="http://schemas.openxmlformats.org/officeDocument/2006/relationships/image" Target="../media/image61.png"/><Relationship Id="rId10" Type="http://schemas.openxmlformats.org/officeDocument/2006/relationships/image" Target="../media/image66.png"/><Relationship Id="rId4" Type="http://schemas.openxmlformats.org/officeDocument/2006/relationships/image" Target="../media/image60.png"/><Relationship Id="rId9" Type="http://schemas.openxmlformats.org/officeDocument/2006/relationships/image" Target="../media/image65.jpeg"/><Relationship Id="rId14" Type="http://schemas.openxmlformats.org/officeDocument/2006/relationships/image" Target="../media/image69.jpeg"/></Relationships>
</file>

<file path=ppt/slides/_rels/slide4.xml.rels><?xml version="1.0" encoding="UTF-8" standalone="yes"?>
<Relationships xmlns="http://schemas.openxmlformats.org/package/2006/relationships"><Relationship Id="rId3" Type="http://schemas.openxmlformats.org/officeDocument/2006/relationships/image" Target="../media/image60.png"/><Relationship Id="rId7" Type="http://schemas.openxmlformats.org/officeDocument/2006/relationships/image" Target="../media/image64.jpeg"/><Relationship Id="rId2" Type="http://schemas.openxmlformats.org/officeDocument/2006/relationships/image" Target="../media/image59.jpeg"/><Relationship Id="rId1" Type="http://schemas.openxmlformats.org/officeDocument/2006/relationships/slideLayout" Target="../slideLayouts/slideLayout3.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image" Target="../media/image70.png"/><Relationship Id="rId7" Type="http://schemas.openxmlformats.org/officeDocument/2006/relationships/image" Target="../media/image74.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73.png"/><Relationship Id="rId11" Type="http://schemas.openxmlformats.org/officeDocument/2006/relationships/image" Target="../media/image78.jpeg"/><Relationship Id="rId5" Type="http://schemas.openxmlformats.org/officeDocument/2006/relationships/image" Target="../media/image72.png"/><Relationship Id="rId10" Type="http://schemas.openxmlformats.org/officeDocument/2006/relationships/image" Target="../media/image77.png"/><Relationship Id="rId4" Type="http://schemas.openxmlformats.org/officeDocument/2006/relationships/image" Target="../media/image71.png"/><Relationship Id="rId9" Type="http://schemas.openxmlformats.org/officeDocument/2006/relationships/image" Target="../media/image76.png"/></Relationships>
</file>

<file path=ppt/slides/_rels/slide9.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image" Target="../media/image79.png"/><Relationship Id="rId1" Type="http://schemas.openxmlformats.org/officeDocument/2006/relationships/slideLayout" Target="../slideLayouts/slideLayout2.xml"/><Relationship Id="rId4" Type="http://schemas.openxmlformats.org/officeDocument/2006/relationships/image" Target="../media/image8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946401" y="3429004"/>
            <a:ext cx="7852664" cy="1864765"/>
          </a:xfrm>
        </p:spPr>
        <p:txBody>
          <a:bodyPr/>
          <a:lstStyle/>
          <a:p>
            <a:r>
              <a:rPr lang="en-US" dirty="0">
                <a:ea typeface="ＭＳ Ｐゴシック"/>
              </a:rPr>
              <a:t>End-Point PCR Hackathon Introduction </a:t>
            </a:r>
            <a:endParaRPr lang="en-US" dirty="0"/>
          </a:p>
        </p:txBody>
      </p:sp>
    </p:spTree>
    <p:extLst>
      <p:ext uri="{BB962C8B-B14F-4D97-AF65-F5344CB8AC3E}">
        <p14:creationId xmlns:p14="http://schemas.microsoft.com/office/powerpoint/2010/main" val="75919310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5361B01-BD17-4CA8-9F5B-0A2826BB2B79}"/>
              </a:ext>
            </a:extLst>
          </p:cNvPr>
          <p:cNvSpPr>
            <a:spLocks noGrp="1"/>
          </p:cNvSpPr>
          <p:nvPr>
            <p:ph idx="1"/>
          </p:nvPr>
        </p:nvSpPr>
        <p:spPr>
          <a:xfrm>
            <a:off x="311150" y="769942"/>
            <a:ext cx="11569700" cy="4833937"/>
          </a:xfrm>
        </p:spPr>
        <p:txBody>
          <a:bodyPr/>
          <a:lstStyle/>
          <a:p>
            <a:r>
              <a:rPr lang="en-US" sz="1600" dirty="0"/>
              <a:t>Sales transaction data from 2017 – 2020 full year, 2021 H1 (Quarter 1 and 2) </a:t>
            </a:r>
          </a:p>
          <a:p>
            <a:r>
              <a:rPr lang="en-US" sz="1600" dirty="0"/>
              <a:t>Covers the following DSR Product Grouping: think of the pans, ovens, eggs, butter, flour</a:t>
            </a:r>
          </a:p>
          <a:p>
            <a:pPr lvl="1"/>
            <a:r>
              <a:rPr lang="en-US" sz="1400" dirty="0"/>
              <a:t>TC &amp; Plastics </a:t>
            </a:r>
          </a:p>
          <a:p>
            <a:pPr lvl="1"/>
            <a:r>
              <a:rPr lang="en-US" sz="1400" dirty="0"/>
              <a:t>EPCR Reagents</a:t>
            </a:r>
          </a:p>
          <a:p>
            <a:pPr lvl="1"/>
            <a:r>
              <a:rPr lang="en-US" sz="1400" dirty="0"/>
              <a:t>QPCR Instruments/COVID (GSD)</a:t>
            </a:r>
          </a:p>
          <a:p>
            <a:pPr lvl="1"/>
            <a:r>
              <a:rPr lang="en-US" sz="1400" dirty="0"/>
              <a:t>Mol Tools</a:t>
            </a:r>
          </a:p>
          <a:p>
            <a:pPr lvl="1"/>
            <a:r>
              <a:rPr lang="en-US" sz="1400" dirty="0"/>
              <a:t>Molecular Diagnostics </a:t>
            </a:r>
          </a:p>
          <a:p>
            <a:r>
              <a:rPr lang="en-US" sz="1600" dirty="0"/>
              <a:t>Accessory files</a:t>
            </a:r>
          </a:p>
          <a:p>
            <a:pPr lvl="1"/>
            <a:r>
              <a:rPr lang="en-US" sz="1400" dirty="0"/>
              <a:t>Consult the “data dictionary_d1_20210823” for explanation of column labels </a:t>
            </a:r>
          </a:p>
          <a:p>
            <a:pPr lvl="1"/>
            <a:r>
              <a:rPr lang="en-US" sz="1400" dirty="0"/>
              <a:t>Additional data key </a:t>
            </a:r>
          </a:p>
          <a:p>
            <a:pPr lvl="1"/>
            <a:r>
              <a:rPr lang="en-US" sz="1400" dirty="0"/>
              <a:t>Training set of data for customer segments and successful companies</a:t>
            </a:r>
          </a:p>
          <a:p>
            <a:r>
              <a:rPr lang="en-US" sz="1600" dirty="0"/>
              <a:t>Communication</a:t>
            </a:r>
          </a:p>
          <a:p>
            <a:pPr lvl="1"/>
            <a:r>
              <a:rPr lang="en-US" sz="1400" dirty="0" err="1"/>
              <a:t>Hackaton</a:t>
            </a:r>
            <a:r>
              <a:rPr lang="en-US" sz="1400" dirty="0"/>
              <a:t> chat to have your questions answered</a:t>
            </a:r>
          </a:p>
          <a:p>
            <a:pPr lvl="1"/>
            <a:r>
              <a:rPr lang="en-US" sz="1400" dirty="0"/>
              <a:t>Office hours with KOLs</a:t>
            </a:r>
          </a:p>
          <a:p>
            <a:endParaRPr lang="en-US" sz="1600" dirty="0"/>
          </a:p>
        </p:txBody>
      </p:sp>
      <p:sp>
        <p:nvSpPr>
          <p:cNvPr id="3" name="Title 2">
            <a:extLst>
              <a:ext uri="{FF2B5EF4-FFF2-40B4-BE49-F238E27FC236}">
                <a16:creationId xmlns:a16="http://schemas.microsoft.com/office/drawing/2014/main" id="{C3F93856-B665-4A09-8CF7-BA4F640DA682}"/>
              </a:ext>
            </a:extLst>
          </p:cNvPr>
          <p:cNvSpPr>
            <a:spLocks noGrp="1"/>
          </p:cNvSpPr>
          <p:nvPr>
            <p:ph type="title"/>
          </p:nvPr>
        </p:nvSpPr>
        <p:spPr/>
        <p:txBody>
          <a:bodyPr/>
          <a:lstStyle/>
          <a:p>
            <a:r>
              <a:rPr lang="en-US" dirty="0"/>
              <a:t>Dataset </a:t>
            </a:r>
          </a:p>
        </p:txBody>
      </p:sp>
    </p:spTree>
    <p:extLst>
      <p:ext uri="{BB962C8B-B14F-4D97-AF65-F5344CB8AC3E}">
        <p14:creationId xmlns:p14="http://schemas.microsoft.com/office/powerpoint/2010/main" val="368166347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EE6A58B-E140-4793-A6EE-530AC9118786}"/>
              </a:ext>
            </a:extLst>
          </p:cNvPr>
          <p:cNvSpPr>
            <a:spLocks noGrp="1"/>
          </p:cNvSpPr>
          <p:nvPr>
            <p:ph idx="1"/>
          </p:nvPr>
        </p:nvSpPr>
        <p:spPr/>
        <p:txBody>
          <a:bodyPr/>
          <a:lstStyle/>
          <a:p>
            <a:r>
              <a:rPr lang="en-US" dirty="0"/>
              <a:t>Duration: 3 weeks</a:t>
            </a:r>
          </a:p>
          <a:p>
            <a:r>
              <a:rPr lang="en-US" dirty="0"/>
              <a:t>Team: 2-4 people</a:t>
            </a:r>
          </a:p>
          <a:p>
            <a:r>
              <a:rPr lang="en-US" dirty="0"/>
              <a:t>Teams will present to panel of judges from Molecular Biology leadership team</a:t>
            </a:r>
          </a:p>
          <a:p>
            <a:pPr lvl="1"/>
            <a:r>
              <a:rPr lang="en-US" dirty="0"/>
              <a:t>Business: Business Leaders </a:t>
            </a:r>
          </a:p>
          <a:p>
            <a:pPr lvl="1"/>
            <a:r>
              <a:rPr lang="en-US" dirty="0"/>
              <a:t>Technical: Chris Bishop</a:t>
            </a:r>
          </a:p>
          <a:p>
            <a:pPr marL="360363" indent="-342900"/>
            <a:r>
              <a:rPr lang="en-US" dirty="0"/>
              <a:t>Start: September 20</a:t>
            </a:r>
            <a:r>
              <a:rPr lang="en-US" baseline="30000" dirty="0"/>
              <a:t>th</a:t>
            </a:r>
            <a:endParaRPr lang="en-US" dirty="0"/>
          </a:p>
          <a:p>
            <a:r>
              <a:rPr lang="en-US" dirty="0"/>
              <a:t>BIG Prize</a:t>
            </a:r>
          </a:p>
          <a:p>
            <a:pPr lvl="1"/>
            <a:r>
              <a:rPr lang="en-US" dirty="0"/>
              <a:t>First place team: $2,000</a:t>
            </a:r>
          </a:p>
          <a:p>
            <a:pPr lvl="1"/>
            <a:r>
              <a:rPr lang="en-US" dirty="0"/>
              <a:t>Second place team: $1,000</a:t>
            </a:r>
          </a:p>
        </p:txBody>
      </p:sp>
      <p:sp>
        <p:nvSpPr>
          <p:cNvPr id="3" name="Title 2">
            <a:extLst>
              <a:ext uri="{FF2B5EF4-FFF2-40B4-BE49-F238E27FC236}">
                <a16:creationId xmlns:a16="http://schemas.microsoft.com/office/drawing/2014/main" id="{8A84A0DD-C47B-489B-AF4F-C667B3C09B9D}"/>
              </a:ext>
            </a:extLst>
          </p:cNvPr>
          <p:cNvSpPr>
            <a:spLocks noGrp="1"/>
          </p:cNvSpPr>
          <p:nvPr>
            <p:ph type="title"/>
          </p:nvPr>
        </p:nvSpPr>
        <p:spPr/>
        <p:txBody>
          <a:bodyPr/>
          <a:lstStyle/>
          <a:p>
            <a:r>
              <a:rPr lang="en-US" dirty="0"/>
              <a:t>Hackathon Details</a:t>
            </a:r>
          </a:p>
        </p:txBody>
      </p:sp>
    </p:spTree>
    <p:extLst>
      <p:ext uri="{BB962C8B-B14F-4D97-AF65-F5344CB8AC3E}">
        <p14:creationId xmlns:p14="http://schemas.microsoft.com/office/powerpoint/2010/main" val="381272377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04A918-8C76-48F4-B0F8-770B9CF2BC42}"/>
              </a:ext>
            </a:extLst>
          </p:cNvPr>
          <p:cNvSpPr>
            <a:spLocks noGrp="1"/>
          </p:cNvSpPr>
          <p:nvPr>
            <p:ph type="title"/>
          </p:nvPr>
        </p:nvSpPr>
        <p:spPr/>
        <p:txBody>
          <a:bodyPr/>
          <a:lstStyle/>
          <a:p>
            <a:r>
              <a:rPr lang="en-US" dirty="0"/>
              <a:t>Appendix</a:t>
            </a:r>
          </a:p>
        </p:txBody>
      </p:sp>
      <p:sp>
        <p:nvSpPr>
          <p:cNvPr id="3" name="Text Placeholder 2">
            <a:extLst>
              <a:ext uri="{FF2B5EF4-FFF2-40B4-BE49-F238E27FC236}">
                <a16:creationId xmlns:a16="http://schemas.microsoft.com/office/drawing/2014/main" id="{11F000F8-72B6-4594-A89F-EF51D359A31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0542B9F-5AD3-40E8-84BC-4692BB0B76A3}"/>
              </a:ext>
            </a:extLst>
          </p:cNvPr>
          <p:cNvSpPr>
            <a:spLocks noGrp="1"/>
          </p:cNvSpPr>
          <p:nvPr>
            <p:ph type="sldNum" sz="quarter" idx="12"/>
          </p:nvPr>
        </p:nvSpPr>
        <p:spPr/>
        <p:txBody>
          <a:bodyPr/>
          <a:lstStyle/>
          <a:p>
            <a:fld id="{8293A430-8B18-4F0D-B36E-DE6C33CC0A5A}" type="slidenum">
              <a:rPr lang="en-US" smtClean="0"/>
              <a:pPr/>
              <a:t>12</a:t>
            </a:fld>
            <a:endParaRPr lang="en-US"/>
          </a:p>
        </p:txBody>
      </p:sp>
    </p:spTree>
    <p:extLst>
      <p:ext uri="{BB962C8B-B14F-4D97-AF65-F5344CB8AC3E}">
        <p14:creationId xmlns:p14="http://schemas.microsoft.com/office/powerpoint/2010/main" val="7114277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F93395-6A75-4467-AECC-1745E850FAC9}"/>
              </a:ext>
            </a:extLst>
          </p:cNvPr>
          <p:cNvSpPr>
            <a:spLocks noGrp="1"/>
          </p:cNvSpPr>
          <p:nvPr>
            <p:ph type="title"/>
          </p:nvPr>
        </p:nvSpPr>
        <p:spPr/>
        <p:txBody>
          <a:bodyPr/>
          <a:lstStyle/>
          <a:p>
            <a:r>
              <a:rPr lang="en-US" dirty="0"/>
              <a:t>Dictionary of Terms</a:t>
            </a:r>
          </a:p>
        </p:txBody>
      </p:sp>
      <p:graphicFrame>
        <p:nvGraphicFramePr>
          <p:cNvPr id="3" name="Table 3">
            <a:extLst>
              <a:ext uri="{FF2B5EF4-FFF2-40B4-BE49-F238E27FC236}">
                <a16:creationId xmlns:a16="http://schemas.microsoft.com/office/drawing/2014/main" id="{27AE94FB-0AA5-4AE9-A243-512280AE28C7}"/>
              </a:ext>
            </a:extLst>
          </p:cNvPr>
          <p:cNvGraphicFramePr>
            <a:graphicFrameLocks noGrp="1"/>
          </p:cNvGraphicFramePr>
          <p:nvPr>
            <p:extLst>
              <p:ext uri="{D42A27DB-BD31-4B8C-83A1-F6EECF244321}">
                <p14:modId xmlns:p14="http://schemas.microsoft.com/office/powerpoint/2010/main" val="245755531"/>
              </p:ext>
            </p:extLst>
          </p:nvPr>
        </p:nvGraphicFramePr>
        <p:xfrm>
          <a:off x="0" y="533400"/>
          <a:ext cx="12192000" cy="5754912"/>
        </p:xfrm>
        <a:graphic>
          <a:graphicData uri="http://schemas.openxmlformats.org/drawingml/2006/table">
            <a:tbl>
              <a:tblPr firstRow="1" bandRow="1">
                <a:tableStyleId>{5C22544A-7EE6-4342-B048-85BDC9FD1C3A}</a:tableStyleId>
              </a:tblPr>
              <a:tblGrid>
                <a:gridCol w="1944210">
                  <a:extLst>
                    <a:ext uri="{9D8B030D-6E8A-4147-A177-3AD203B41FA5}">
                      <a16:colId xmlns:a16="http://schemas.microsoft.com/office/drawing/2014/main" val="2737156176"/>
                    </a:ext>
                  </a:extLst>
                </a:gridCol>
                <a:gridCol w="4554244">
                  <a:extLst>
                    <a:ext uri="{9D8B030D-6E8A-4147-A177-3AD203B41FA5}">
                      <a16:colId xmlns:a16="http://schemas.microsoft.com/office/drawing/2014/main" val="2538882810"/>
                    </a:ext>
                  </a:extLst>
                </a:gridCol>
                <a:gridCol w="5693546">
                  <a:extLst>
                    <a:ext uri="{9D8B030D-6E8A-4147-A177-3AD203B41FA5}">
                      <a16:colId xmlns:a16="http://schemas.microsoft.com/office/drawing/2014/main" val="1858816937"/>
                    </a:ext>
                  </a:extLst>
                </a:gridCol>
              </a:tblGrid>
              <a:tr h="225818">
                <a:tc>
                  <a:txBody>
                    <a:bodyPr/>
                    <a:lstStyle/>
                    <a:p>
                      <a:r>
                        <a:rPr lang="en-US" sz="800" dirty="0"/>
                        <a:t>Term</a:t>
                      </a:r>
                    </a:p>
                  </a:txBody>
                  <a:tcPr/>
                </a:tc>
                <a:tc>
                  <a:txBody>
                    <a:bodyPr/>
                    <a:lstStyle/>
                    <a:p>
                      <a:r>
                        <a:rPr lang="en-US" sz="800" dirty="0"/>
                        <a:t>Explanation</a:t>
                      </a:r>
                    </a:p>
                  </a:txBody>
                  <a:tcPr/>
                </a:tc>
                <a:tc>
                  <a:txBody>
                    <a:bodyPr/>
                    <a:lstStyle/>
                    <a:p>
                      <a:r>
                        <a:rPr lang="en-US" sz="800" dirty="0"/>
                        <a:t>Further resources</a:t>
                      </a:r>
                    </a:p>
                  </a:txBody>
                  <a:tcPr/>
                </a:tc>
                <a:extLst>
                  <a:ext uri="{0D108BD9-81ED-4DB2-BD59-A6C34878D82A}">
                    <a16:rowId xmlns:a16="http://schemas.microsoft.com/office/drawing/2014/main" val="3580183880"/>
                  </a:ext>
                </a:extLst>
              </a:tr>
              <a:tr h="225818">
                <a:tc>
                  <a:txBody>
                    <a:bodyPr/>
                    <a:lstStyle/>
                    <a:p>
                      <a:r>
                        <a:rPr lang="en-US" sz="800" dirty="0"/>
                        <a:t>PCR</a:t>
                      </a:r>
                    </a:p>
                  </a:txBody>
                  <a:tcPr/>
                </a:tc>
                <a:tc>
                  <a:txBody>
                    <a:bodyPr/>
                    <a:lstStyle/>
                    <a:p>
                      <a:r>
                        <a:rPr lang="en-US" sz="800" dirty="0"/>
                        <a:t>Polymerase Chain Reaction (PCR). Molecular biology technique used by scientists to make a lot of genetic material (RNA or DNA)</a:t>
                      </a:r>
                    </a:p>
                  </a:txBody>
                  <a:tcPr/>
                </a:tc>
                <a:tc>
                  <a:txBody>
                    <a:bodyPr/>
                    <a:lstStyle/>
                    <a:p>
                      <a:r>
                        <a:rPr lang="en-US" sz="800" dirty="0">
                          <a:hlinkClick r:id="rId2"/>
                        </a:rPr>
                        <a:t>https://en.wikipedia.org/wiki/Polymerase_chain_reaction</a:t>
                      </a:r>
                      <a:endParaRPr lang="en-US" sz="800" dirty="0"/>
                    </a:p>
                    <a:p>
                      <a:r>
                        <a:rPr lang="en-US" sz="800" dirty="0"/>
                        <a:t>https://www.youtube.com/watch?v=uKeMiAZ8Zu4</a:t>
                      </a:r>
                    </a:p>
                  </a:txBody>
                  <a:tcPr/>
                </a:tc>
                <a:extLst>
                  <a:ext uri="{0D108BD9-81ED-4DB2-BD59-A6C34878D82A}">
                    <a16:rowId xmlns:a16="http://schemas.microsoft.com/office/drawing/2014/main" val="633590922"/>
                  </a:ext>
                </a:extLst>
              </a:tr>
              <a:tr h="225818">
                <a:tc>
                  <a:txBody>
                    <a:bodyPr/>
                    <a:lstStyle/>
                    <a:p>
                      <a:endParaRPr lang="en-US" sz="800" dirty="0"/>
                    </a:p>
                  </a:txBody>
                  <a:tcPr/>
                </a:tc>
                <a:tc>
                  <a:txBody>
                    <a:bodyPr/>
                    <a:lstStyle/>
                    <a:p>
                      <a:endParaRPr lang="en-US" sz="800" dirty="0"/>
                    </a:p>
                  </a:txBody>
                  <a:tcPr/>
                </a:tc>
                <a:tc>
                  <a:txBody>
                    <a:bodyPr/>
                    <a:lstStyle/>
                    <a:p>
                      <a:endParaRPr lang="en-US" sz="800"/>
                    </a:p>
                  </a:txBody>
                  <a:tcPr/>
                </a:tc>
                <a:extLst>
                  <a:ext uri="{0D108BD9-81ED-4DB2-BD59-A6C34878D82A}">
                    <a16:rowId xmlns:a16="http://schemas.microsoft.com/office/drawing/2014/main" val="501264423"/>
                  </a:ext>
                </a:extLst>
              </a:tr>
              <a:tr h="225818">
                <a:tc>
                  <a:txBody>
                    <a:bodyPr/>
                    <a:lstStyle/>
                    <a:p>
                      <a:endParaRPr lang="en-US" sz="800" dirty="0"/>
                    </a:p>
                  </a:txBody>
                  <a:tcPr/>
                </a:tc>
                <a:tc>
                  <a:txBody>
                    <a:bodyPr/>
                    <a:lstStyle/>
                    <a:p>
                      <a:endParaRPr lang="en-US" sz="800" dirty="0"/>
                    </a:p>
                  </a:txBody>
                  <a:tcPr/>
                </a:tc>
                <a:tc>
                  <a:txBody>
                    <a:bodyPr/>
                    <a:lstStyle/>
                    <a:p>
                      <a:endParaRPr lang="en-US" sz="800"/>
                    </a:p>
                  </a:txBody>
                  <a:tcPr/>
                </a:tc>
                <a:extLst>
                  <a:ext uri="{0D108BD9-81ED-4DB2-BD59-A6C34878D82A}">
                    <a16:rowId xmlns:a16="http://schemas.microsoft.com/office/drawing/2014/main" val="1479503037"/>
                  </a:ext>
                </a:extLst>
              </a:tr>
              <a:tr h="225818">
                <a:tc>
                  <a:txBody>
                    <a:bodyPr/>
                    <a:lstStyle/>
                    <a:p>
                      <a:endParaRPr lang="en-US" sz="800" dirty="0"/>
                    </a:p>
                  </a:txBody>
                  <a:tcPr/>
                </a:tc>
                <a:tc>
                  <a:txBody>
                    <a:bodyPr/>
                    <a:lstStyle/>
                    <a:p>
                      <a:endParaRPr lang="en-US" sz="800" dirty="0"/>
                    </a:p>
                  </a:txBody>
                  <a:tcPr/>
                </a:tc>
                <a:tc>
                  <a:txBody>
                    <a:bodyPr/>
                    <a:lstStyle/>
                    <a:p>
                      <a:endParaRPr lang="en-US" sz="800"/>
                    </a:p>
                  </a:txBody>
                  <a:tcPr/>
                </a:tc>
                <a:extLst>
                  <a:ext uri="{0D108BD9-81ED-4DB2-BD59-A6C34878D82A}">
                    <a16:rowId xmlns:a16="http://schemas.microsoft.com/office/drawing/2014/main" val="3199286618"/>
                  </a:ext>
                </a:extLst>
              </a:tr>
              <a:tr h="225818">
                <a:tc>
                  <a:txBody>
                    <a:bodyPr/>
                    <a:lstStyle/>
                    <a:p>
                      <a:endParaRPr lang="en-US" sz="800" dirty="0"/>
                    </a:p>
                  </a:txBody>
                  <a:tcPr/>
                </a:tc>
                <a:tc>
                  <a:txBody>
                    <a:bodyPr/>
                    <a:lstStyle/>
                    <a:p>
                      <a:endParaRPr lang="en-US" sz="800" dirty="0"/>
                    </a:p>
                  </a:txBody>
                  <a:tcPr/>
                </a:tc>
                <a:tc>
                  <a:txBody>
                    <a:bodyPr/>
                    <a:lstStyle/>
                    <a:p>
                      <a:endParaRPr lang="en-US" sz="800" dirty="0"/>
                    </a:p>
                  </a:txBody>
                  <a:tcPr/>
                </a:tc>
                <a:extLst>
                  <a:ext uri="{0D108BD9-81ED-4DB2-BD59-A6C34878D82A}">
                    <a16:rowId xmlns:a16="http://schemas.microsoft.com/office/drawing/2014/main" val="2316585992"/>
                  </a:ext>
                </a:extLst>
              </a:tr>
              <a:tr h="225818">
                <a:tc>
                  <a:txBody>
                    <a:bodyPr/>
                    <a:lstStyle/>
                    <a:p>
                      <a:endParaRPr lang="en-US" sz="800" dirty="0"/>
                    </a:p>
                  </a:txBody>
                  <a:tcPr/>
                </a:tc>
                <a:tc>
                  <a:txBody>
                    <a:bodyPr/>
                    <a:lstStyle/>
                    <a:p>
                      <a:endParaRPr lang="en-US" sz="800" dirty="0"/>
                    </a:p>
                  </a:txBody>
                  <a:tcPr/>
                </a:tc>
                <a:tc>
                  <a:txBody>
                    <a:bodyPr/>
                    <a:lstStyle/>
                    <a:p>
                      <a:endParaRPr lang="en-US" sz="800"/>
                    </a:p>
                  </a:txBody>
                  <a:tcPr/>
                </a:tc>
                <a:extLst>
                  <a:ext uri="{0D108BD9-81ED-4DB2-BD59-A6C34878D82A}">
                    <a16:rowId xmlns:a16="http://schemas.microsoft.com/office/drawing/2014/main" val="712736246"/>
                  </a:ext>
                </a:extLst>
              </a:tr>
              <a:tr h="225818">
                <a:tc>
                  <a:txBody>
                    <a:bodyPr/>
                    <a:lstStyle/>
                    <a:p>
                      <a:endParaRPr lang="en-US" sz="800" dirty="0"/>
                    </a:p>
                  </a:txBody>
                  <a:tcPr/>
                </a:tc>
                <a:tc>
                  <a:txBody>
                    <a:bodyPr/>
                    <a:lstStyle/>
                    <a:p>
                      <a:endParaRPr lang="en-US" sz="800" dirty="0"/>
                    </a:p>
                  </a:txBody>
                  <a:tcPr/>
                </a:tc>
                <a:tc>
                  <a:txBody>
                    <a:bodyPr/>
                    <a:lstStyle/>
                    <a:p>
                      <a:endParaRPr lang="en-US" sz="800"/>
                    </a:p>
                  </a:txBody>
                  <a:tcPr/>
                </a:tc>
                <a:extLst>
                  <a:ext uri="{0D108BD9-81ED-4DB2-BD59-A6C34878D82A}">
                    <a16:rowId xmlns:a16="http://schemas.microsoft.com/office/drawing/2014/main" val="1133127392"/>
                  </a:ext>
                </a:extLst>
              </a:tr>
              <a:tr h="225818">
                <a:tc>
                  <a:txBody>
                    <a:bodyPr/>
                    <a:lstStyle/>
                    <a:p>
                      <a:endParaRPr lang="en-US" sz="800"/>
                    </a:p>
                  </a:txBody>
                  <a:tcPr/>
                </a:tc>
                <a:tc>
                  <a:txBody>
                    <a:bodyPr/>
                    <a:lstStyle/>
                    <a:p>
                      <a:endParaRPr lang="en-US" sz="800" dirty="0"/>
                    </a:p>
                  </a:txBody>
                  <a:tcPr/>
                </a:tc>
                <a:tc>
                  <a:txBody>
                    <a:bodyPr/>
                    <a:lstStyle/>
                    <a:p>
                      <a:endParaRPr lang="en-US" sz="800" dirty="0"/>
                    </a:p>
                  </a:txBody>
                  <a:tcPr/>
                </a:tc>
                <a:extLst>
                  <a:ext uri="{0D108BD9-81ED-4DB2-BD59-A6C34878D82A}">
                    <a16:rowId xmlns:a16="http://schemas.microsoft.com/office/drawing/2014/main" val="1551665773"/>
                  </a:ext>
                </a:extLst>
              </a:tr>
              <a:tr h="225818">
                <a:tc>
                  <a:txBody>
                    <a:bodyPr/>
                    <a:lstStyle/>
                    <a:p>
                      <a:endParaRPr lang="en-US" sz="800"/>
                    </a:p>
                  </a:txBody>
                  <a:tcPr/>
                </a:tc>
                <a:tc>
                  <a:txBody>
                    <a:bodyPr/>
                    <a:lstStyle/>
                    <a:p>
                      <a:endParaRPr lang="en-US" sz="800" dirty="0"/>
                    </a:p>
                  </a:txBody>
                  <a:tcPr/>
                </a:tc>
                <a:tc>
                  <a:txBody>
                    <a:bodyPr/>
                    <a:lstStyle/>
                    <a:p>
                      <a:endParaRPr lang="en-US" sz="800" dirty="0"/>
                    </a:p>
                  </a:txBody>
                  <a:tcPr/>
                </a:tc>
                <a:extLst>
                  <a:ext uri="{0D108BD9-81ED-4DB2-BD59-A6C34878D82A}">
                    <a16:rowId xmlns:a16="http://schemas.microsoft.com/office/drawing/2014/main" val="1660713980"/>
                  </a:ext>
                </a:extLst>
              </a:tr>
              <a:tr h="225818">
                <a:tc>
                  <a:txBody>
                    <a:bodyPr/>
                    <a:lstStyle/>
                    <a:p>
                      <a:endParaRPr lang="en-US" sz="800"/>
                    </a:p>
                  </a:txBody>
                  <a:tcPr/>
                </a:tc>
                <a:tc>
                  <a:txBody>
                    <a:bodyPr/>
                    <a:lstStyle/>
                    <a:p>
                      <a:endParaRPr lang="en-US" sz="800"/>
                    </a:p>
                  </a:txBody>
                  <a:tcPr/>
                </a:tc>
                <a:tc>
                  <a:txBody>
                    <a:bodyPr/>
                    <a:lstStyle/>
                    <a:p>
                      <a:endParaRPr lang="en-US" sz="800" dirty="0"/>
                    </a:p>
                  </a:txBody>
                  <a:tcPr/>
                </a:tc>
                <a:extLst>
                  <a:ext uri="{0D108BD9-81ED-4DB2-BD59-A6C34878D82A}">
                    <a16:rowId xmlns:a16="http://schemas.microsoft.com/office/drawing/2014/main" val="2789617295"/>
                  </a:ext>
                </a:extLst>
              </a:tr>
              <a:tr h="225818">
                <a:tc>
                  <a:txBody>
                    <a:bodyPr/>
                    <a:lstStyle/>
                    <a:p>
                      <a:endParaRPr lang="en-US" sz="800"/>
                    </a:p>
                  </a:txBody>
                  <a:tcPr/>
                </a:tc>
                <a:tc>
                  <a:txBody>
                    <a:bodyPr/>
                    <a:lstStyle/>
                    <a:p>
                      <a:endParaRPr lang="en-US" sz="800"/>
                    </a:p>
                  </a:txBody>
                  <a:tcPr/>
                </a:tc>
                <a:tc>
                  <a:txBody>
                    <a:bodyPr/>
                    <a:lstStyle/>
                    <a:p>
                      <a:endParaRPr lang="en-US" sz="800" dirty="0"/>
                    </a:p>
                  </a:txBody>
                  <a:tcPr/>
                </a:tc>
                <a:extLst>
                  <a:ext uri="{0D108BD9-81ED-4DB2-BD59-A6C34878D82A}">
                    <a16:rowId xmlns:a16="http://schemas.microsoft.com/office/drawing/2014/main" val="912421154"/>
                  </a:ext>
                </a:extLst>
              </a:tr>
              <a:tr h="225818">
                <a:tc>
                  <a:txBody>
                    <a:bodyPr/>
                    <a:lstStyle/>
                    <a:p>
                      <a:endParaRPr lang="en-US" sz="800"/>
                    </a:p>
                  </a:txBody>
                  <a:tcPr/>
                </a:tc>
                <a:tc>
                  <a:txBody>
                    <a:bodyPr/>
                    <a:lstStyle/>
                    <a:p>
                      <a:endParaRPr lang="en-US" sz="800"/>
                    </a:p>
                  </a:txBody>
                  <a:tcPr/>
                </a:tc>
                <a:tc>
                  <a:txBody>
                    <a:bodyPr/>
                    <a:lstStyle/>
                    <a:p>
                      <a:endParaRPr lang="en-US" sz="800" dirty="0"/>
                    </a:p>
                  </a:txBody>
                  <a:tcPr/>
                </a:tc>
                <a:extLst>
                  <a:ext uri="{0D108BD9-81ED-4DB2-BD59-A6C34878D82A}">
                    <a16:rowId xmlns:a16="http://schemas.microsoft.com/office/drawing/2014/main" val="232686513"/>
                  </a:ext>
                </a:extLst>
              </a:tr>
              <a:tr h="225818">
                <a:tc>
                  <a:txBody>
                    <a:bodyPr/>
                    <a:lstStyle/>
                    <a:p>
                      <a:endParaRPr lang="en-US" sz="800"/>
                    </a:p>
                  </a:txBody>
                  <a:tcPr/>
                </a:tc>
                <a:tc>
                  <a:txBody>
                    <a:bodyPr/>
                    <a:lstStyle/>
                    <a:p>
                      <a:endParaRPr lang="en-US" sz="800"/>
                    </a:p>
                  </a:txBody>
                  <a:tcPr/>
                </a:tc>
                <a:tc>
                  <a:txBody>
                    <a:bodyPr/>
                    <a:lstStyle/>
                    <a:p>
                      <a:endParaRPr lang="en-US" sz="800" dirty="0"/>
                    </a:p>
                  </a:txBody>
                  <a:tcPr/>
                </a:tc>
                <a:extLst>
                  <a:ext uri="{0D108BD9-81ED-4DB2-BD59-A6C34878D82A}">
                    <a16:rowId xmlns:a16="http://schemas.microsoft.com/office/drawing/2014/main" val="718403829"/>
                  </a:ext>
                </a:extLst>
              </a:tr>
              <a:tr h="225818">
                <a:tc>
                  <a:txBody>
                    <a:bodyPr/>
                    <a:lstStyle/>
                    <a:p>
                      <a:endParaRPr lang="en-US" sz="800"/>
                    </a:p>
                  </a:txBody>
                  <a:tcPr/>
                </a:tc>
                <a:tc>
                  <a:txBody>
                    <a:bodyPr/>
                    <a:lstStyle/>
                    <a:p>
                      <a:endParaRPr lang="en-US" sz="800"/>
                    </a:p>
                  </a:txBody>
                  <a:tcPr/>
                </a:tc>
                <a:tc>
                  <a:txBody>
                    <a:bodyPr/>
                    <a:lstStyle/>
                    <a:p>
                      <a:endParaRPr lang="en-US" sz="800" dirty="0"/>
                    </a:p>
                  </a:txBody>
                  <a:tcPr/>
                </a:tc>
                <a:extLst>
                  <a:ext uri="{0D108BD9-81ED-4DB2-BD59-A6C34878D82A}">
                    <a16:rowId xmlns:a16="http://schemas.microsoft.com/office/drawing/2014/main" val="1039872776"/>
                  </a:ext>
                </a:extLst>
              </a:tr>
              <a:tr h="225818">
                <a:tc>
                  <a:txBody>
                    <a:bodyPr/>
                    <a:lstStyle/>
                    <a:p>
                      <a:endParaRPr lang="en-US" sz="800"/>
                    </a:p>
                  </a:txBody>
                  <a:tcPr/>
                </a:tc>
                <a:tc>
                  <a:txBody>
                    <a:bodyPr/>
                    <a:lstStyle/>
                    <a:p>
                      <a:endParaRPr lang="en-US" sz="800"/>
                    </a:p>
                  </a:txBody>
                  <a:tcPr/>
                </a:tc>
                <a:tc>
                  <a:txBody>
                    <a:bodyPr/>
                    <a:lstStyle/>
                    <a:p>
                      <a:endParaRPr lang="en-US" sz="800" dirty="0"/>
                    </a:p>
                  </a:txBody>
                  <a:tcPr/>
                </a:tc>
                <a:extLst>
                  <a:ext uri="{0D108BD9-81ED-4DB2-BD59-A6C34878D82A}">
                    <a16:rowId xmlns:a16="http://schemas.microsoft.com/office/drawing/2014/main" val="302494605"/>
                  </a:ext>
                </a:extLst>
              </a:tr>
              <a:tr h="225818">
                <a:tc>
                  <a:txBody>
                    <a:bodyPr/>
                    <a:lstStyle/>
                    <a:p>
                      <a:endParaRPr lang="en-US" sz="800"/>
                    </a:p>
                  </a:txBody>
                  <a:tcPr/>
                </a:tc>
                <a:tc>
                  <a:txBody>
                    <a:bodyPr/>
                    <a:lstStyle/>
                    <a:p>
                      <a:endParaRPr lang="en-US" sz="800"/>
                    </a:p>
                  </a:txBody>
                  <a:tcPr/>
                </a:tc>
                <a:tc>
                  <a:txBody>
                    <a:bodyPr/>
                    <a:lstStyle/>
                    <a:p>
                      <a:endParaRPr lang="en-US" sz="800" dirty="0"/>
                    </a:p>
                  </a:txBody>
                  <a:tcPr/>
                </a:tc>
                <a:extLst>
                  <a:ext uri="{0D108BD9-81ED-4DB2-BD59-A6C34878D82A}">
                    <a16:rowId xmlns:a16="http://schemas.microsoft.com/office/drawing/2014/main" val="2662134858"/>
                  </a:ext>
                </a:extLst>
              </a:tr>
              <a:tr h="225818">
                <a:tc>
                  <a:txBody>
                    <a:bodyPr/>
                    <a:lstStyle/>
                    <a:p>
                      <a:endParaRPr lang="en-US" sz="800"/>
                    </a:p>
                  </a:txBody>
                  <a:tcPr/>
                </a:tc>
                <a:tc>
                  <a:txBody>
                    <a:bodyPr/>
                    <a:lstStyle/>
                    <a:p>
                      <a:endParaRPr lang="en-US" sz="800"/>
                    </a:p>
                  </a:txBody>
                  <a:tcPr/>
                </a:tc>
                <a:tc>
                  <a:txBody>
                    <a:bodyPr/>
                    <a:lstStyle/>
                    <a:p>
                      <a:endParaRPr lang="en-US" sz="800" dirty="0"/>
                    </a:p>
                  </a:txBody>
                  <a:tcPr/>
                </a:tc>
                <a:extLst>
                  <a:ext uri="{0D108BD9-81ED-4DB2-BD59-A6C34878D82A}">
                    <a16:rowId xmlns:a16="http://schemas.microsoft.com/office/drawing/2014/main" val="2619815533"/>
                  </a:ext>
                </a:extLst>
              </a:tr>
              <a:tr h="225818">
                <a:tc>
                  <a:txBody>
                    <a:bodyPr/>
                    <a:lstStyle/>
                    <a:p>
                      <a:endParaRPr lang="en-US" sz="800"/>
                    </a:p>
                  </a:txBody>
                  <a:tcPr/>
                </a:tc>
                <a:tc>
                  <a:txBody>
                    <a:bodyPr/>
                    <a:lstStyle/>
                    <a:p>
                      <a:endParaRPr lang="en-US" sz="800"/>
                    </a:p>
                  </a:txBody>
                  <a:tcPr/>
                </a:tc>
                <a:tc>
                  <a:txBody>
                    <a:bodyPr/>
                    <a:lstStyle/>
                    <a:p>
                      <a:endParaRPr lang="en-US" sz="800" dirty="0"/>
                    </a:p>
                  </a:txBody>
                  <a:tcPr/>
                </a:tc>
                <a:extLst>
                  <a:ext uri="{0D108BD9-81ED-4DB2-BD59-A6C34878D82A}">
                    <a16:rowId xmlns:a16="http://schemas.microsoft.com/office/drawing/2014/main" val="3731646257"/>
                  </a:ext>
                </a:extLst>
              </a:tr>
              <a:tr h="225818">
                <a:tc>
                  <a:txBody>
                    <a:bodyPr/>
                    <a:lstStyle/>
                    <a:p>
                      <a:endParaRPr lang="en-US" sz="800"/>
                    </a:p>
                  </a:txBody>
                  <a:tcPr/>
                </a:tc>
                <a:tc>
                  <a:txBody>
                    <a:bodyPr/>
                    <a:lstStyle/>
                    <a:p>
                      <a:endParaRPr lang="en-US" sz="800"/>
                    </a:p>
                  </a:txBody>
                  <a:tcPr/>
                </a:tc>
                <a:tc>
                  <a:txBody>
                    <a:bodyPr/>
                    <a:lstStyle/>
                    <a:p>
                      <a:endParaRPr lang="en-US" sz="800" dirty="0"/>
                    </a:p>
                  </a:txBody>
                  <a:tcPr/>
                </a:tc>
                <a:extLst>
                  <a:ext uri="{0D108BD9-81ED-4DB2-BD59-A6C34878D82A}">
                    <a16:rowId xmlns:a16="http://schemas.microsoft.com/office/drawing/2014/main" val="3061492108"/>
                  </a:ext>
                </a:extLst>
              </a:tr>
              <a:tr h="225818">
                <a:tc>
                  <a:txBody>
                    <a:bodyPr/>
                    <a:lstStyle/>
                    <a:p>
                      <a:endParaRPr lang="en-US" sz="800"/>
                    </a:p>
                  </a:txBody>
                  <a:tcPr/>
                </a:tc>
                <a:tc>
                  <a:txBody>
                    <a:bodyPr/>
                    <a:lstStyle/>
                    <a:p>
                      <a:endParaRPr lang="en-US" sz="800"/>
                    </a:p>
                  </a:txBody>
                  <a:tcPr/>
                </a:tc>
                <a:tc>
                  <a:txBody>
                    <a:bodyPr/>
                    <a:lstStyle/>
                    <a:p>
                      <a:endParaRPr lang="en-US" sz="800" dirty="0"/>
                    </a:p>
                  </a:txBody>
                  <a:tcPr/>
                </a:tc>
                <a:extLst>
                  <a:ext uri="{0D108BD9-81ED-4DB2-BD59-A6C34878D82A}">
                    <a16:rowId xmlns:a16="http://schemas.microsoft.com/office/drawing/2014/main" val="101697343"/>
                  </a:ext>
                </a:extLst>
              </a:tr>
              <a:tr h="225818">
                <a:tc>
                  <a:txBody>
                    <a:bodyPr/>
                    <a:lstStyle/>
                    <a:p>
                      <a:endParaRPr lang="en-US" sz="800"/>
                    </a:p>
                  </a:txBody>
                  <a:tcPr/>
                </a:tc>
                <a:tc>
                  <a:txBody>
                    <a:bodyPr/>
                    <a:lstStyle/>
                    <a:p>
                      <a:endParaRPr lang="en-US" sz="800"/>
                    </a:p>
                  </a:txBody>
                  <a:tcPr/>
                </a:tc>
                <a:tc>
                  <a:txBody>
                    <a:bodyPr/>
                    <a:lstStyle/>
                    <a:p>
                      <a:endParaRPr lang="en-US" sz="800" dirty="0"/>
                    </a:p>
                  </a:txBody>
                  <a:tcPr/>
                </a:tc>
                <a:extLst>
                  <a:ext uri="{0D108BD9-81ED-4DB2-BD59-A6C34878D82A}">
                    <a16:rowId xmlns:a16="http://schemas.microsoft.com/office/drawing/2014/main" val="1635342852"/>
                  </a:ext>
                </a:extLst>
              </a:tr>
              <a:tr h="225818">
                <a:tc>
                  <a:txBody>
                    <a:bodyPr/>
                    <a:lstStyle/>
                    <a:p>
                      <a:endParaRPr lang="en-US" sz="800"/>
                    </a:p>
                  </a:txBody>
                  <a:tcPr/>
                </a:tc>
                <a:tc>
                  <a:txBody>
                    <a:bodyPr/>
                    <a:lstStyle/>
                    <a:p>
                      <a:endParaRPr lang="en-US" sz="800"/>
                    </a:p>
                  </a:txBody>
                  <a:tcPr/>
                </a:tc>
                <a:tc>
                  <a:txBody>
                    <a:bodyPr/>
                    <a:lstStyle/>
                    <a:p>
                      <a:endParaRPr lang="en-US" sz="800" dirty="0"/>
                    </a:p>
                  </a:txBody>
                  <a:tcPr/>
                </a:tc>
                <a:extLst>
                  <a:ext uri="{0D108BD9-81ED-4DB2-BD59-A6C34878D82A}">
                    <a16:rowId xmlns:a16="http://schemas.microsoft.com/office/drawing/2014/main" val="2140807037"/>
                  </a:ext>
                </a:extLst>
              </a:tr>
              <a:tr h="225818">
                <a:tc>
                  <a:txBody>
                    <a:bodyPr/>
                    <a:lstStyle/>
                    <a:p>
                      <a:endParaRPr lang="en-US" sz="800"/>
                    </a:p>
                  </a:txBody>
                  <a:tcPr/>
                </a:tc>
                <a:tc>
                  <a:txBody>
                    <a:bodyPr/>
                    <a:lstStyle/>
                    <a:p>
                      <a:endParaRPr lang="en-US" sz="800"/>
                    </a:p>
                  </a:txBody>
                  <a:tcPr/>
                </a:tc>
                <a:tc>
                  <a:txBody>
                    <a:bodyPr/>
                    <a:lstStyle/>
                    <a:p>
                      <a:endParaRPr lang="en-US" sz="800" dirty="0"/>
                    </a:p>
                  </a:txBody>
                  <a:tcPr/>
                </a:tc>
                <a:extLst>
                  <a:ext uri="{0D108BD9-81ED-4DB2-BD59-A6C34878D82A}">
                    <a16:rowId xmlns:a16="http://schemas.microsoft.com/office/drawing/2014/main" val="2772793934"/>
                  </a:ext>
                </a:extLst>
              </a:tr>
              <a:tr h="225818">
                <a:tc>
                  <a:txBody>
                    <a:bodyPr/>
                    <a:lstStyle/>
                    <a:p>
                      <a:endParaRPr lang="en-US" sz="800"/>
                    </a:p>
                  </a:txBody>
                  <a:tcPr/>
                </a:tc>
                <a:tc>
                  <a:txBody>
                    <a:bodyPr/>
                    <a:lstStyle/>
                    <a:p>
                      <a:endParaRPr lang="en-US" sz="800"/>
                    </a:p>
                  </a:txBody>
                  <a:tcPr/>
                </a:tc>
                <a:tc>
                  <a:txBody>
                    <a:bodyPr/>
                    <a:lstStyle/>
                    <a:p>
                      <a:endParaRPr lang="en-US" sz="800" dirty="0"/>
                    </a:p>
                  </a:txBody>
                  <a:tcPr/>
                </a:tc>
                <a:extLst>
                  <a:ext uri="{0D108BD9-81ED-4DB2-BD59-A6C34878D82A}">
                    <a16:rowId xmlns:a16="http://schemas.microsoft.com/office/drawing/2014/main" val="672794741"/>
                  </a:ext>
                </a:extLst>
              </a:tr>
            </a:tbl>
          </a:graphicData>
        </a:graphic>
      </p:graphicFrame>
    </p:spTree>
    <p:extLst>
      <p:ext uri="{BB962C8B-B14F-4D97-AF65-F5344CB8AC3E}">
        <p14:creationId xmlns:p14="http://schemas.microsoft.com/office/powerpoint/2010/main" val="245608371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8C5AAF9-F935-466B-8395-7E09193778FC}"/>
              </a:ext>
            </a:extLst>
          </p:cNvPr>
          <p:cNvSpPr>
            <a:spLocks noGrp="1"/>
          </p:cNvSpPr>
          <p:nvPr>
            <p:ph idx="1"/>
          </p:nvPr>
        </p:nvSpPr>
        <p:spPr>
          <a:xfrm>
            <a:off x="314972" y="692354"/>
            <a:ext cx="11569700" cy="4833937"/>
          </a:xfrm>
        </p:spPr>
        <p:txBody>
          <a:bodyPr/>
          <a:lstStyle/>
          <a:p>
            <a:r>
              <a:rPr lang="en-US" sz="1800" dirty="0"/>
              <a:t>You are the new general manager of a critical business in the Bioscience Division (BID). The business unit sells products to enable customers to perform polymerase chain reaction (PCR) based applications. </a:t>
            </a:r>
          </a:p>
          <a:p>
            <a:pPr marL="0" indent="0">
              <a:buNone/>
            </a:pPr>
            <a:endParaRPr lang="en-US" sz="1800" dirty="0"/>
          </a:p>
          <a:p>
            <a:r>
              <a:rPr lang="en-US" sz="1800" dirty="0"/>
              <a:t>The products in your portfolio includes THERMAL CYCLERS, instruments to conduct the PCR reactions and the PCR PLASTICS, consumables that contain the reaction mixes and then placed into the Thermal Cyclers</a:t>
            </a:r>
          </a:p>
          <a:p>
            <a:pPr marL="0" indent="0">
              <a:buNone/>
            </a:pPr>
            <a:endParaRPr lang="en-US" sz="1800" dirty="0"/>
          </a:p>
          <a:p>
            <a:r>
              <a:rPr lang="en-US" sz="1800" dirty="0"/>
              <a:t>You are coming on at a critical time for the business. The PCR Plastics market doubled overnight due to the COVID pandemic as the PCR plastics are used for the COVID diagnostics workflow. BID invested heavily into expand capacity of PCR plastics and is looking to you for guidance on the business</a:t>
            </a:r>
          </a:p>
          <a:p>
            <a:pPr marL="0" indent="0">
              <a:buNone/>
            </a:pPr>
            <a:endParaRPr lang="en-US" sz="1800" dirty="0"/>
          </a:p>
          <a:p>
            <a:r>
              <a:rPr lang="en-US" sz="1800" dirty="0"/>
              <a:t>Your goal is to understand your business, diagnose any areas of concern, and then drive a winning strategy to position your business for long term success. Since you just took the DSIL sponsored Machine Learning course, you figured leveraging Machine Learning could be one way to help you reach your goal!</a:t>
            </a:r>
          </a:p>
          <a:p>
            <a:pPr marL="0" indent="0">
              <a:buNone/>
            </a:pPr>
            <a:endParaRPr lang="en-US" sz="1800" dirty="0"/>
          </a:p>
          <a:p>
            <a:r>
              <a:rPr lang="en-US" sz="1800" dirty="0"/>
              <a:t>Let’s get started!</a:t>
            </a:r>
          </a:p>
        </p:txBody>
      </p:sp>
      <p:sp>
        <p:nvSpPr>
          <p:cNvPr id="3" name="Title 2">
            <a:extLst>
              <a:ext uri="{FF2B5EF4-FFF2-40B4-BE49-F238E27FC236}">
                <a16:creationId xmlns:a16="http://schemas.microsoft.com/office/drawing/2014/main" id="{C0A78C27-65F5-4E93-8042-2E442FD53802}"/>
              </a:ext>
            </a:extLst>
          </p:cNvPr>
          <p:cNvSpPr>
            <a:spLocks noGrp="1"/>
          </p:cNvSpPr>
          <p:nvPr>
            <p:ph type="title"/>
          </p:nvPr>
        </p:nvSpPr>
        <p:spPr/>
        <p:txBody>
          <a:bodyPr/>
          <a:lstStyle/>
          <a:p>
            <a:r>
              <a:rPr lang="en-US" dirty="0"/>
              <a:t>Congratulations on your promotion!</a:t>
            </a:r>
          </a:p>
        </p:txBody>
      </p:sp>
    </p:spTree>
    <p:extLst>
      <p:ext uri="{BB962C8B-B14F-4D97-AF65-F5344CB8AC3E}">
        <p14:creationId xmlns:p14="http://schemas.microsoft.com/office/powerpoint/2010/main" val="184434230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7F6847A-DB8C-4E78-B5D3-0B5C7D4DF160}"/>
              </a:ext>
            </a:extLst>
          </p:cNvPr>
          <p:cNvSpPr>
            <a:spLocks noGrp="1"/>
          </p:cNvSpPr>
          <p:nvPr>
            <p:ph idx="1"/>
          </p:nvPr>
        </p:nvSpPr>
        <p:spPr>
          <a:xfrm>
            <a:off x="635609" y="5888291"/>
            <a:ext cx="7354293" cy="579120"/>
          </a:xfrm>
        </p:spPr>
        <p:txBody>
          <a:bodyPr/>
          <a:lstStyle/>
          <a:p>
            <a:r>
              <a:rPr lang="en-US" dirty="0"/>
              <a:t>Introduction: </a:t>
            </a:r>
            <a:r>
              <a:rPr lang="en-US" dirty="0">
                <a:hlinkClick r:id="rId2"/>
              </a:rPr>
              <a:t>https://www.youtube.com/watch?v=Nl6eLez3CNI</a:t>
            </a:r>
            <a:endParaRPr lang="en-US" dirty="0"/>
          </a:p>
          <a:p>
            <a:endParaRPr lang="en-US" dirty="0"/>
          </a:p>
        </p:txBody>
      </p:sp>
      <p:sp>
        <p:nvSpPr>
          <p:cNvPr id="3" name="Title 2">
            <a:extLst>
              <a:ext uri="{FF2B5EF4-FFF2-40B4-BE49-F238E27FC236}">
                <a16:creationId xmlns:a16="http://schemas.microsoft.com/office/drawing/2014/main" id="{1B8B72B8-FB18-4FF1-A3E7-B307F3A232C2}"/>
              </a:ext>
            </a:extLst>
          </p:cNvPr>
          <p:cNvSpPr>
            <a:spLocks noGrp="1"/>
          </p:cNvSpPr>
          <p:nvPr>
            <p:ph type="title"/>
          </p:nvPr>
        </p:nvSpPr>
        <p:spPr/>
        <p:txBody>
          <a:bodyPr/>
          <a:lstStyle/>
          <a:p>
            <a:r>
              <a:rPr lang="en-US" dirty="0"/>
              <a:t>What is PCR?</a:t>
            </a:r>
          </a:p>
        </p:txBody>
      </p:sp>
      <p:sp>
        <p:nvSpPr>
          <p:cNvPr id="64" name="Rectangle 63">
            <a:extLst>
              <a:ext uri="{FF2B5EF4-FFF2-40B4-BE49-F238E27FC236}">
                <a16:creationId xmlns:a16="http://schemas.microsoft.com/office/drawing/2014/main" id="{83EC436B-6562-4ACA-85FF-7F82DFBE1F30}"/>
              </a:ext>
            </a:extLst>
          </p:cNvPr>
          <p:cNvSpPr/>
          <p:nvPr/>
        </p:nvSpPr>
        <p:spPr bwMode="auto">
          <a:xfrm>
            <a:off x="9654914" y="622729"/>
            <a:ext cx="2388506" cy="2462331"/>
          </a:xfrm>
          <a:prstGeom prst="rect">
            <a:avLst/>
          </a:prstGeom>
          <a:noFill/>
          <a:ln w="19050" cap="flat" cmpd="sng" algn="ctr">
            <a:solidFill>
              <a:srgbClr val="3299C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US" sz="1800">
              <a:latin typeface="Arial" pitchFamily="124" charset="0"/>
            </a:endParaRPr>
          </a:p>
        </p:txBody>
      </p:sp>
      <p:sp>
        <p:nvSpPr>
          <p:cNvPr id="65" name="Rectangle 64">
            <a:extLst>
              <a:ext uri="{FF2B5EF4-FFF2-40B4-BE49-F238E27FC236}">
                <a16:creationId xmlns:a16="http://schemas.microsoft.com/office/drawing/2014/main" id="{F6DF0CC1-BDEA-44BF-9AAB-39D561F05FF2}"/>
              </a:ext>
            </a:extLst>
          </p:cNvPr>
          <p:cNvSpPr/>
          <p:nvPr/>
        </p:nvSpPr>
        <p:spPr bwMode="auto">
          <a:xfrm>
            <a:off x="7258711" y="622729"/>
            <a:ext cx="2388506" cy="2462331"/>
          </a:xfrm>
          <a:prstGeom prst="rect">
            <a:avLst/>
          </a:prstGeom>
          <a:noFill/>
          <a:ln w="19050" cap="flat" cmpd="sng" algn="ctr">
            <a:solidFill>
              <a:srgbClr val="3299C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US" sz="1800">
              <a:latin typeface="Arial" pitchFamily="124" charset="0"/>
            </a:endParaRPr>
          </a:p>
        </p:txBody>
      </p:sp>
      <p:sp>
        <p:nvSpPr>
          <p:cNvPr id="66" name="Rectangle 65">
            <a:extLst>
              <a:ext uri="{FF2B5EF4-FFF2-40B4-BE49-F238E27FC236}">
                <a16:creationId xmlns:a16="http://schemas.microsoft.com/office/drawing/2014/main" id="{1D731515-9AB7-4B68-9E9B-0714D4831EA3}"/>
              </a:ext>
            </a:extLst>
          </p:cNvPr>
          <p:cNvSpPr/>
          <p:nvPr/>
        </p:nvSpPr>
        <p:spPr bwMode="auto">
          <a:xfrm>
            <a:off x="4861986" y="622730"/>
            <a:ext cx="2388506" cy="2462331"/>
          </a:xfrm>
          <a:prstGeom prst="rect">
            <a:avLst/>
          </a:prstGeom>
          <a:noFill/>
          <a:ln w="19050" cap="flat" cmpd="sng" algn="ctr">
            <a:solidFill>
              <a:srgbClr val="3299C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US" sz="1800">
              <a:latin typeface="Arial" pitchFamily="124" charset="0"/>
            </a:endParaRPr>
          </a:p>
        </p:txBody>
      </p:sp>
      <p:sp>
        <p:nvSpPr>
          <p:cNvPr id="67" name="Rectangle 66">
            <a:extLst>
              <a:ext uri="{FF2B5EF4-FFF2-40B4-BE49-F238E27FC236}">
                <a16:creationId xmlns:a16="http://schemas.microsoft.com/office/drawing/2014/main" id="{71CFD3E4-A7F7-4D95-9C92-58B0106BF5C1}"/>
              </a:ext>
            </a:extLst>
          </p:cNvPr>
          <p:cNvSpPr/>
          <p:nvPr/>
        </p:nvSpPr>
        <p:spPr bwMode="auto">
          <a:xfrm>
            <a:off x="2887896" y="625761"/>
            <a:ext cx="1966393" cy="2462331"/>
          </a:xfrm>
          <a:prstGeom prst="rect">
            <a:avLst/>
          </a:prstGeom>
          <a:noFill/>
          <a:ln w="19050" cap="flat" cmpd="sng" algn="ctr">
            <a:solidFill>
              <a:srgbClr val="3299C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US" sz="1800">
              <a:latin typeface="Arial" pitchFamily="124" charset="0"/>
            </a:endParaRPr>
          </a:p>
        </p:txBody>
      </p:sp>
      <p:sp>
        <p:nvSpPr>
          <p:cNvPr id="68" name="Rectangle 67">
            <a:extLst>
              <a:ext uri="{FF2B5EF4-FFF2-40B4-BE49-F238E27FC236}">
                <a16:creationId xmlns:a16="http://schemas.microsoft.com/office/drawing/2014/main" id="{B9F375C0-4E61-47C2-8774-41D0D3FB4D4F}"/>
              </a:ext>
            </a:extLst>
          </p:cNvPr>
          <p:cNvSpPr/>
          <p:nvPr/>
        </p:nvSpPr>
        <p:spPr bwMode="auto">
          <a:xfrm>
            <a:off x="263678" y="625762"/>
            <a:ext cx="2614031" cy="2462331"/>
          </a:xfrm>
          <a:prstGeom prst="rect">
            <a:avLst/>
          </a:prstGeom>
          <a:noFill/>
          <a:ln w="19050" cap="flat" cmpd="sng" algn="ctr">
            <a:solidFill>
              <a:srgbClr val="3299C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US" sz="1800">
              <a:latin typeface="Arial" pitchFamily="124" charset="0"/>
            </a:endParaRPr>
          </a:p>
        </p:txBody>
      </p:sp>
      <p:sp>
        <p:nvSpPr>
          <p:cNvPr id="69" name="TextBox 68">
            <a:extLst>
              <a:ext uri="{FF2B5EF4-FFF2-40B4-BE49-F238E27FC236}">
                <a16:creationId xmlns:a16="http://schemas.microsoft.com/office/drawing/2014/main" id="{34401C59-39E6-467D-8B3A-2D6E254AE7C7}"/>
              </a:ext>
            </a:extLst>
          </p:cNvPr>
          <p:cNvSpPr txBox="1"/>
          <p:nvPr/>
        </p:nvSpPr>
        <p:spPr>
          <a:xfrm>
            <a:off x="253943" y="613955"/>
            <a:ext cx="1776470" cy="307777"/>
          </a:xfrm>
          <a:prstGeom prst="rect">
            <a:avLst/>
          </a:prstGeom>
          <a:noFill/>
        </p:spPr>
        <p:txBody>
          <a:bodyPr wrap="square" rtlCol="0">
            <a:spAutoFit/>
          </a:bodyPr>
          <a:lstStyle/>
          <a:p>
            <a:r>
              <a:rPr lang="en-US" sz="1400"/>
              <a:t>Extract nucleic acid</a:t>
            </a:r>
          </a:p>
        </p:txBody>
      </p:sp>
      <p:sp>
        <p:nvSpPr>
          <p:cNvPr id="70" name="TextBox 69">
            <a:extLst>
              <a:ext uri="{FF2B5EF4-FFF2-40B4-BE49-F238E27FC236}">
                <a16:creationId xmlns:a16="http://schemas.microsoft.com/office/drawing/2014/main" id="{B6ABAE93-689F-4805-9EBF-13B33E095B88}"/>
              </a:ext>
            </a:extLst>
          </p:cNvPr>
          <p:cNvSpPr txBox="1"/>
          <p:nvPr/>
        </p:nvSpPr>
        <p:spPr>
          <a:xfrm>
            <a:off x="2885650" y="622729"/>
            <a:ext cx="1776470" cy="307777"/>
          </a:xfrm>
          <a:prstGeom prst="rect">
            <a:avLst/>
          </a:prstGeom>
          <a:noFill/>
        </p:spPr>
        <p:txBody>
          <a:bodyPr wrap="square" rtlCol="0">
            <a:spAutoFit/>
          </a:bodyPr>
          <a:lstStyle/>
          <a:p>
            <a:r>
              <a:rPr lang="en-US" sz="1400"/>
              <a:t>Modify nucleic acid</a:t>
            </a:r>
          </a:p>
        </p:txBody>
      </p:sp>
      <p:sp>
        <p:nvSpPr>
          <p:cNvPr id="71" name="TextBox 70">
            <a:extLst>
              <a:ext uri="{FF2B5EF4-FFF2-40B4-BE49-F238E27FC236}">
                <a16:creationId xmlns:a16="http://schemas.microsoft.com/office/drawing/2014/main" id="{EA20173F-16F1-4D64-9FCC-A9C62A0D0DB9}"/>
              </a:ext>
            </a:extLst>
          </p:cNvPr>
          <p:cNvSpPr txBox="1"/>
          <p:nvPr/>
        </p:nvSpPr>
        <p:spPr>
          <a:xfrm>
            <a:off x="4903855" y="636033"/>
            <a:ext cx="2270513" cy="307777"/>
          </a:xfrm>
          <a:prstGeom prst="rect">
            <a:avLst/>
          </a:prstGeom>
          <a:noFill/>
        </p:spPr>
        <p:txBody>
          <a:bodyPr wrap="square" lIns="91440" tIns="45720" rIns="91440" bIns="45720" rtlCol="0" anchor="t">
            <a:spAutoFit/>
          </a:bodyPr>
          <a:lstStyle/>
          <a:p>
            <a:r>
              <a:rPr lang="en-US" sz="1400" dirty="0"/>
              <a:t>Assemble PCR/qPCR </a:t>
            </a:r>
          </a:p>
        </p:txBody>
      </p:sp>
      <p:sp>
        <p:nvSpPr>
          <p:cNvPr id="72" name="TextBox 71">
            <a:extLst>
              <a:ext uri="{FF2B5EF4-FFF2-40B4-BE49-F238E27FC236}">
                <a16:creationId xmlns:a16="http://schemas.microsoft.com/office/drawing/2014/main" id="{245A5A57-DD38-438C-B33D-C9F74354ADCA}"/>
              </a:ext>
            </a:extLst>
          </p:cNvPr>
          <p:cNvSpPr txBox="1"/>
          <p:nvPr/>
        </p:nvSpPr>
        <p:spPr>
          <a:xfrm>
            <a:off x="7259843" y="613955"/>
            <a:ext cx="1776470" cy="307777"/>
          </a:xfrm>
          <a:prstGeom prst="rect">
            <a:avLst/>
          </a:prstGeom>
          <a:noFill/>
        </p:spPr>
        <p:txBody>
          <a:bodyPr wrap="square" lIns="91440" tIns="45720" rIns="91440" bIns="45720" rtlCol="0" anchor="t">
            <a:spAutoFit/>
          </a:bodyPr>
          <a:lstStyle/>
          <a:p>
            <a:r>
              <a:rPr lang="en-US" sz="1400" dirty="0"/>
              <a:t>Perform PCR/qPCR</a:t>
            </a:r>
          </a:p>
        </p:txBody>
      </p:sp>
      <p:pic>
        <p:nvPicPr>
          <p:cNvPr id="73" name="Picture 4" descr="VeritiPro Thermal Cycler User Guide (Pub. No. MAN0019157 A.0)">
            <a:extLst>
              <a:ext uri="{FF2B5EF4-FFF2-40B4-BE49-F238E27FC236}">
                <a16:creationId xmlns:a16="http://schemas.microsoft.com/office/drawing/2014/main" id="{64831CFF-B1AA-407F-8E11-B113807789B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65826" y="969628"/>
            <a:ext cx="1358474" cy="961617"/>
          </a:xfrm>
          <a:prstGeom prst="rect">
            <a:avLst/>
          </a:prstGeom>
          <a:solidFill>
            <a:srgbClr val="C00000"/>
          </a:solidFill>
          <a:ln>
            <a:solidFill>
              <a:srgbClr val="C00000"/>
            </a:solidFill>
          </a:ln>
        </p:spPr>
      </p:pic>
      <p:sp>
        <p:nvSpPr>
          <p:cNvPr id="74" name="TextBox 73">
            <a:extLst>
              <a:ext uri="{FF2B5EF4-FFF2-40B4-BE49-F238E27FC236}">
                <a16:creationId xmlns:a16="http://schemas.microsoft.com/office/drawing/2014/main" id="{D87D390F-9690-43D0-AE3C-E19CD47BFDE3}"/>
              </a:ext>
            </a:extLst>
          </p:cNvPr>
          <p:cNvSpPr txBox="1"/>
          <p:nvPr/>
        </p:nvSpPr>
        <p:spPr>
          <a:xfrm>
            <a:off x="9647217" y="1778618"/>
            <a:ext cx="1776470" cy="523220"/>
          </a:xfrm>
          <a:prstGeom prst="rect">
            <a:avLst/>
          </a:prstGeom>
          <a:noFill/>
        </p:spPr>
        <p:txBody>
          <a:bodyPr wrap="square" lIns="91440" tIns="45720" rIns="91440" bIns="45720" rtlCol="0" anchor="t">
            <a:spAutoFit/>
          </a:bodyPr>
          <a:lstStyle/>
          <a:p>
            <a:r>
              <a:rPr lang="en-US" sz="1400" dirty="0"/>
              <a:t>Use PCR product for Application</a:t>
            </a:r>
            <a:endParaRPr lang="en-US" dirty="0">
              <a:cs typeface="Arial"/>
            </a:endParaRPr>
          </a:p>
        </p:txBody>
      </p:sp>
      <p:sp>
        <p:nvSpPr>
          <p:cNvPr id="75" name="TextBox 74">
            <a:extLst>
              <a:ext uri="{FF2B5EF4-FFF2-40B4-BE49-F238E27FC236}">
                <a16:creationId xmlns:a16="http://schemas.microsoft.com/office/drawing/2014/main" id="{015D3F49-8174-4A0C-8CC7-FCFF8FCA2210}"/>
              </a:ext>
            </a:extLst>
          </p:cNvPr>
          <p:cNvSpPr txBox="1"/>
          <p:nvPr/>
        </p:nvSpPr>
        <p:spPr>
          <a:xfrm>
            <a:off x="9617976" y="2345232"/>
            <a:ext cx="2278475" cy="769441"/>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r>
              <a:rPr lang="en-US" sz="1100" dirty="0"/>
              <a:t>Genotyping</a:t>
            </a:r>
          </a:p>
          <a:p>
            <a:pPr marL="171450" indent="-171450">
              <a:buFont typeface="Arial" panose="020B0604020202020204" pitchFamily="34" charset="0"/>
              <a:buChar char="•"/>
            </a:pPr>
            <a:r>
              <a:rPr lang="en-US" sz="1100" dirty="0"/>
              <a:t>NGS, Sanger sequencing</a:t>
            </a:r>
          </a:p>
          <a:p>
            <a:pPr marL="171450" indent="-171450">
              <a:buFont typeface="Arial" panose="020B0604020202020204" pitchFamily="34" charset="0"/>
              <a:buChar char="•"/>
            </a:pPr>
            <a:r>
              <a:rPr lang="en-US" sz="1100" dirty="0"/>
              <a:t>Cloning</a:t>
            </a:r>
          </a:p>
          <a:p>
            <a:endParaRPr lang="en-US" sz="1100" dirty="0"/>
          </a:p>
        </p:txBody>
      </p:sp>
      <p:sp>
        <p:nvSpPr>
          <p:cNvPr id="76" name="TextBox 75">
            <a:extLst>
              <a:ext uri="{FF2B5EF4-FFF2-40B4-BE49-F238E27FC236}">
                <a16:creationId xmlns:a16="http://schemas.microsoft.com/office/drawing/2014/main" id="{24855307-2088-4908-9157-DE4B43B80277}"/>
              </a:ext>
            </a:extLst>
          </p:cNvPr>
          <p:cNvSpPr txBox="1"/>
          <p:nvPr/>
        </p:nvSpPr>
        <p:spPr>
          <a:xfrm>
            <a:off x="2936829" y="2149086"/>
            <a:ext cx="1760153" cy="400110"/>
          </a:xfrm>
          <a:prstGeom prst="rect">
            <a:avLst/>
          </a:prstGeom>
          <a:noFill/>
          <a:ln>
            <a:solidFill>
              <a:srgbClr val="00B050"/>
            </a:solidFill>
          </a:ln>
        </p:spPr>
        <p:txBody>
          <a:bodyPr wrap="square" lIns="91440" tIns="45720" rIns="91440" bIns="45720" rtlCol="0" anchor="t">
            <a:spAutoFit/>
          </a:bodyPr>
          <a:lstStyle/>
          <a:p>
            <a:pPr marL="171450" indent="-171450">
              <a:buFont typeface="Arial" panose="020B0604020202020204" pitchFamily="34" charset="0"/>
              <a:buChar char="•"/>
            </a:pPr>
            <a:r>
              <a:rPr lang="en-US" sz="1000" dirty="0"/>
              <a:t>Reverse transcription: RNA -&gt; cDNA</a:t>
            </a:r>
          </a:p>
        </p:txBody>
      </p:sp>
      <p:pic>
        <p:nvPicPr>
          <p:cNvPr id="77" name="Picture 2">
            <a:extLst>
              <a:ext uri="{FF2B5EF4-FFF2-40B4-BE49-F238E27FC236}">
                <a16:creationId xmlns:a16="http://schemas.microsoft.com/office/drawing/2014/main" id="{AEAE947D-40A3-4A4C-8C39-8D1055E2EDEF}"/>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275942" y="1899320"/>
            <a:ext cx="1683441" cy="588827"/>
          </a:xfrm>
          <a:prstGeom prst="rect">
            <a:avLst/>
          </a:prstGeom>
          <a:solidFill>
            <a:srgbClr val="C00000"/>
          </a:solidFill>
          <a:ln w="28575">
            <a:solidFill>
              <a:srgbClr val="C00000"/>
            </a:solidFill>
            <a:miter lim="800000"/>
            <a:headEnd/>
            <a:tailEnd/>
          </a:ln>
          <a:effectLst>
            <a:softEdge rad="31750"/>
          </a:effectLst>
        </p:spPr>
      </p:pic>
      <p:sp>
        <p:nvSpPr>
          <p:cNvPr id="78" name="TextBox 77">
            <a:extLst>
              <a:ext uri="{FF2B5EF4-FFF2-40B4-BE49-F238E27FC236}">
                <a16:creationId xmlns:a16="http://schemas.microsoft.com/office/drawing/2014/main" id="{80A5BE3F-A20E-4F15-8A33-AAB5D200E937}"/>
              </a:ext>
            </a:extLst>
          </p:cNvPr>
          <p:cNvSpPr txBox="1"/>
          <p:nvPr/>
        </p:nvSpPr>
        <p:spPr>
          <a:xfrm>
            <a:off x="4936063" y="1252810"/>
            <a:ext cx="1110816" cy="261610"/>
          </a:xfrm>
          <a:prstGeom prst="rect">
            <a:avLst/>
          </a:prstGeom>
          <a:noFill/>
          <a:ln>
            <a:solidFill>
              <a:srgbClr val="00B050"/>
            </a:solidFill>
          </a:ln>
        </p:spPr>
        <p:txBody>
          <a:bodyPr wrap="square" rtlCol="0">
            <a:spAutoFit/>
          </a:bodyPr>
          <a:lstStyle/>
          <a:p>
            <a:r>
              <a:rPr lang="en-US" sz="1100" dirty="0"/>
              <a:t>Primers/Oligos</a:t>
            </a:r>
          </a:p>
        </p:txBody>
      </p:sp>
      <p:sp>
        <p:nvSpPr>
          <p:cNvPr id="79" name="TextBox 78">
            <a:extLst>
              <a:ext uri="{FF2B5EF4-FFF2-40B4-BE49-F238E27FC236}">
                <a16:creationId xmlns:a16="http://schemas.microsoft.com/office/drawing/2014/main" id="{055E315D-CFB8-473F-9B5C-9D8A52D8B05E}"/>
              </a:ext>
            </a:extLst>
          </p:cNvPr>
          <p:cNvSpPr txBox="1"/>
          <p:nvPr/>
        </p:nvSpPr>
        <p:spPr>
          <a:xfrm>
            <a:off x="6120018" y="969628"/>
            <a:ext cx="1110816" cy="600164"/>
          </a:xfrm>
          <a:prstGeom prst="rect">
            <a:avLst/>
          </a:prstGeom>
          <a:noFill/>
          <a:ln>
            <a:solidFill>
              <a:srgbClr val="00B050"/>
            </a:solidFill>
          </a:ln>
        </p:spPr>
        <p:txBody>
          <a:bodyPr wrap="square" lIns="91440" tIns="45720" rIns="91440" bIns="45720" rtlCol="0" anchor="t">
            <a:spAutoFit/>
          </a:bodyPr>
          <a:lstStyle/>
          <a:p>
            <a:r>
              <a:rPr lang="en-US" sz="1100" dirty="0" err="1"/>
              <a:t>ePCR</a:t>
            </a:r>
            <a:r>
              <a:rPr lang="en-US" sz="1100" dirty="0"/>
              <a:t> enzymes</a:t>
            </a:r>
          </a:p>
          <a:p>
            <a:r>
              <a:rPr lang="en-US" sz="1100" dirty="0">
                <a:cs typeface="Arial"/>
              </a:rPr>
              <a:t>dNTPs</a:t>
            </a:r>
          </a:p>
        </p:txBody>
      </p:sp>
      <p:pic>
        <p:nvPicPr>
          <p:cNvPr id="80" name="Picture 79">
            <a:extLst>
              <a:ext uri="{FF2B5EF4-FFF2-40B4-BE49-F238E27FC236}">
                <a16:creationId xmlns:a16="http://schemas.microsoft.com/office/drawing/2014/main" id="{B5551210-37F8-4BD4-A541-5B538539628A}"/>
              </a:ext>
            </a:extLst>
          </p:cNvPr>
          <p:cNvPicPr>
            <a:picLocks noChangeAspect="1"/>
          </p:cNvPicPr>
          <p:nvPr/>
        </p:nvPicPr>
        <p:blipFill>
          <a:blip r:embed="rId5"/>
          <a:stretch>
            <a:fillRect/>
          </a:stretch>
        </p:blipFill>
        <p:spPr>
          <a:xfrm>
            <a:off x="2139845" y="1411677"/>
            <a:ext cx="337144" cy="705894"/>
          </a:xfrm>
          <a:prstGeom prst="rect">
            <a:avLst/>
          </a:prstGeom>
        </p:spPr>
      </p:pic>
      <p:pic>
        <p:nvPicPr>
          <p:cNvPr id="81" name="Picture 80">
            <a:extLst>
              <a:ext uri="{FF2B5EF4-FFF2-40B4-BE49-F238E27FC236}">
                <a16:creationId xmlns:a16="http://schemas.microsoft.com/office/drawing/2014/main" id="{84C21C90-94BF-4ADB-A5E9-DB4C106B5A8D}"/>
              </a:ext>
            </a:extLst>
          </p:cNvPr>
          <p:cNvPicPr>
            <a:picLocks noChangeAspect="1"/>
          </p:cNvPicPr>
          <p:nvPr/>
        </p:nvPicPr>
        <p:blipFill>
          <a:blip r:embed="rId6"/>
          <a:stretch>
            <a:fillRect/>
          </a:stretch>
        </p:blipFill>
        <p:spPr>
          <a:xfrm>
            <a:off x="484673" y="1383615"/>
            <a:ext cx="893426" cy="805341"/>
          </a:xfrm>
          <a:prstGeom prst="rect">
            <a:avLst/>
          </a:prstGeom>
          <a:ln>
            <a:noFill/>
          </a:ln>
          <a:effectLst>
            <a:softEdge rad="112500"/>
          </a:effectLst>
        </p:spPr>
      </p:pic>
      <p:pic>
        <p:nvPicPr>
          <p:cNvPr id="82" name="Picture 81">
            <a:extLst>
              <a:ext uri="{FF2B5EF4-FFF2-40B4-BE49-F238E27FC236}">
                <a16:creationId xmlns:a16="http://schemas.microsoft.com/office/drawing/2014/main" id="{040F56BF-F599-46B9-9186-3C372DB70D2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99703" y="1419401"/>
            <a:ext cx="343132" cy="718434"/>
          </a:xfrm>
          <a:prstGeom prst="rect">
            <a:avLst/>
          </a:prstGeom>
        </p:spPr>
      </p:pic>
      <p:cxnSp>
        <p:nvCxnSpPr>
          <p:cNvPr id="83" name="Straight Arrow Connector 82">
            <a:extLst>
              <a:ext uri="{FF2B5EF4-FFF2-40B4-BE49-F238E27FC236}">
                <a16:creationId xmlns:a16="http://schemas.microsoft.com/office/drawing/2014/main" id="{C560463D-9EB9-4C78-9525-873572B2CD47}"/>
              </a:ext>
            </a:extLst>
          </p:cNvPr>
          <p:cNvCxnSpPr>
            <a:cxnSpLocks/>
          </p:cNvCxnSpPr>
          <p:nvPr/>
        </p:nvCxnSpPr>
        <p:spPr bwMode="auto">
          <a:xfrm>
            <a:off x="1570693" y="1700106"/>
            <a:ext cx="376558" cy="0"/>
          </a:xfrm>
          <a:prstGeom prst="straightConnector1">
            <a:avLst/>
          </a:prstGeom>
          <a:solidFill>
            <a:schemeClr val="accent1"/>
          </a:solidFill>
          <a:ln w="28575" cap="flat" cmpd="sng" algn="ctr">
            <a:solidFill>
              <a:schemeClr val="tx1"/>
            </a:solidFill>
            <a:prstDash val="solid"/>
            <a:round/>
            <a:headEnd type="none" w="med" len="med"/>
            <a:tailEnd type="triangle"/>
          </a:ln>
          <a:effectLst/>
        </p:spPr>
      </p:cxnSp>
      <p:cxnSp>
        <p:nvCxnSpPr>
          <p:cNvPr id="84" name="Straight Arrow Connector 83">
            <a:extLst>
              <a:ext uri="{FF2B5EF4-FFF2-40B4-BE49-F238E27FC236}">
                <a16:creationId xmlns:a16="http://schemas.microsoft.com/office/drawing/2014/main" id="{C8250912-89C2-40EB-BA0E-81C4F396C8D6}"/>
              </a:ext>
            </a:extLst>
          </p:cNvPr>
          <p:cNvCxnSpPr>
            <a:cxnSpLocks/>
          </p:cNvCxnSpPr>
          <p:nvPr/>
        </p:nvCxnSpPr>
        <p:spPr bwMode="auto">
          <a:xfrm>
            <a:off x="5547231" y="1514420"/>
            <a:ext cx="417874" cy="389762"/>
          </a:xfrm>
          <a:prstGeom prst="straightConnector1">
            <a:avLst/>
          </a:prstGeom>
          <a:solidFill>
            <a:schemeClr val="accent1"/>
          </a:solidFill>
          <a:ln w="28575" cap="flat" cmpd="sng" algn="ctr">
            <a:solidFill>
              <a:schemeClr val="tx1"/>
            </a:solidFill>
            <a:prstDash val="solid"/>
            <a:round/>
            <a:headEnd type="none" w="med" len="med"/>
            <a:tailEnd type="triangle"/>
          </a:ln>
          <a:effectLst/>
        </p:spPr>
      </p:cxnSp>
      <p:cxnSp>
        <p:nvCxnSpPr>
          <p:cNvPr id="85" name="Straight Arrow Connector 84">
            <a:extLst>
              <a:ext uri="{FF2B5EF4-FFF2-40B4-BE49-F238E27FC236}">
                <a16:creationId xmlns:a16="http://schemas.microsoft.com/office/drawing/2014/main" id="{5F8C0683-9118-4E88-A36C-F94FC35EB680}"/>
              </a:ext>
            </a:extLst>
          </p:cNvPr>
          <p:cNvCxnSpPr>
            <a:cxnSpLocks/>
          </p:cNvCxnSpPr>
          <p:nvPr/>
        </p:nvCxnSpPr>
        <p:spPr bwMode="auto">
          <a:xfrm flipH="1">
            <a:off x="6235067" y="1533654"/>
            <a:ext cx="289514" cy="356476"/>
          </a:xfrm>
          <a:prstGeom prst="straightConnector1">
            <a:avLst/>
          </a:prstGeom>
          <a:solidFill>
            <a:schemeClr val="accent1"/>
          </a:solidFill>
          <a:ln w="28575" cap="flat" cmpd="sng" algn="ctr">
            <a:solidFill>
              <a:schemeClr val="tx1"/>
            </a:solidFill>
            <a:prstDash val="solid"/>
            <a:round/>
            <a:headEnd type="none" w="med" len="med"/>
            <a:tailEnd type="triangle"/>
          </a:ln>
          <a:effectLst/>
        </p:spPr>
      </p:cxnSp>
      <p:sp>
        <p:nvSpPr>
          <p:cNvPr id="86" name="Rectangle 85">
            <a:extLst>
              <a:ext uri="{FF2B5EF4-FFF2-40B4-BE49-F238E27FC236}">
                <a16:creationId xmlns:a16="http://schemas.microsoft.com/office/drawing/2014/main" id="{3268D3D8-7E83-4751-A02D-FF55897B938C}"/>
              </a:ext>
            </a:extLst>
          </p:cNvPr>
          <p:cNvSpPr/>
          <p:nvPr/>
        </p:nvSpPr>
        <p:spPr bwMode="auto">
          <a:xfrm>
            <a:off x="1402207" y="662156"/>
            <a:ext cx="10131973" cy="555784"/>
          </a:xfrm>
          <a:prstGeom prst="rect">
            <a:avLst/>
          </a:prstGeom>
          <a:noFill/>
          <a:ln w="9525" cap="flat" cmpd="sng" algn="ctr">
            <a:noFill/>
            <a:prstDash val="solid"/>
            <a:round/>
            <a:headEnd type="none" w="med" len="med"/>
            <a:tailEnd type="none" w="med" len="med"/>
          </a:ln>
          <a:effectLst/>
        </p:spPr>
        <p:txBody>
          <a:bodyPr vert="horz" wrap="square" lIns="85186" tIns="42593" rIns="85186" bIns="42593" numCol="1" rtlCol="0" anchor="t" anchorCtr="0" compatLnSpc="1">
            <a:prstTxWarp prst="textNoShape">
              <a:avLst/>
            </a:prstTxWarp>
          </a:bodyPr>
          <a:lstStyle/>
          <a:p>
            <a:pPr defTabSz="851861"/>
            <a:endParaRPr lang="en-US">
              <a:solidFill>
                <a:srgbClr val="000000"/>
              </a:solidFill>
              <a:latin typeface="Arial" pitchFamily="124" charset="0"/>
            </a:endParaRPr>
          </a:p>
        </p:txBody>
      </p:sp>
      <p:sp>
        <p:nvSpPr>
          <p:cNvPr id="87" name="TextBox 86">
            <a:extLst>
              <a:ext uri="{FF2B5EF4-FFF2-40B4-BE49-F238E27FC236}">
                <a16:creationId xmlns:a16="http://schemas.microsoft.com/office/drawing/2014/main" id="{4DB74B38-E283-4C0A-AB1D-79E3D45E5BC7}"/>
              </a:ext>
            </a:extLst>
          </p:cNvPr>
          <p:cNvSpPr txBox="1"/>
          <p:nvPr/>
        </p:nvSpPr>
        <p:spPr>
          <a:xfrm>
            <a:off x="9654914" y="663103"/>
            <a:ext cx="2124568" cy="523220"/>
          </a:xfrm>
          <a:prstGeom prst="rect">
            <a:avLst/>
          </a:prstGeom>
          <a:noFill/>
        </p:spPr>
        <p:txBody>
          <a:bodyPr wrap="square" lIns="91440" tIns="45720" rIns="91440" bIns="45720" rtlCol="0" anchor="t">
            <a:spAutoFit/>
          </a:bodyPr>
          <a:lstStyle/>
          <a:p>
            <a:r>
              <a:rPr lang="en-US" sz="1400" dirty="0"/>
              <a:t>Visualize &amp; purify PCR product</a:t>
            </a:r>
            <a:endParaRPr lang="en-US" dirty="0">
              <a:cs typeface="Arial"/>
            </a:endParaRPr>
          </a:p>
        </p:txBody>
      </p:sp>
      <p:sp>
        <p:nvSpPr>
          <p:cNvPr id="88" name="TextBox 87">
            <a:extLst>
              <a:ext uri="{FF2B5EF4-FFF2-40B4-BE49-F238E27FC236}">
                <a16:creationId xmlns:a16="http://schemas.microsoft.com/office/drawing/2014/main" id="{A0575EF7-CD8C-482C-9424-5555CC50BC18}"/>
              </a:ext>
            </a:extLst>
          </p:cNvPr>
          <p:cNvSpPr txBox="1"/>
          <p:nvPr/>
        </p:nvSpPr>
        <p:spPr>
          <a:xfrm>
            <a:off x="9709929" y="1203957"/>
            <a:ext cx="2278475" cy="430887"/>
          </a:xfrm>
          <a:prstGeom prst="rect">
            <a:avLst/>
          </a:prstGeom>
          <a:noFill/>
          <a:ln>
            <a:solidFill>
              <a:srgbClr val="00B050"/>
            </a:solidFill>
          </a:ln>
        </p:spPr>
        <p:txBody>
          <a:bodyPr wrap="square" lIns="91440" tIns="45720" rIns="91440" bIns="45720" rtlCol="0" anchor="t">
            <a:spAutoFit/>
          </a:bodyPr>
          <a:lstStyle/>
          <a:p>
            <a:pPr marL="171450" indent="-171450">
              <a:buFont typeface="Arial" panose="020B0604020202020204" pitchFamily="34" charset="0"/>
              <a:buChar char="•"/>
            </a:pPr>
            <a:r>
              <a:rPr lang="en-US" sz="1100" dirty="0"/>
              <a:t>Electrophoresis</a:t>
            </a:r>
          </a:p>
          <a:p>
            <a:pPr marL="171450" indent="-171450">
              <a:buFont typeface="Arial" panose="020B0604020202020204" pitchFamily="34" charset="0"/>
              <a:buChar char="•"/>
            </a:pPr>
            <a:r>
              <a:rPr lang="en-US" sz="1100" dirty="0"/>
              <a:t>Purification</a:t>
            </a:r>
          </a:p>
        </p:txBody>
      </p:sp>
      <p:pic>
        <p:nvPicPr>
          <p:cNvPr id="89" name="Picture 2" descr="QuantStudio™ 5 Real-Time PCR System, 96-well, 0.1mL from Thermo Fisher  Scientific | Biocompare.com">
            <a:extLst>
              <a:ext uri="{FF2B5EF4-FFF2-40B4-BE49-F238E27FC236}">
                <a16:creationId xmlns:a16="http://schemas.microsoft.com/office/drawing/2014/main" id="{DDEFF58C-7444-45E5-A18A-F38A3E80EC7A}"/>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989902" y="2129868"/>
            <a:ext cx="1078355" cy="808766"/>
          </a:xfrm>
          <a:prstGeom prst="rect">
            <a:avLst/>
          </a:prstGeom>
          <a:noFill/>
          <a:ln>
            <a:solidFill>
              <a:srgbClr val="00B050"/>
            </a:solidFill>
          </a:ln>
          <a:extLst>
            <a:ext uri="{909E8E84-426E-40DD-AFC4-6F175D3DCCD1}">
              <a14:hiddenFill xmlns:a14="http://schemas.microsoft.com/office/drawing/2010/main">
                <a:solidFill>
                  <a:srgbClr val="FFFFFF"/>
                </a:solidFill>
              </a14:hiddenFill>
            </a:ext>
          </a:extLst>
        </p:spPr>
      </p:pic>
      <p:sp>
        <p:nvSpPr>
          <p:cNvPr id="90" name="TextBox 89">
            <a:extLst>
              <a:ext uri="{FF2B5EF4-FFF2-40B4-BE49-F238E27FC236}">
                <a16:creationId xmlns:a16="http://schemas.microsoft.com/office/drawing/2014/main" id="{449D14CA-E4FF-482E-804C-901EA4B36B36}"/>
              </a:ext>
            </a:extLst>
          </p:cNvPr>
          <p:cNvSpPr txBox="1"/>
          <p:nvPr/>
        </p:nvSpPr>
        <p:spPr>
          <a:xfrm>
            <a:off x="2936829" y="2603233"/>
            <a:ext cx="1760153" cy="400110"/>
          </a:xfrm>
          <a:prstGeom prst="rect">
            <a:avLst/>
          </a:prstGeom>
          <a:noFill/>
          <a:ln>
            <a:noFill/>
          </a:ln>
        </p:spPr>
        <p:txBody>
          <a:bodyPr wrap="square" lIns="91440" tIns="45720" rIns="91440" bIns="45720" rtlCol="0" anchor="t">
            <a:spAutoFit/>
          </a:bodyPr>
          <a:lstStyle/>
          <a:p>
            <a:pPr marL="171450" indent="-171450">
              <a:buFont typeface="Arial" panose="020B0604020202020204" pitchFamily="34" charset="0"/>
              <a:buChar char="•"/>
            </a:pPr>
            <a:r>
              <a:rPr lang="en-US" sz="1000" dirty="0"/>
              <a:t>Ligation of adapters for NGS</a:t>
            </a:r>
          </a:p>
        </p:txBody>
      </p:sp>
      <p:sp>
        <p:nvSpPr>
          <p:cNvPr id="91" name="TextBox 90">
            <a:extLst>
              <a:ext uri="{FF2B5EF4-FFF2-40B4-BE49-F238E27FC236}">
                <a16:creationId xmlns:a16="http://schemas.microsoft.com/office/drawing/2014/main" id="{863ECD82-5B28-4783-86ED-FF4C19C41F10}"/>
              </a:ext>
            </a:extLst>
          </p:cNvPr>
          <p:cNvSpPr txBox="1"/>
          <p:nvPr/>
        </p:nvSpPr>
        <p:spPr>
          <a:xfrm>
            <a:off x="5564610" y="2497337"/>
            <a:ext cx="1110816" cy="261610"/>
          </a:xfrm>
          <a:prstGeom prst="rect">
            <a:avLst/>
          </a:prstGeom>
          <a:noFill/>
          <a:ln>
            <a:noFill/>
          </a:ln>
        </p:spPr>
        <p:txBody>
          <a:bodyPr wrap="square" rtlCol="0">
            <a:spAutoFit/>
          </a:bodyPr>
          <a:lstStyle/>
          <a:p>
            <a:r>
              <a:rPr lang="en-US" sz="1100" dirty="0"/>
              <a:t>Plastics </a:t>
            </a:r>
          </a:p>
        </p:txBody>
      </p:sp>
      <p:sp>
        <p:nvSpPr>
          <p:cNvPr id="92" name="TextBox 91">
            <a:extLst>
              <a:ext uri="{FF2B5EF4-FFF2-40B4-BE49-F238E27FC236}">
                <a16:creationId xmlns:a16="http://schemas.microsoft.com/office/drawing/2014/main" id="{D1D0BCA1-9672-4C27-80D5-2C38E11EC150}"/>
              </a:ext>
            </a:extLst>
          </p:cNvPr>
          <p:cNvSpPr txBox="1"/>
          <p:nvPr/>
        </p:nvSpPr>
        <p:spPr>
          <a:xfrm>
            <a:off x="7279627" y="900615"/>
            <a:ext cx="1110816" cy="430887"/>
          </a:xfrm>
          <a:prstGeom prst="rect">
            <a:avLst/>
          </a:prstGeom>
          <a:noFill/>
          <a:ln>
            <a:noFill/>
          </a:ln>
        </p:spPr>
        <p:txBody>
          <a:bodyPr wrap="square" rtlCol="0">
            <a:spAutoFit/>
          </a:bodyPr>
          <a:lstStyle/>
          <a:p>
            <a:r>
              <a:rPr lang="en-US" sz="1100" dirty="0"/>
              <a:t>Thermal Cycler</a:t>
            </a:r>
          </a:p>
        </p:txBody>
      </p:sp>
      <p:sp>
        <p:nvSpPr>
          <p:cNvPr id="93" name="TextBox 92">
            <a:extLst>
              <a:ext uri="{FF2B5EF4-FFF2-40B4-BE49-F238E27FC236}">
                <a16:creationId xmlns:a16="http://schemas.microsoft.com/office/drawing/2014/main" id="{90791E69-A41B-4B4E-82BF-787CD72C8980}"/>
              </a:ext>
            </a:extLst>
          </p:cNvPr>
          <p:cNvSpPr txBox="1"/>
          <p:nvPr/>
        </p:nvSpPr>
        <p:spPr>
          <a:xfrm>
            <a:off x="7323418" y="2412698"/>
            <a:ext cx="1110816" cy="261610"/>
          </a:xfrm>
          <a:prstGeom prst="rect">
            <a:avLst/>
          </a:prstGeom>
          <a:noFill/>
          <a:ln>
            <a:noFill/>
          </a:ln>
        </p:spPr>
        <p:txBody>
          <a:bodyPr wrap="square" rtlCol="0">
            <a:spAutoFit/>
          </a:bodyPr>
          <a:lstStyle/>
          <a:p>
            <a:r>
              <a:rPr lang="en-US" sz="1100" dirty="0"/>
              <a:t>qPCR</a:t>
            </a:r>
          </a:p>
        </p:txBody>
      </p:sp>
      <p:sp>
        <p:nvSpPr>
          <p:cNvPr id="94" name="Rectangle 93">
            <a:extLst>
              <a:ext uri="{FF2B5EF4-FFF2-40B4-BE49-F238E27FC236}">
                <a16:creationId xmlns:a16="http://schemas.microsoft.com/office/drawing/2014/main" id="{F47DDFDA-8A48-440A-84C4-2960C3A0466E}"/>
              </a:ext>
            </a:extLst>
          </p:cNvPr>
          <p:cNvSpPr/>
          <p:nvPr/>
        </p:nvSpPr>
        <p:spPr bwMode="auto">
          <a:xfrm>
            <a:off x="9634420" y="3253637"/>
            <a:ext cx="2388506" cy="2462331"/>
          </a:xfrm>
          <a:prstGeom prst="rect">
            <a:avLst/>
          </a:prstGeom>
          <a:noFill/>
          <a:ln w="19050"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US" sz="1800">
              <a:latin typeface="Arial" pitchFamily="124" charset="0"/>
            </a:endParaRPr>
          </a:p>
        </p:txBody>
      </p:sp>
      <p:sp>
        <p:nvSpPr>
          <p:cNvPr id="95" name="Rectangle 94">
            <a:extLst>
              <a:ext uri="{FF2B5EF4-FFF2-40B4-BE49-F238E27FC236}">
                <a16:creationId xmlns:a16="http://schemas.microsoft.com/office/drawing/2014/main" id="{CF9598C4-57AB-4013-A5D5-5F474B345577}"/>
              </a:ext>
            </a:extLst>
          </p:cNvPr>
          <p:cNvSpPr/>
          <p:nvPr/>
        </p:nvSpPr>
        <p:spPr bwMode="auto">
          <a:xfrm>
            <a:off x="7238217" y="3253637"/>
            <a:ext cx="2388506" cy="2462331"/>
          </a:xfrm>
          <a:prstGeom prst="rect">
            <a:avLst/>
          </a:prstGeom>
          <a:noFill/>
          <a:ln w="19050"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US" sz="1800">
              <a:latin typeface="Arial" pitchFamily="124" charset="0"/>
            </a:endParaRPr>
          </a:p>
        </p:txBody>
      </p:sp>
      <p:sp>
        <p:nvSpPr>
          <p:cNvPr id="96" name="Rectangle 95">
            <a:extLst>
              <a:ext uri="{FF2B5EF4-FFF2-40B4-BE49-F238E27FC236}">
                <a16:creationId xmlns:a16="http://schemas.microsoft.com/office/drawing/2014/main" id="{D568AED8-AF8E-483E-9A1A-44C8ACAF791D}"/>
              </a:ext>
            </a:extLst>
          </p:cNvPr>
          <p:cNvSpPr/>
          <p:nvPr/>
        </p:nvSpPr>
        <p:spPr bwMode="auto">
          <a:xfrm>
            <a:off x="4841492" y="3253638"/>
            <a:ext cx="2388506" cy="2462331"/>
          </a:xfrm>
          <a:prstGeom prst="rect">
            <a:avLst/>
          </a:prstGeom>
          <a:noFill/>
          <a:ln w="19050"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US" sz="1800">
              <a:latin typeface="Arial" pitchFamily="124" charset="0"/>
            </a:endParaRPr>
          </a:p>
        </p:txBody>
      </p:sp>
      <p:sp>
        <p:nvSpPr>
          <p:cNvPr id="97" name="Rectangle 96">
            <a:extLst>
              <a:ext uri="{FF2B5EF4-FFF2-40B4-BE49-F238E27FC236}">
                <a16:creationId xmlns:a16="http://schemas.microsoft.com/office/drawing/2014/main" id="{C36DE819-DADC-4CAB-8EDF-19FDE27F9933}"/>
              </a:ext>
            </a:extLst>
          </p:cNvPr>
          <p:cNvSpPr/>
          <p:nvPr/>
        </p:nvSpPr>
        <p:spPr bwMode="auto">
          <a:xfrm>
            <a:off x="2867402" y="3256669"/>
            <a:ext cx="1966393" cy="2462331"/>
          </a:xfrm>
          <a:prstGeom prst="rect">
            <a:avLst/>
          </a:prstGeom>
          <a:noFill/>
          <a:ln w="19050"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US" sz="1800">
              <a:latin typeface="Arial" pitchFamily="124" charset="0"/>
            </a:endParaRPr>
          </a:p>
        </p:txBody>
      </p:sp>
      <p:sp>
        <p:nvSpPr>
          <p:cNvPr id="98" name="Rectangle 97">
            <a:extLst>
              <a:ext uri="{FF2B5EF4-FFF2-40B4-BE49-F238E27FC236}">
                <a16:creationId xmlns:a16="http://schemas.microsoft.com/office/drawing/2014/main" id="{D4A24C10-F439-4109-87E0-33E921232741}"/>
              </a:ext>
            </a:extLst>
          </p:cNvPr>
          <p:cNvSpPr/>
          <p:nvPr/>
        </p:nvSpPr>
        <p:spPr bwMode="auto">
          <a:xfrm>
            <a:off x="243184" y="3256670"/>
            <a:ext cx="2614031" cy="2462331"/>
          </a:xfrm>
          <a:prstGeom prst="rect">
            <a:avLst/>
          </a:prstGeom>
          <a:noFill/>
          <a:ln w="19050"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US" sz="1800">
              <a:latin typeface="Arial" pitchFamily="124" charset="0"/>
            </a:endParaRPr>
          </a:p>
        </p:txBody>
      </p:sp>
      <p:sp>
        <p:nvSpPr>
          <p:cNvPr id="99" name="TextBox 98">
            <a:extLst>
              <a:ext uri="{FF2B5EF4-FFF2-40B4-BE49-F238E27FC236}">
                <a16:creationId xmlns:a16="http://schemas.microsoft.com/office/drawing/2014/main" id="{C2C2BB42-5476-4496-B4A9-5DC4B34A4271}"/>
              </a:ext>
            </a:extLst>
          </p:cNvPr>
          <p:cNvSpPr txBox="1"/>
          <p:nvPr/>
        </p:nvSpPr>
        <p:spPr>
          <a:xfrm>
            <a:off x="233448" y="3244863"/>
            <a:ext cx="2122467" cy="307777"/>
          </a:xfrm>
          <a:prstGeom prst="rect">
            <a:avLst/>
          </a:prstGeom>
          <a:noFill/>
        </p:spPr>
        <p:txBody>
          <a:bodyPr wrap="square" rtlCol="0">
            <a:spAutoFit/>
          </a:bodyPr>
          <a:lstStyle/>
          <a:p>
            <a:r>
              <a:rPr lang="en-US" sz="1400" dirty="0"/>
              <a:t>Extract the ingredients</a:t>
            </a:r>
          </a:p>
        </p:txBody>
      </p:sp>
      <p:sp>
        <p:nvSpPr>
          <p:cNvPr id="100" name="TextBox 99">
            <a:extLst>
              <a:ext uri="{FF2B5EF4-FFF2-40B4-BE49-F238E27FC236}">
                <a16:creationId xmlns:a16="http://schemas.microsoft.com/office/drawing/2014/main" id="{49EB6B57-3073-404C-90F0-761B57B68387}"/>
              </a:ext>
            </a:extLst>
          </p:cNvPr>
          <p:cNvSpPr txBox="1"/>
          <p:nvPr/>
        </p:nvSpPr>
        <p:spPr>
          <a:xfrm>
            <a:off x="2865156" y="3253637"/>
            <a:ext cx="1776470" cy="307777"/>
          </a:xfrm>
          <a:prstGeom prst="rect">
            <a:avLst/>
          </a:prstGeom>
          <a:noFill/>
        </p:spPr>
        <p:txBody>
          <a:bodyPr wrap="square" rtlCol="0">
            <a:spAutoFit/>
          </a:bodyPr>
          <a:lstStyle/>
          <a:p>
            <a:r>
              <a:rPr lang="en-US" sz="1400" dirty="0"/>
              <a:t>Make the mixture</a:t>
            </a:r>
          </a:p>
        </p:txBody>
      </p:sp>
      <p:sp>
        <p:nvSpPr>
          <p:cNvPr id="101" name="TextBox 100">
            <a:extLst>
              <a:ext uri="{FF2B5EF4-FFF2-40B4-BE49-F238E27FC236}">
                <a16:creationId xmlns:a16="http://schemas.microsoft.com/office/drawing/2014/main" id="{5813D5AC-2D6A-4AAE-A0DE-CED60BD3F122}"/>
              </a:ext>
            </a:extLst>
          </p:cNvPr>
          <p:cNvSpPr txBox="1"/>
          <p:nvPr/>
        </p:nvSpPr>
        <p:spPr>
          <a:xfrm>
            <a:off x="4883361" y="3266941"/>
            <a:ext cx="2270513" cy="307777"/>
          </a:xfrm>
          <a:prstGeom prst="rect">
            <a:avLst/>
          </a:prstGeom>
          <a:noFill/>
        </p:spPr>
        <p:txBody>
          <a:bodyPr wrap="square" lIns="91440" tIns="45720" rIns="91440" bIns="45720" rtlCol="0" anchor="t">
            <a:spAutoFit/>
          </a:bodyPr>
          <a:lstStyle/>
          <a:p>
            <a:r>
              <a:rPr lang="en-US" sz="1400" dirty="0"/>
              <a:t>Assemble the mixture</a:t>
            </a:r>
          </a:p>
        </p:txBody>
      </p:sp>
      <p:sp>
        <p:nvSpPr>
          <p:cNvPr id="102" name="TextBox 101">
            <a:extLst>
              <a:ext uri="{FF2B5EF4-FFF2-40B4-BE49-F238E27FC236}">
                <a16:creationId xmlns:a16="http://schemas.microsoft.com/office/drawing/2014/main" id="{BAA797F2-C54D-43CE-B7AD-C279C449BC76}"/>
              </a:ext>
            </a:extLst>
          </p:cNvPr>
          <p:cNvSpPr txBox="1"/>
          <p:nvPr/>
        </p:nvSpPr>
        <p:spPr>
          <a:xfrm>
            <a:off x="7239349" y="3244863"/>
            <a:ext cx="1776470" cy="307777"/>
          </a:xfrm>
          <a:prstGeom prst="rect">
            <a:avLst/>
          </a:prstGeom>
          <a:noFill/>
        </p:spPr>
        <p:txBody>
          <a:bodyPr wrap="square" lIns="91440" tIns="45720" rIns="91440" bIns="45720" rtlCol="0" anchor="t">
            <a:spAutoFit/>
          </a:bodyPr>
          <a:lstStyle/>
          <a:p>
            <a:r>
              <a:rPr lang="en-US" sz="1400" dirty="0"/>
              <a:t>Bake</a:t>
            </a:r>
          </a:p>
        </p:txBody>
      </p:sp>
      <p:sp>
        <p:nvSpPr>
          <p:cNvPr id="108" name="TextBox 107">
            <a:extLst>
              <a:ext uri="{FF2B5EF4-FFF2-40B4-BE49-F238E27FC236}">
                <a16:creationId xmlns:a16="http://schemas.microsoft.com/office/drawing/2014/main" id="{001B4E6B-2518-464C-83CA-7E4D6AA3F140}"/>
              </a:ext>
            </a:extLst>
          </p:cNvPr>
          <p:cNvSpPr txBox="1"/>
          <p:nvPr/>
        </p:nvSpPr>
        <p:spPr>
          <a:xfrm>
            <a:off x="4915569" y="3883718"/>
            <a:ext cx="1110816" cy="261610"/>
          </a:xfrm>
          <a:prstGeom prst="rect">
            <a:avLst/>
          </a:prstGeom>
          <a:noFill/>
          <a:ln>
            <a:solidFill>
              <a:srgbClr val="00B050"/>
            </a:solidFill>
          </a:ln>
        </p:spPr>
        <p:txBody>
          <a:bodyPr wrap="square" rtlCol="0">
            <a:spAutoFit/>
          </a:bodyPr>
          <a:lstStyle/>
          <a:p>
            <a:r>
              <a:rPr lang="en-US" sz="1100" dirty="0"/>
              <a:t>Blueberries </a:t>
            </a:r>
          </a:p>
        </p:txBody>
      </p:sp>
      <p:sp>
        <p:nvSpPr>
          <p:cNvPr id="109" name="TextBox 108">
            <a:extLst>
              <a:ext uri="{FF2B5EF4-FFF2-40B4-BE49-F238E27FC236}">
                <a16:creationId xmlns:a16="http://schemas.microsoft.com/office/drawing/2014/main" id="{F26E87C0-9F1E-4FC0-AD79-E5D1939EF367}"/>
              </a:ext>
            </a:extLst>
          </p:cNvPr>
          <p:cNvSpPr txBox="1"/>
          <p:nvPr/>
        </p:nvSpPr>
        <p:spPr>
          <a:xfrm>
            <a:off x="6129941" y="3883718"/>
            <a:ext cx="829442" cy="261610"/>
          </a:xfrm>
          <a:prstGeom prst="rect">
            <a:avLst/>
          </a:prstGeom>
          <a:noFill/>
          <a:ln>
            <a:solidFill>
              <a:srgbClr val="00B050"/>
            </a:solidFill>
          </a:ln>
        </p:spPr>
        <p:txBody>
          <a:bodyPr wrap="square" lIns="91440" tIns="45720" rIns="91440" bIns="45720" rtlCol="0" anchor="t">
            <a:spAutoFit/>
          </a:bodyPr>
          <a:lstStyle/>
          <a:p>
            <a:r>
              <a:rPr lang="en-US" sz="1100" dirty="0"/>
              <a:t>Cream</a:t>
            </a:r>
            <a:endParaRPr lang="en-US" sz="1100" dirty="0">
              <a:cs typeface="Arial"/>
            </a:endParaRPr>
          </a:p>
        </p:txBody>
      </p:sp>
      <p:cxnSp>
        <p:nvCxnSpPr>
          <p:cNvPr id="114" name="Straight Arrow Connector 113">
            <a:extLst>
              <a:ext uri="{FF2B5EF4-FFF2-40B4-BE49-F238E27FC236}">
                <a16:creationId xmlns:a16="http://schemas.microsoft.com/office/drawing/2014/main" id="{15BBD8BB-E521-4E26-A8B4-85BFCACFC681}"/>
              </a:ext>
            </a:extLst>
          </p:cNvPr>
          <p:cNvCxnSpPr>
            <a:cxnSpLocks/>
          </p:cNvCxnSpPr>
          <p:nvPr/>
        </p:nvCxnSpPr>
        <p:spPr bwMode="auto">
          <a:xfrm>
            <a:off x="5526737" y="4145328"/>
            <a:ext cx="417874" cy="389762"/>
          </a:xfrm>
          <a:prstGeom prst="straightConnector1">
            <a:avLst/>
          </a:prstGeom>
          <a:solidFill>
            <a:schemeClr val="accent1"/>
          </a:solidFill>
          <a:ln w="28575" cap="flat" cmpd="sng" algn="ctr">
            <a:solidFill>
              <a:schemeClr val="tx1"/>
            </a:solidFill>
            <a:prstDash val="solid"/>
            <a:round/>
            <a:headEnd type="none" w="med" len="med"/>
            <a:tailEnd type="triangle"/>
          </a:ln>
          <a:effectLst/>
        </p:spPr>
      </p:cxnSp>
      <p:cxnSp>
        <p:nvCxnSpPr>
          <p:cNvPr id="115" name="Straight Arrow Connector 114">
            <a:extLst>
              <a:ext uri="{FF2B5EF4-FFF2-40B4-BE49-F238E27FC236}">
                <a16:creationId xmlns:a16="http://schemas.microsoft.com/office/drawing/2014/main" id="{E37E01F2-5AFE-43E7-B9C4-7693BF2BE49B}"/>
              </a:ext>
            </a:extLst>
          </p:cNvPr>
          <p:cNvCxnSpPr>
            <a:cxnSpLocks/>
          </p:cNvCxnSpPr>
          <p:nvPr/>
        </p:nvCxnSpPr>
        <p:spPr bwMode="auto">
          <a:xfrm flipH="1">
            <a:off x="6214573" y="4164562"/>
            <a:ext cx="289514" cy="356476"/>
          </a:xfrm>
          <a:prstGeom prst="straightConnector1">
            <a:avLst/>
          </a:prstGeom>
          <a:solidFill>
            <a:schemeClr val="accent1"/>
          </a:solidFill>
          <a:ln w="28575" cap="flat" cmpd="sng" algn="ctr">
            <a:solidFill>
              <a:schemeClr val="tx1"/>
            </a:solidFill>
            <a:prstDash val="solid"/>
            <a:round/>
            <a:headEnd type="none" w="med" len="med"/>
            <a:tailEnd type="triangle"/>
          </a:ln>
          <a:effectLst/>
        </p:spPr>
      </p:cxnSp>
      <p:sp>
        <p:nvSpPr>
          <p:cNvPr id="116" name="Rectangle 115">
            <a:extLst>
              <a:ext uri="{FF2B5EF4-FFF2-40B4-BE49-F238E27FC236}">
                <a16:creationId xmlns:a16="http://schemas.microsoft.com/office/drawing/2014/main" id="{102FEB5F-2FD7-4EA3-B2FF-8728159208FF}"/>
              </a:ext>
            </a:extLst>
          </p:cNvPr>
          <p:cNvSpPr/>
          <p:nvPr/>
        </p:nvSpPr>
        <p:spPr bwMode="auto">
          <a:xfrm>
            <a:off x="1381713" y="3293064"/>
            <a:ext cx="10131973" cy="555784"/>
          </a:xfrm>
          <a:prstGeom prst="rect">
            <a:avLst/>
          </a:prstGeom>
          <a:noFill/>
          <a:ln w="9525" cap="flat" cmpd="sng" algn="ctr">
            <a:noFill/>
            <a:prstDash val="solid"/>
            <a:round/>
            <a:headEnd type="none" w="med" len="med"/>
            <a:tailEnd type="none" w="med" len="med"/>
          </a:ln>
          <a:effectLst/>
        </p:spPr>
        <p:txBody>
          <a:bodyPr vert="horz" wrap="square" lIns="85186" tIns="42593" rIns="85186" bIns="42593" numCol="1" rtlCol="0" anchor="t" anchorCtr="0" compatLnSpc="1">
            <a:prstTxWarp prst="textNoShape">
              <a:avLst/>
            </a:prstTxWarp>
          </a:bodyPr>
          <a:lstStyle/>
          <a:p>
            <a:pPr defTabSz="851861"/>
            <a:endParaRPr lang="en-US">
              <a:solidFill>
                <a:srgbClr val="000000"/>
              </a:solidFill>
              <a:latin typeface="Arial" pitchFamily="124" charset="0"/>
            </a:endParaRPr>
          </a:p>
        </p:txBody>
      </p:sp>
      <p:sp>
        <p:nvSpPr>
          <p:cNvPr id="117" name="TextBox 116">
            <a:extLst>
              <a:ext uri="{FF2B5EF4-FFF2-40B4-BE49-F238E27FC236}">
                <a16:creationId xmlns:a16="http://schemas.microsoft.com/office/drawing/2014/main" id="{BA4FAB20-DD66-497E-805C-C970FE411AF8}"/>
              </a:ext>
            </a:extLst>
          </p:cNvPr>
          <p:cNvSpPr txBox="1"/>
          <p:nvPr/>
        </p:nvSpPr>
        <p:spPr>
          <a:xfrm>
            <a:off x="9634420" y="3294011"/>
            <a:ext cx="2124568" cy="523220"/>
          </a:xfrm>
          <a:prstGeom prst="rect">
            <a:avLst/>
          </a:prstGeom>
          <a:noFill/>
        </p:spPr>
        <p:txBody>
          <a:bodyPr wrap="square" lIns="91440" tIns="45720" rIns="91440" bIns="45720" rtlCol="0" anchor="t">
            <a:spAutoFit/>
          </a:bodyPr>
          <a:lstStyle/>
          <a:p>
            <a:r>
              <a:rPr lang="en-US" sz="1400" dirty="0"/>
              <a:t>Use the cake for other purposes</a:t>
            </a:r>
            <a:endParaRPr lang="en-US" dirty="0">
              <a:cs typeface="Arial"/>
            </a:endParaRPr>
          </a:p>
        </p:txBody>
      </p:sp>
      <p:sp>
        <p:nvSpPr>
          <p:cNvPr id="118" name="TextBox 117">
            <a:extLst>
              <a:ext uri="{FF2B5EF4-FFF2-40B4-BE49-F238E27FC236}">
                <a16:creationId xmlns:a16="http://schemas.microsoft.com/office/drawing/2014/main" id="{207266EB-1931-4FA9-BCE3-2BFA814CDBF9}"/>
              </a:ext>
            </a:extLst>
          </p:cNvPr>
          <p:cNvSpPr txBox="1"/>
          <p:nvPr/>
        </p:nvSpPr>
        <p:spPr>
          <a:xfrm>
            <a:off x="9689435" y="3834865"/>
            <a:ext cx="2278475" cy="769441"/>
          </a:xfrm>
          <a:prstGeom prst="rect">
            <a:avLst/>
          </a:prstGeom>
          <a:noFill/>
          <a:ln>
            <a:solidFill>
              <a:srgbClr val="00B050"/>
            </a:solidFill>
          </a:ln>
        </p:spPr>
        <p:txBody>
          <a:bodyPr wrap="square" lIns="91440" tIns="45720" rIns="91440" bIns="45720" rtlCol="0" anchor="t">
            <a:spAutoFit/>
          </a:bodyPr>
          <a:lstStyle/>
          <a:p>
            <a:pPr marL="171450" indent="-171450">
              <a:buFont typeface="Arial" panose="020B0604020202020204" pitchFamily="34" charset="0"/>
              <a:buChar char="•"/>
            </a:pPr>
            <a:r>
              <a:rPr lang="en-US" sz="1100" dirty="0"/>
              <a:t>Make a multi layer cake</a:t>
            </a:r>
          </a:p>
          <a:p>
            <a:pPr marL="171450" indent="-171450">
              <a:buFont typeface="Arial" panose="020B0604020202020204" pitchFamily="34" charset="0"/>
              <a:buChar char="•"/>
            </a:pPr>
            <a:r>
              <a:rPr lang="en-US" sz="1100" dirty="0"/>
              <a:t>Make cake ice cream </a:t>
            </a:r>
          </a:p>
          <a:p>
            <a:pPr marL="171450" indent="-171450">
              <a:buFont typeface="Arial" panose="020B0604020202020204" pitchFamily="34" charset="0"/>
              <a:buChar char="•"/>
            </a:pPr>
            <a:r>
              <a:rPr lang="en-US" sz="1100" dirty="0"/>
              <a:t>Crumbled cake pie crusts pie</a:t>
            </a:r>
          </a:p>
          <a:p>
            <a:pPr marL="171450" indent="-171450">
              <a:buFont typeface="Arial" panose="020B0604020202020204" pitchFamily="34" charset="0"/>
              <a:buChar char="•"/>
            </a:pPr>
            <a:endParaRPr lang="en-US" sz="1100" dirty="0"/>
          </a:p>
        </p:txBody>
      </p:sp>
      <p:sp>
        <p:nvSpPr>
          <p:cNvPr id="121" name="TextBox 120">
            <a:extLst>
              <a:ext uri="{FF2B5EF4-FFF2-40B4-BE49-F238E27FC236}">
                <a16:creationId xmlns:a16="http://schemas.microsoft.com/office/drawing/2014/main" id="{FCD3058C-370D-40EA-BA67-F10992560A88}"/>
              </a:ext>
            </a:extLst>
          </p:cNvPr>
          <p:cNvSpPr txBox="1"/>
          <p:nvPr/>
        </p:nvSpPr>
        <p:spPr>
          <a:xfrm>
            <a:off x="5659165" y="5409715"/>
            <a:ext cx="1110816" cy="261610"/>
          </a:xfrm>
          <a:prstGeom prst="rect">
            <a:avLst/>
          </a:prstGeom>
          <a:noFill/>
          <a:ln>
            <a:noFill/>
          </a:ln>
        </p:spPr>
        <p:txBody>
          <a:bodyPr wrap="square" rtlCol="0">
            <a:spAutoFit/>
          </a:bodyPr>
          <a:lstStyle/>
          <a:p>
            <a:r>
              <a:rPr lang="en-US" sz="1100" dirty="0"/>
              <a:t>Muffin Pan</a:t>
            </a:r>
          </a:p>
        </p:txBody>
      </p:sp>
      <p:sp>
        <p:nvSpPr>
          <p:cNvPr id="122" name="TextBox 121">
            <a:extLst>
              <a:ext uri="{FF2B5EF4-FFF2-40B4-BE49-F238E27FC236}">
                <a16:creationId xmlns:a16="http://schemas.microsoft.com/office/drawing/2014/main" id="{631C582A-0D41-4485-B39C-C37F67C46938}"/>
              </a:ext>
            </a:extLst>
          </p:cNvPr>
          <p:cNvSpPr txBox="1"/>
          <p:nvPr/>
        </p:nvSpPr>
        <p:spPr>
          <a:xfrm>
            <a:off x="7572176" y="4961487"/>
            <a:ext cx="1110816" cy="261610"/>
          </a:xfrm>
          <a:prstGeom prst="rect">
            <a:avLst/>
          </a:prstGeom>
          <a:noFill/>
          <a:ln>
            <a:noFill/>
          </a:ln>
        </p:spPr>
        <p:txBody>
          <a:bodyPr wrap="square" rtlCol="0">
            <a:spAutoFit/>
          </a:bodyPr>
          <a:lstStyle/>
          <a:p>
            <a:r>
              <a:rPr lang="en-US" sz="1100" dirty="0"/>
              <a:t>Oven</a:t>
            </a:r>
          </a:p>
        </p:txBody>
      </p:sp>
      <p:pic>
        <p:nvPicPr>
          <p:cNvPr id="1026" name="Picture 2" descr="How to Organize Your Oven Racks for Better Cooking | Epicurious">
            <a:extLst>
              <a:ext uri="{FF2B5EF4-FFF2-40B4-BE49-F238E27FC236}">
                <a16:creationId xmlns:a16="http://schemas.microsoft.com/office/drawing/2014/main" id="{C73DD00F-39B7-4F94-A9FE-2DB8415906C6}"/>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584960" y="3640376"/>
            <a:ext cx="1718864" cy="1142032"/>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28" name="Picture 4" descr="Amazon.com: Chicago Metallic Professional 12-Cup Non-Stick Muffin Pan,15.75-Inch-by-11-Inch:  Chicago Metallic Bakeware: Home &amp;amp; Kitchen">
            <a:extLst>
              <a:ext uri="{FF2B5EF4-FFF2-40B4-BE49-F238E27FC236}">
                <a16:creationId xmlns:a16="http://schemas.microsoft.com/office/drawing/2014/main" id="{3F9D87B3-AE42-494E-8C51-74DCEFC524EE}"/>
              </a:ext>
            </a:extLst>
          </p:cNvPr>
          <p:cNvPicPr>
            <a:picLocks noChangeAspect="1" noChangeArrowheads="1"/>
          </p:cNvPicPr>
          <p:nvPr/>
        </p:nvPicPr>
        <p:blipFill>
          <a:blip r:embed="rId10" cstate="print">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470196" y="4511025"/>
            <a:ext cx="1299785" cy="900924"/>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30" name="Picture 6" descr="Egg-laying Chicken and Poultry Care Classes – The GODS CHILD Project">
            <a:extLst>
              <a:ext uri="{FF2B5EF4-FFF2-40B4-BE49-F238E27FC236}">
                <a16:creationId xmlns:a16="http://schemas.microsoft.com/office/drawing/2014/main" id="{D7C56110-2977-4DE7-9109-DECF8F963EA7}"/>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82426" y="3561081"/>
            <a:ext cx="1468897" cy="906884"/>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WHEAT FLOUR">
            <a:extLst>
              <a:ext uri="{FF2B5EF4-FFF2-40B4-BE49-F238E27FC236}">
                <a16:creationId xmlns:a16="http://schemas.microsoft.com/office/drawing/2014/main" id="{991F0512-0A8C-4FBA-9A62-9C998622C775}"/>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35609" y="4604306"/>
            <a:ext cx="906884" cy="906884"/>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Editors&amp;#39; Picks: Mixing Bowls">
            <a:extLst>
              <a:ext uri="{FF2B5EF4-FFF2-40B4-BE49-F238E27FC236}">
                <a16:creationId xmlns:a16="http://schemas.microsoft.com/office/drawing/2014/main" id="{D79430AD-1817-44CE-91D8-12DCE2442DE6}"/>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049360" y="4294060"/>
            <a:ext cx="1717240" cy="1142032"/>
          </a:xfrm>
          <a:prstGeom prst="rect">
            <a:avLst/>
          </a:prstGeom>
          <a:noFill/>
          <a:extLst>
            <a:ext uri="{909E8E84-426E-40DD-AFC4-6F175D3DCCD1}">
              <a14:hiddenFill xmlns:a14="http://schemas.microsoft.com/office/drawing/2010/main">
                <a:solidFill>
                  <a:srgbClr val="FFFFFF"/>
                </a:solidFill>
              </a14:hiddenFill>
            </a:ext>
          </a:extLst>
        </p:spPr>
      </p:pic>
      <p:sp>
        <p:nvSpPr>
          <p:cNvPr id="131" name="TextBox 130">
            <a:extLst>
              <a:ext uri="{FF2B5EF4-FFF2-40B4-BE49-F238E27FC236}">
                <a16:creationId xmlns:a16="http://schemas.microsoft.com/office/drawing/2014/main" id="{9BC0A162-316B-4316-8F33-51BFFC150B0A}"/>
              </a:ext>
            </a:extLst>
          </p:cNvPr>
          <p:cNvSpPr txBox="1"/>
          <p:nvPr/>
        </p:nvSpPr>
        <p:spPr>
          <a:xfrm>
            <a:off x="3006447" y="3614413"/>
            <a:ext cx="1760153" cy="400110"/>
          </a:xfrm>
          <a:prstGeom prst="rect">
            <a:avLst/>
          </a:prstGeom>
          <a:noFill/>
          <a:ln>
            <a:solidFill>
              <a:srgbClr val="00B050"/>
            </a:solidFill>
          </a:ln>
        </p:spPr>
        <p:txBody>
          <a:bodyPr wrap="square" lIns="91440" tIns="45720" rIns="91440" bIns="45720" rtlCol="0" anchor="t">
            <a:spAutoFit/>
          </a:bodyPr>
          <a:lstStyle/>
          <a:p>
            <a:pPr marL="171450" indent="-171450">
              <a:buFont typeface="Arial" panose="020B0604020202020204" pitchFamily="34" charset="0"/>
              <a:buChar char="•"/>
            </a:pPr>
            <a:r>
              <a:rPr lang="en-US" sz="1000" dirty="0"/>
              <a:t>Mix the eggs, flour, butter</a:t>
            </a:r>
          </a:p>
        </p:txBody>
      </p:sp>
    </p:spTree>
    <p:extLst>
      <p:ext uri="{BB962C8B-B14F-4D97-AF65-F5344CB8AC3E}">
        <p14:creationId xmlns:p14="http://schemas.microsoft.com/office/powerpoint/2010/main" val="212978212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ctangle 67">
            <a:extLst>
              <a:ext uri="{FF2B5EF4-FFF2-40B4-BE49-F238E27FC236}">
                <a16:creationId xmlns:a16="http://schemas.microsoft.com/office/drawing/2014/main" id="{C9F6F014-3B35-4791-9F37-53BE19168474}"/>
              </a:ext>
            </a:extLst>
          </p:cNvPr>
          <p:cNvSpPr/>
          <p:nvPr/>
        </p:nvSpPr>
        <p:spPr bwMode="auto">
          <a:xfrm>
            <a:off x="9654914" y="622729"/>
            <a:ext cx="2388506" cy="2462331"/>
          </a:xfrm>
          <a:prstGeom prst="rect">
            <a:avLst/>
          </a:prstGeom>
          <a:noFill/>
          <a:ln w="19050" cap="flat" cmpd="sng" algn="ctr">
            <a:solidFill>
              <a:srgbClr val="3299C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US" sz="1800">
              <a:latin typeface="Arial" pitchFamily="124" charset="0"/>
            </a:endParaRPr>
          </a:p>
        </p:txBody>
      </p:sp>
      <p:sp>
        <p:nvSpPr>
          <p:cNvPr id="67" name="Rectangle 66">
            <a:extLst>
              <a:ext uri="{FF2B5EF4-FFF2-40B4-BE49-F238E27FC236}">
                <a16:creationId xmlns:a16="http://schemas.microsoft.com/office/drawing/2014/main" id="{EBFE80D6-DFBD-469D-A2B5-B1E40A54D3EE}"/>
              </a:ext>
            </a:extLst>
          </p:cNvPr>
          <p:cNvSpPr/>
          <p:nvPr/>
        </p:nvSpPr>
        <p:spPr bwMode="auto">
          <a:xfrm>
            <a:off x="7258711" y="622729"/>
            <a:ext cx="2388506" cy="2462331"/>
          </a:xfrm>
          <a:prstGeom prst="rect">
            <a:avLst/>
          </a:prstGeom>
          <a:noFill/>
          <a:ln w="19050" cap="flat" cmpd="sng" algn="ctr">
            <a:solidFill>
              <a:srgbClr val="3299C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US" sz="1800">
              <a:latin typeface="Arial" pitchFamily="124" charset="0"/>
            </a:endParaRPr>
          </a:p>
        </p:txBody>
      </p:sp>
      <p:sp>
        <p:nvSpPr>
          <p:cNvPr id="66" name="Rectangle 65">
            <a:extLst>
              <a:ext uri="{FF2B5EF4-FFF2-40B4-BE49-F238E27FC236}">
                <a16:creationId xmlns:a16="http://schemas.microsoft.com/office/drawing/2014/main" id="{A463917A-DC8D-4FDB-8D41-AB4A82E453ED}"/>
              </a:ext>
            </a:extLst>
          </p:cNvPr>
          <p:cNvSpPr/>
          <p:nvPr/>
        </p:nvSpPr>
        <p:spPr bwMode="auto">
          <a:xfrm>
            <a:off x="4861986" y="622730"/>
            <a:ext cx="2388506" cy="2462331"/>
          </a:xfrm>
          <a:prstGeom prst="rect">
            <a:avLst/>
          </a:prstGeom>
          <a:noFill/>
          <a:ln w="19050" cap="flat" cmpd="sng" algn="ctr">
            <a:solidFill>
              <a:srgbClr val="3299C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US" sz="1800">
              <a:latin typeface="Arial" pitchFamily="124" charset="0"/>
            </a:endParaRPr>
          </a:p>
        </p:txBody>
      </p:sp>
      <p:sp>
        <p:nvSpPr>
          <p:cNvPr id="65" name="Rectangle 64">
            <a:extLst>
              <a:ext uri="{FF2B5EF4-FFF2-40B4-BE49-F238E27FC236}">
                <a16:creationId xmlns:a16="http://schemas.microsoft.com/office/drawing/2014/main" id="{C09325B8-77BD-4A97-A8FA-0F34CD9D4C81}"/>
              </a:ext>
            </a:extLst>
          </p:cNvPr>
          <p:cNvSpPr/>
          <p:nvPr/>
        </p:nvSpPr>
        <p:spPr bwMode="auto">
          <a:xfrm>
            <a:off x="2887896" y="625761"/>
            <a:ext cx="1966393" cy="2462331"/>
          </a:xfrm>
          <a:prstGeom prst="rect">
            <a:avLst/>
          </a:prstGeom>
          <a:noFill/>
          <a:ln w="19050" cap="flat" cmpd="sng" algn="ctr">
            <a:solidFill>
              <a:srgbClr val="3299C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US" sz="1800">
              <a:latin typeface="Arial" pitchFamily="124" charset="0"/>
            </a:endParaRPr>
          </a:p>
        </p:txBody>
      </p:sp>
      <p:sp>
        <p:nvSpPr>
          <p:cNvPr id="59" name="Rectangle 58">
            <a:extLst>
              <a:ext uri="{FF2B5EF4-FFF2-40B4-BE49-F238E27FC236}">
                <a16:creationId xmlns:a16="http://schemas.microsoft.com/office/drawing/2014/main" id="{B89ADF58-BE26-4AE1-9F9F-80664AA13155}"/>
              </a:ext>
            </a:extLst>
          </p:cNvPr>
          <p:cNvSpPr/>
          <p:nvPr/>
        </p:nvSpPr>
        <p:spPr bwMode="auto">
          <a:xfrm>
            <a:off x="263678" y="625762"/>
            <a:ext cx="2614031" cy="2462331"/>
          </a:xfrm>
          <a:prstGeom prst="rect">
            <a:avLst/>
          </a:prstGeom>
          <a:noFill/>
          <a:ln w="19050" cap="flat" cmpd="sng" algn="ctr">
            <a:solidFill>
              <a:srgbClr val="3299C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US" sz="1800">
              <a:latin typeface="Arial" pitchFamily="124" charset="0"/>
            </a:endParaRPr>
          </a:p>
        </p:txBody>
      </p:sp>
      <p:sp>
        <p:nvSpPr>
          <p:cNvPr id="2" name="Title 1">
            <a:extLst>
              <a:ext uri="{FF2B5EF4-FFF2-40B4-BE49-F238E27FC236}">
                <a16:creationId xmlns:a16="http://schemas.microsoft.com/office/drawing/2014/main" id="{47F2B9EB-F7E0-4878-A3C4-BF4E81B7638D}"/>
              </a:ext>
            </a:extLst>
          </p:cNvPr>
          <p:cNvSpPr>
            <a:spLocks noGrp="1"/>
          </p:cNvSpPr>
          <p:nvPr>
            <p:ph type="title"/>
          </p:nvPr>
        </p:nvSpPr>
        <p:spPr/>
        <p:txBody>
          <a:bodyPr/>
          <a:lstStyle/>
          <a:p>
            <a:r>
              <a:rPr lang="en-US"/>
              <a:t>PCR Workflow Overview</a:t>
            </a:r>
          </a:p>
        </p:txBody>
      </p:sp>
      <p:sp>
        <p:nvSpPr>
          <p:cNvPr id="5" name="TextBox 4">
            <a:extLst>
              <a:ext uri="{FF2B5EF4-FFF2-40B4-BE49-F238E27FC236}">
                <a16:creationId xmlns:a16="http://schemas.microsoft.com/office/drawing/2014/main" id="{3AC5DE8E-A122-4474-904B-93083545F57A}"/>
              </a:ext>
            </a:extLst>
          </p:cNvPr>
          <p:cNvSpPr txBox="1"/>
          <p:nvPr/>
        </p:nvSpPr>
        <p:spPr>
          <a:xfrm>
            <a:off x="253943" y="613955"/>
            <a:ext cx="1776470" cy="307777"/>
          </a:xfrm>
          <a:prstGeom prst="rect">
            <a:avLst/>
          </a:prstGeom>
          <a:noFill/>
        </p:spPr>
        <p:txBody>
          <a:bodyPr wrap="square" rtlCol="0">
            <a:spAutoFit/>
          </a:bodyPr>
          <a:lstStyle/>
          <a:p>
            <a:r>
              <a:rPr lang="en-US" sz="1400"/>
              <a:t>Extract nucleic acid</a:t>
            </a:r>
          </a:p>
        </p:txBody>
      </p:sp>
      <p:sp>
        <p:nvSpPr>
          <p:cNvPr id="22" name="TextBox 21">
            <a:extLst>
              <a:ext uri="{FF2B5EF4-FFF2-40B4-BE49-F238E27FC236}">
                <a16:creationId xmlns:a16="http://schemas.microsoft.com/office/drawing/2014/main" id="{69DDF236-7959-46E2-A1A5-E85D69549EBC}"/>
              </a:ext>
            </a:extLst>
          </p:cNvPr>
          <p:cNvSpPr txBox="1"/>
          <p:nvPr/>
        </p:nvSpPr>
        <p:spPr>
          <a:xfrm>
            <a:off x="2885650" y="622729"/>
            <a:ext cx="1776470" cy="307777"/>
          </a:xfrm>
          <a:prstGeom prst="rect">
            <a:avLst/>
          </a:prstGeom>
          <a:noFill/>
        </p:spPr>
        <p:txBody>
          <a:bodyPr wrap="square" rtlCol="0">
            <a:spAutoFit/>
          </a:bodyPr>
          <a:lstStyle/>
          <a:p>
            <a:r>
              <a:rPr lang="en-US" sz="1400"/>
              <a:t>Modify nucleic acid</a:t>
            </a:r>
          </a:p>
        </p:txBody>
      </p:sp>
      <p:sp>
        <p:nvSpPr>
          <p:cNvPr id="24" name="TextBox 23">
            <a:extLst>
              <a:ext uri="{FF2B5EF4-FFF2-40B4-BE49-F238E27FC236}">
                <a16:creationId xmlns:a16="http://schemas.microsoft.com/office/drawing/2014/main" id="{6F0480F7-97AC-4777-880A-B729B1DF390D}"/>
              </a:ext>
            </a:extLst>
          </p:cNvPr>
          <p:cNvSpPr txBox="1"/>
          <p:nvPr/>
        </p:nvSpPr>
        <p:spPr>
          <a:xfrm>
            <a:off x="4903855" y="636033"/>
            <a:ext cx="2270513" cy="307777"/>
          </a:xfrm>
          <a:prstGeom prst="rect">
            <a:avLst/>
          </a:prstGeom>
          <a:noFill/>
        </p:spPr>
        <p:txBody>
          <a:bodyPr wrap="square" lIns="91440" tIns="45720" rIns="91440" bIns="45720" rtlCol="0" anchor="t">
            <a:spAutoFit/>
          </a:bodyPr>
          <a:lstStyle/>
          <a:p>
            <a:r>
              <a:rPr lang="en-US" sz="1400" dirty="0"/>
              <a:t>Assemble PCR/qPCR </a:t>
            </a:r>
          </a:p>
        </p:txBody>
      </p:sp>
      <p:sp>
        <p:nvSpPr>
          <p:cNvPr id="26" name="TextBox 25">
            <a:extLst>
              <a:ext uri="{FF2B5EF4-FFF2-40B4-BE49-F238E27FC236}">
                <a16:creationId xmlns:a16="http://schemas.microsoft.com/office/drawing/2014/main" id="{D7623F3D-7C6A-4DBA-B5FD-632D568178D0}"/>
              </a:ext>
            </a:extLst>
          </p:cNvPr>
          <p:cNvSpPr txBox="1"/>
          <p:nvPr/>
        </p:nvSpPr>
        <p:spPr>
          <a:xfrm>
            <a:off x="7259843" y="613955"/>
            <a:ext cx="1776470" cy="307777"/>
          </a:xfrm>
          <a:prstGeom prst="rect">
            <a:avLst/>
          </a:prstGeom>
          <a:noFill/>
        </p:spPr>
        <p:txBody>
          <a:bodyPr wrap="square" lIns="91440" tIns="45720" rIns="91440" bIns="45720" rtlCol="0" anchor="t">
            <a:spAutoFit/>
          </a:bodyPr>
          <a:lstStyle/>
          <a:p>
            <a:r>
              <a:rPr lang="en-US" sz="1400" dirty="0"/>
              <a:t>Perform PCR/qPCR</a:t>
            </a:r>
          </a:p>
        </p:txBody>
      </p:sp>
      <p:pic>
        <p:nvPicPr>
          <p:cNvPr id="1028" name="Picture 4" descr="VeritiPro Thermal Cycler User Guide (Pub. No. MAN0019157 A.0)">
            <a:extLst>
              <a:ext uri="{FF2B5EF4-FFF2-40B4-BE49-F238E27FC236}">
                <a16:creationId xmlns:a16="http://schemas.microsoft.com/office/drawing/2014/main" id="{91495842-4DD1-4667-B323-4EAFB340D75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65826" y="969628"/>
            <a:ext cx="1358474" cy="961617"/>
          </a:xfrm>
          <a:prstGeom prst="rect">
            <a:avLst/>
          </a:prstGeom>
          <a:solidFill>
            <a:srgbClr val="C00000"/>
          </a:solidFill>
          <a:ln>
            <a:solidFill>
              <a:srgbClr val="C00000"/>
            </a:solidFill>
          </a:ln>
        </p:spPr>
      </p:pic>
      <p:sp>
        <p:nvSpPr>
          <p:cNvPr id="28" name="TextBox 27">
            <a:extLst>
              <a:ext uri="{FF2B5EF4-FFF2-40B4-BE49-F238E27FC236}">
                <a16:creationId xmlns:a16="http://schemas.microsoft.com/office/drawing/2014/main" id="{ACD78FC8-F621-4F78-8016-5DD88198A37F}"/>
              </a:ext>
            </a:extLst>
          </p:cNvPr>
          <p:cNvSpPr txBox="1"/>
          <p:nvPr/>
        </p:nvSpPr>
        <p:spPr>
          <a:xfrm>
            <a:off x="9647217" y="1778618"/>
            <a:ext cx="1776470" cy="523220"/>
          </a:xfrm>
          <a:prstGeom prst="rect">
            <a:avLst/>
          </a:prstGeom>
          <a:noFill/>
        </p:spPr>
        <p:txBody>
          <a:bodyPr wrap="square" lIns="91440" tIns="45720" rIns="91440" bIns="45720" rtlCol="0" anchor="t">
            <a:spAutoFit/>
          </a:bodyPr>
          <a:lstStyle/>
          <a:p>
            <a:r>
              <a:rPr lang="en-US" sz="1400" dirty="0"/>
              <a:t>Use PCR product for Application</a:t>
            </a:r>
            <a:endParaRPr lang="en-US" dirty="0">
              <a:cs typeface="Arial"/>
            </a:endParaRPr>
          </a:p>
        </p:txBody>
      </p:sp>
      <p:sp>
        <p:nvSpPr>
          <p:cNvPr id="21" name="TextBox 20">
            <a:extLst>
              <a:ext uri="{FF2B5EF4-FFF2-40B4-BE49-F238E27FC236}">
                <a16:creationId xmlns:a16="http://schemas.microsoft.com/office/drawing/2014/main" id="{EAD69EBD-F24A-427E-9834-4D913152DE9D}"/>
              </a:ext>
            </a:extLst>
          </p:cNvPr>
          <p:cNvSpPr txBox="1"/>
          <p:nvPr/>
        </p:nvSpPr>
        <p:spPr>
          <a:xfrm>
            <a:off x="9617976" y="2345232"/>
            <a:ext cx="2278475" cy="769441"/>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r>
              <a:rPr lang="en-US" sz="1100" dirty="0"/>
              <a:t>Genotyping</a:t>
            </a:r>
          </a:p>
          <a:p>
            <a:pPr marL="171450" indent="-171450">
              <a:buFont typeface="Arial" panose="020B0604020202020204" pitchFamily="34" charset="0"/>
              <a:buChar char="•"/>
            </a:pPr>
            <a:r>
              <a:rPr lang="en-US" sz="1100" dirty="0"/>
              <a:t>NGS, Sanger sequencing</a:t>
            </a:r>
          </a:p>
          <a:p>
            <a:pPr marL="171450" indent="-171450">
              <a:buFont typeface="Arial" panose="020B0604020202020204" pitchFamily="34" charset="0"/>
              <a:buChar char="•"/>
            </a:pPr>
            <a:r>
              <a:rPr lang="en-US" sz="1100" dirty="0"/>
              <a:t>Cloning</a:t>
            </a:r>
          </a:p>
          <a:p>
            <a:endParaRPr lang="en-US" sz="1100" dirty="0"/>
          </a:p>
        </p:txBody>
      </p:sp>
      <p:sp>
        <p:nvSpPr>
          <p:cNvPr id="33" name="TextBox 32">
            <a:extLst>
              <a:ext uri="{FF2B5EF4-FFF2-40B4-BE49-F238E27FC236}">
                <a16:creationId xmlns:a16="http://schemas.microsoft.com/office/drawing/2014/main" id="{20BB30B9-E920-4618-B30D-71F98EE0C137}"/>
              </a:ext>
            </a:extLst>
          </p:cNvPr>
          <p:cNvSpPr txBox="1"/>
          <p:nvPr/>
        </p:nvSpPr>
        <p:spPr>
          <a:xfrm>
            <a:off x="2936829" y="2149086"/>
            <a:ext cx="1760153" cy="400110"/>
          </a:xfrm>
          <a:prstGeom prst="rect">
            <a:avLst/>
          </a:prstGeom>
          <a:noFill/>
          <a:ln>
            <a:solidFill>
              <a:srgbClr val="00B050"/>
            </a:solidFill>
          </a:ln>
        </p:spPr>
        <p:txBody>
          <a:bodyPr wrap="square" lIns="91440" tIns="45720" rIns="91440" bIns="45720" rtlCol="0" anchor="t">
            <a:spAutoFit/>
          </a:bodyPr>
          <a:lstStyle/>
          <a:p>
            <a:pPr marL="171450" indent="-171450">
              <a:buFont typeface="Arial" panose="020B0604020202020204" pitchFamily="34" charset="0"/>
              <a:buChar char="•"/>
            </a:pPr>
            <a:r>
              <a:rPr lang="en-US" sz="1000" dirty="0"/>
              <a:t>Reverse transcription: RNA -&gt; cDNA</a:t>
            </a:r>
          </a:p>
        </p:txBody>
      </p:sp>
      <p:pic>
        <p:nvPicPr>
          <p:cNvPr id="40" name="Picture 2">
            <a:extLst>
              <a:ext uri="{FF2B5EF4-FFF2-40B4-BE49-F238E27FC236}">
                <a16:creationId xmlns:a16="http://schemas.microsoft.com/office/drawing/2014/main" id="{9AD7688B-2997-4D8C-B084-7497BD8EB380}"/>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275942" y="1899320"/>
            <a:ext cx="1683441" cy="588827"/>
          </a:xfrm>
          <a:prstGeom prst="rect">
            <a:avLst/>
          </a:prstGeom>
          <a:solidFill>
            <a:srgbClr val="C00000"/>
          </a:solidFill>
          <a:ln w="28575">
            <a:solidFill>
              <a:srgbClr val="C00000"/>
            </a:solidFill>
            <a:miter lim="800000"/>
            <a:headEnd/>
            <a:tailEnd/>
          </a:ln>
          <a:effectLst>
            <a:softEdge rad="31750"/>
          </a:effectLst>
        </p:spPr>
      </p:pic>
      <p:sp>
        <p:nvSpPr>
          <p:cNvPr id="42" name="TextBox 41">
            <a:extLst>
              <a:ext uri="{FF2B5EF4-FFF2-40B4-BE49-F238E27FC236}">
                <a16:creationId xmlns:a16="http://schemas.microsoft.com/office/drawing/2014/main" id="{83631590-503A-43F9-A90D-7DB67E3DD317}"/>
              </a:ext>
            </a:extLst>
          </p:cNvPr>
          <p:cNvSpPr txBox="1"/>
          <p:nvPr/>
        </p:nvSpPr>
        <p:spPr>
          <a:xfrm>
            <a:off x="4936063" y="1252810"/>
            <a:ext cx="1110816" cy="261610"/>
          </a:xfrm>
          <a:prstGeom prst="rect">
            <a:avLst/>
          </a:prstGeom>
          <a:noFill/>
          <a:ln>
            <a:solidFill>
              <a:srgbClr val="00B050"/>
            </a:solidFill>
          </a:ln>
        </p:spPr>
        <p:txBody>
          <a:bodyPr wrap="square" rtlCol="0">
            <a:spAutoFit/>
          </a:bodyPr>
          <a:lstStyle/>
          <a:p>
            <a:r>
              <a:rPr lang="en-US" sz="1100" dirty="0"/>
              <a:t>Primers/Oligos</a:t>
            </a:r>
          </a:p>
        </p:txBody>
      </p:sp>
      <p:sp>
        <p:nvSpPr>
          <p:cNvPr id="43" name="TextBox 42">
            <a:extLst>
              <a:ext uri="{FF2B5EF4-FFF2-40B4-BE49-F238E27FC236}">
                <a16:creationId xmlns:a16="http://schemas.microsoft.com/office/drawing/2014/main" id="{92172E33-BB3F-4463-84C3-693E8EB91D27}"/>
              </a:ext>
            </a:extLst>
          </p:cNvPr>
          <p:cNvSpPr txBox="1"/>
          <p:nvPr/>
        </p:nvSpPr>
        <p:spPr>
          <a:xfrm>
            <a:off x="6120018" y="969628"/>
            <a:ext cx="1110816" cy="600164"/>
          </a:xfrm>
          <a:prstGeom prst="rect">
            <a:avLst/>
          </a:prstGeom>
          <a:noFill/>
          <a:ln>
            <a:solidFill>
              <a:srgbClr val="00B050"/>
            </a:solidFill>
          </a:ln>
        </p:spPr>
        <p:txBody>
          <a:bodyPr wrap="square" lIns="91440" tIns="45720" rIns="91440" bIns="45720" rtlCol="0" anchor="t">
            <a:spAutoFit/>
          </a:bodyPr>
          <a:lstStyle/>
          <a:p>
            <a:r>
              <a:rPr lang="en-US" sz="1100" dirty="0" err="1"/>
              <a:t>ePCR</a:t>
            </a:r>
            <a:r>
              <a:rPr lang="en-US" sz="1100" dirty="0"/>
              <a:t> enzymes</a:t>
            </a:r>
          </a:p>
          <a:p>
            <a:r>
              <a:rPr lang="en-US" sz="1100" dirty="0">
                <a:cs typeface="Arial"/>
              </a:rPr>
              <a:t>dNTPs</a:t>
            </a:r>
          </a:p>
        </p:txBody>
      </p:sp>
      <p:pic>
        <p:nvPicPr>
          <p:cNvPr id="41" name="Picture 40">
            <a:extLst>
              <a:ext uri="{FF2B5EF4-FFF2-40B4-BE49-F238E27FC236}">
                <a16:creationId xmlns:a16="http://schemas.microsoft.com/office/drawing/2014/main" id="{463CFA94-1A9A-4E1A-8485-88A230EED109}"/>
              </a:ext>
            </a:extLst>
          </p:cNvPr>
          <p:cNvPicPr>
            <a:picLocks noChangeAspect="1"/>
          </p:cNvPicPr>
          <p:nvPr/>
        </p:nvPicPr>
        <p:blipFill>
          <a:blip r:embed="rId4"/>
          <a:stretch>
            <a:fillRect/>
          </a:stretch>
        </p:blipFill>
        <p:spPr>
          <a:xfrm>
            <a:off x="2139845" y="1411677"/>
            <a:ext cx="337144" cy="705894"/>
          </a:xfrm>
          <a:prstGeom prst="rect">
            <a:avLst/>
          </a:prstGeom>
        </p:spPr>
      </p:pic>
      <p:pic>
        <p:nvPicPr>
          <p:cNvPr id="47" name="Picture 46">
            <a:extLst>
              <a:ext uri="{FF2B5EF4-FFF2-40B4-BE49-F238E27FC236}">
                <a16:creationId xmlns:a16="http://schemas.microsoft.com/office/drawing/2014/main" id="{4B504FA7-D1EE-4A5E-978B-E3563B8B3170}"/>
              </a:ext>
            </a:extLst>
          </p:cNvPr>
          <p:cNvPicPr>
            <a:picLocks noChangeAspect="1"/>
          </p:cNvPicPr>
          <p:nvPr/>
        </p:nvPicPr>
        <p:blipFill>
          <a:blip r:embed="rId5"/>
          <a:stretch>
            <a:fillRect/>
          </a:stretch>
        </p:blipFill>
        <p:spPr>
          <a:xfrm>
            <a:off x="484673" y="1383615"/>
            <a:ext cx="893426" cy="805341"/>
          </a:xfrm>
          <a:prstGeom prst="rect">
            <a:avLst/>
          </a:prstGeom>
          <a:ln>
            <a:noFill/>
          </a:ln>
          <a:effectLst>
            <a:softEdge rad="112500"/>
          </a:effectLst>
        </p:spPr>
      </p:pic>
      <p:pic>
        <p:nvPicPr>
          <p:cNvPr id="50" name="Picture 49">
            <a:extLst>
              <a:ext uri="{FF2B5EF4-FFF2-40B4-BE49-F238E27FC236}">
                <a16:creationId xmlns:a16="http://schemas.microsoft.com/office/drawing/2014/main" id="{618EB6DB-74EA-4F08-B51A-2FEFF7AB9F4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99703" y="1419401"/>
            <a:ext cx="343132" cy="718434"/>
          </a:xfrm>
          <a:prstGeom prst="rect">
            <a:avLst/>
          </a:prstGeom>
        </p:spPr>
      </p:pic>
      <p:cxnSp>
        <p:nvCxnSpPr>
          <p:cNvPr id="53" name="Straight Arrow Connector 52">
            <a:extLst>
              <a:ext uri="{FF2B5EF4-FFF2-40B4-BE49-F238E27FC236}">
                <a16:creationId xmlns:a16="http://schemas.microsoft.com/office/drawing/2014/main" id="{4C805DAA-1096-401B-9B5D-C100DDADB6D0}"/>
              </a:ext>
            </a:extLst>
          </p:cNvPr>
          <p:cNvCxnSpPr>
            <a:cxnSpLocks/>
          </p:cNvCxnSpPr>
          <p:nvPr/>
        </p:nvCxnSpPr>
        <p:spPr bwMode="auto">
          <a:xfrm>
            <a:off x="1570693" y="1700106"/>
            <a:ext cx="376558" cy="0"/>
          </a:xfrm>
          <a:prstGeom prst="straightConnector1">
            <a:avLst/>
          </a:prstGeom>
          <a:solidFill>
            <a:schemeClr val="accent1"/>
          </a:solidFill>
          <a:ln w="28575" cap="flat" cmpd="sng" algn="ctr">
            <a:solidFill>
              <a:schemeClr val="tx1"/>
            </a:solidFill>
            <a:prstDash val="solid"/>
            <a:round/>
            <a:headEnd type="none" w="med" len="med"/>
            <a:tailEnd type="triangle"/>
          </a:ln>
          <a:effectLst/>
        </p:spPr>
      </p:cxnSp>
      <p:cxnSp>
        <p:nvCxnSpPr>
          <p:cNvPr id="56" name="Straight Arrow Connector 55">
            <a:extLst>
              <a:ext uri="{FF2B5EF4-FFF2-40B4-BE49-F238E27FC236}">
                <a16:creationId xmlns:a16="http://schemas.microsoft.com/office/drawing/2014/main" id="{7F9A26D1-A821-4AF9-B140-FB2C8970B1D6}"/>
              </a:ext>
            </a:extLst>
          </p:cNvPr>
          <p:cNvCxnSpPr>
            <a:cxnSpLocks/>
          </p:cNvCxnSpPr>
          <p:nvPr/>
        </p:nvCxnSpPr>
        <p:spPr bwMode="auto">
          <a:xfrm>
            <a:off x="5547231" y="1514420"/>
            <a:ext cx="417874" cy="389762"/>
          </a:xfrm>
          <a:prstGeom prst="straightConnector1">
            <a:avLst/>
          </a:prstGeom>
          <a:solidFill>
            <a:schemeClr val="accent1"/>
          </a:solidFill>
          <a:ln w="28575" cap="flat" cmpd="sng" algn="ctr">
            <a:solidFill>
              <a:schemeClr val="tx1"/>
            </a:solidFill>
            <a:prstDash val="solid"/>
            <a:round/>
            <a:headEnd type="none" w="med" len="med"/>
            <a:tailEnd type="triangle"/>
          </a:ln>
          <a:effectLst/>
        </p:spPr>
      </p:cxnSp>
      <p:cxnSp>
        <p:nvCxnSpPr>
          <p:cNvPr id="61" name="Straight Arrow Connector 60">
            <a:extLst>
              <a:ext uri="{FF2B5EF4-FFF2-40B4-BE49-F238E27FC236}">
                <a16:creationId xmlns:a16="http://schemas.microsoft.com/office/drawing/2014/main" id="{F1B3BF2C-3EF6-4282-8626-C3C5D6A32F18}"/>
              </a:ext>
            </a:extLst>
          </p:cNvPr>
          <p:cNvCxnSpPr>
            <a:cxnSpLocks/>
          </p:cNvCxnSpPr>
          <p:nvPr/>
        </p:nvCxnSpPr>
        <p:spPr bwMode="auto">
          <a:xfrm flipH="1">
            <a:off x="6235067" y="1533654"/>
            <a:ext cx="289514" cy="356476"/>
          </a:xfrm>
          <a:prstGeom prst="straightConnector1">
            <a:avLst/>
          </a:prstGeom>
          <a:solidFill>
            <a:schemeClr val="accent1"/>
          </a:solidFill>
          <a:ln w="28575" cap="flat" cmpd="sng" algn="ctr">
            <a:solidFill>
              <a:schemeClr val="tx1"/>
            </a:solidFill>
            <a:prstDash val="solid"/>
            <a:round/>
            <a:headEnd type="none" w="med" len="med"/>
            <a:tailEnd type="triangle"/>
          </a:ln>
          <a:effectLst/>
        </p:spPr>
      </p:cxnSp>
      <p:sp>
        <p:nvSpPr>
          <p:cNvPr id="69" name="Rectangle 68">
            <a:extLst>
              <a:ext uri="{FF2B5EF4-FFF2-40B4-BE49-F238E27FC236}">
                <a16:creationId xmlns:a16="http://schemas.microsoft.com/office/drawing/2014/main" id="{A446D0A9-6F3A-4692-A3CB-92A46A4C2CAC}"/>
              </a:ext>
            </a:extLst>
          </p:cNvPr>
          <p:cNvSpPr/>
          <p:nvPr/>
        </p:nvSpPr>
        <p:spPr bwMode="auto">
          <a:xfrm>
            <a:off x="1402207" y="662156"/>
            <a:ext cx="10131973" cy="555784"/>
          </a:xfrm>
          <a:prstGeom prst="rect">
            <a:avLst/>
          </a:prstGeom>
          <a:noFill/>
          <a:ln w="9525" cap="flat" cmpd="sng" algn="ctr">
            <a:noFill/>
            <a:prstDash val="solid"/>
            <a:round/>
            <a:headEnd type="none" w="med" len="med"/>
            <a:tailEnd type="none" w="med" len="med"/>
          </a:ln>
          <a:effectLst/>
        </p:spPr>
        <p:txBody>
          <a:bodyPr vert="horz" wrap="square" lIns="85186" tIns="42593" rIns="85186" bIns="42593" numCol="1" rtlCol="0" anchor="t" anchorCtr="0" compatLnSpc="1">
            <a:prstTxWarp prst="textNoShape">
              <a:avLst/>
            </a:prstTxWarp>
          </a:bodyPr>
          <a:lstStyle/>
          <a:p>
            <a:pPr defTabSz="851861"/>
            <a:endParaRPr lang="en-US">
              <a:solidFill>
                <a:srgbClr val="000000"/>
              </a:solidFill>
              <a:latin typeface="Arial" pitchFamily="124" charset="0"/>
            </a:endParaRPr>
          </a:p>
        </p:txBody>
      </p:sp>
      <p:sp>
        <p:nvSpPr>
          <p:cNvPr id="45" name="TextBox 44">
            <a:extLst>
              <a:ext uri="{FF2B5EF4-FFF2-40B4-BE49-F238E27FC236}">
                <a16:creationId xmlns:a16="http://schemas.microsoft.com/office/drawing/2014/main" id="{19161290-82E7-4647-B548-23C02192EA9E}"/>
              </a:ext>
            </a:extLst>
          </p:cNvPr>
          <p:cNvSpPr txBox="1"/>
          <p:nvPr/>
        </p:nvSpPr>
        <p:spPr>
          <a:xfrm>
            <a:off x="9654914" y="663103"/>
            <a:ext cx="2124568" cy="523220"/>
          </a:xfrm>
          <a:prstGeom prst="rect">
            <a:avLst/>
          </a:prstGeom>
          <a:noFill/>
        </p:spPr>
        <p:txBody>
          <a:bodyPr wrap="square" lIns="91440" tIns="45720" rIns="91440" bIns="45720" rtlCol="0" anchor="t">
            <a:spAutoFit/>
          </a:bodyPr>
          <a:lstStyle/>
          <a:p>
            <a:r>
              <a:rPr lang="en-US" sz="1400" dirty="0"/>
              <a:t>Visualize &amp; purify PCR product</a:t>
            </a:r>
            <a:endParaRPr lang="en-US" dirty="0">
              <a:cs typeface="Arial"/>
            </a:endParaRPr>
          </a:p>
        </p:txBody>
      </p:sp>
      <p:sp>
        <p:nvSpPr>
          <p:cNvPr id="46" name="TextBox 45">
            <a:extLst>
              <a:ext uri="{FF2B5EF4-FFF2-40B4-BE49-F238E27FC236}">
                <a16:creationId xmlns:a16="http://schemas.microsoft.com/office/drawing/2014/main" id="{7B24A3AA-9FFE-4BCC-A679-492A265EF2CF}"/>
              </a:ext>
            </a:extLst>
          </p:cNvPr>
          <p:cNvSpPr txBox="1"/>
          <p:nvPr/>
        </p:nvSpPr>
        <p:spPr>
          <a:xfrm>
            <a:off x="9709929" y="1203957"/>
            <a:ext cx="2278475" cy="430887"/>
          </a:xfrm>
          <a:prstGeom prst="rect">
            <a:avLst/>
          </a:prstGeom>
          <a:noFill/>
          <a:ln>
            <a:solidFill>
              <a:srgbClr val="00B050"/>
            </a:solidFill>
          </a:ln>
        </p:spPr>
        <p:txBody>
          <a:bodyPr wrap="square" lIns="91440" tIns="45720" rIns="91440" bIns="45720" rtlCol="0" anchor="t">
            <a:spAutoFit/>
          </a:bodyPr>
          <a:lstStyle/>
          <a:p>
            <a:pPr marL="171450" indent="-171450">
              <a:buFont typeface="Arial" panose="020B0604020202020204" pitchFamily="34" charset="0"/>
              <a:buChar char="•"/>
            </a:pPr>
            <a:r>
              <a:rPr lang="en-US" sz="1100" dirty="0"/>
              <a:t>Electrophoresis</a:t>
            </a:r>
          </a:p>
          <a:p>
            <a:pPr marL="171450" indent="-171450">
              <a:buFont typeface="Arial" panose="020B0604020202020204" pitchFamily="34" charset="0"/>
              <a:buChar char="•"/>
            </a:pPr>
            <a:r>
              <a:rPr lang="en-US" sz="1100" dirty="0"/>
              <a:t>Purification</a:t>
            </a:r>
          </a:p>
        </p:txBody>
      </p:sp>
      <p:pic>
        <p:nvPicPr>
          <p:cNvPr id="60418" name="Picture 2" descr="QuantStudio™ 5 Real-Time PCR System, 96-well, 0.1mL from Thermo Fisher  Scientific | Biocompare.com">
            <a:extLst>
              <a:ext uri="{FF2B5EF4-FFF2-40B4-BE49-F238E27FC236}">
                <a16:creationId xmlns:a16="http://schemas.microsoft.com/office/drawing/2014/main" id="{F01F3852-564C-4037-9921-7A15D0A25C41}"/>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989902" y="2129868"/>
            <a:ext cx="1078355" cy="808766"/>
          </a:xfrm>
          <a:prstGeom prst="rect">
            <a:avLst/>
          </a:prstGeom>
          <a:noFill/>
          <a:ln>
            <a:solidFill>
              <a:srgbClr val="00B050"/>
            </a:solidFill>
          </a:ln>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B5252207-7FDE-456F-AAE8-B575C8F82AB2}"/>
              </a:ext>
            </a:extLst>
          </p:cNvPr>
          <p:cNvSpPr txBox="1"/>
          <p:nvPr/>
        </p:nvSpPr>
        <p:spPr>
          <a:xfrm>
            <a:off x="219288" y="3222589"/>
            <a:ext cx="11779742" cy="584775"/>
          </a:xfrm>
          <a:prstGeom prst="rect">
            <a:avLst/>
          </a:prstGeom>
          <a:noFill/>
        </p:spPr>
        <p:txBody>
          <a:bodyPr wrap="square" rtlCol="0">
            <a:spAutoFit/>
          </a:bodyPr>
          <a:lstStyle/>
          <a:p>
            <a:pPr marL="285750" indent="-285750">
              <a:buFont typeface="Arial" panose="020B0604020202020204" pitchFamily="34" charset="0"/>
              <a:buChar char="•"/>
            </a:pPr>
            <a:r>
              <a:rPr lang="en-US" sz="1600" dirty="0"/>
              <a:t>Table above shows the workflow and the products used at each stage of the workflow. RED products are in your portfolio. GREEN products are additional data sets to support your analysis </a:t>
            </a:r>
          </a:p>
        </p:txBody>
      </p:sp>
      <p:sp>
        <p:nvSpPr>
          <p:cNvPr id="51" name="TextBox 50">
            <a:extLst>
              <a:ext uri="{FF2B5EF4-FFF2-40B4-BE49-F238E27FC236}">
                <a16:creationId xmlns:a16="http://schemas.microsoft.com/office/drawing/2014/main" id="{41F7929F-B53C-4235-9C65-D38541560BF0}"/>
              </a:ext>
            </a:extLst>
          </p:cNvPr>
          <p:cNvSpPr txBox="1"/>
          <p:nvPr/>
        </p:nvSpPr>
        <p:spPr>
          <a:xfrm>
            <a:off x="2936829" y="2603233"/>
            <a:ext cx="1760153" cy="400110"/>
          </a:xfrm>
          <a:prstGeom prst="rect">
            <a:avLst/>
          </a:prstGeom>
          <a:noFill/>
          <a:ln>
            <a:noFill/>
          </a:ln>
        </p:spPr>
        <p:txBody>
          <a:bodyPr wrap="square" lIns="91440" tIns="45720" rIns="91440" bIns="45720" rtlCol="0" anchor="t">
            <a:spAutoFit/>
          </a:bodyPr>
          <a:lstStyle/>
          <a:p>
            <a:pPr marL="171450" indent="-171450">
              <a:buFont typeface="Arial" panose="020B0604020202020204" pitchFamily="34" charset="0"/>
              <a:buChar char="•"/>
            </a:pPr>
            <a:r>
              <a:rPr lang="en-US" sz="1000" dirty="0"/>
              <a:t>Ligation of adapters for NGS</a:t>
            </a:r>
          </a:p>
        </p:txBody>
      </p:sp>
      <p:graphicFrame>
        <p:nvGraphicFramePr>
          <p:cNvPr id="10" name="Table 10">
            <a:extLst>
              <a:ext uri="{FF2B5EF4-FFF2-40B4-BE49-F238E27FC236}">
                <a16:creationId xmlns:a16="http://schemas.microsoft.com/office/drawing/2014/main" id="{5CE3CBEF-090B-4785-9407-A8A533890665}"/>
              </a:ext>
            </a:extLst>
          </p:cNvPr>
          <p:cNvGraphicFramePr>
            <a:graphicFrameLocks noGrp="1"/>
          </p:cNvGraphicFramePr>
          <p:nvPr>
            <p:extLst>
              <p:ext uri="{D42A27DB-BD31-4B8C-83A1-F6EECF244321}">
                <p14:modId xmlns:p14="http://schemas.microsoft.com/office/powerpoint/2010/main" val="624789552"/>
              </p:ext>
            </p:extLst>
          </p:nvPr>
        </p:nvGraphicFramePr>
        <p:xfrm>
          <a:off x="575152" y="3894779"/>
          <a:ext cx="11049507" cy="2270760"/>
        </p:xfrm>
        <a:graphic>
          <a:graphicData uri="http://schemas.openxmlformats.org/drawingml/2006/table">
            <a:tbl>
              <a:tblPr firstRow="1" bandRow="1">
                <a:tableStyleId>{5C22544A-7EE6-4342-B048-85BDC9FD1C3A}</a:tableStyleId>
              </a:tblPr>
              <a:tblGrid>
                <a:gridCol w="3683169">
                  <a:extLst>
                    <a:ext uri="{9D8B030D-6E8A-4147-A177-3AD203B41FA5}">
                      <a16:colId xmlns:a16="http://schemas.microsoft.com/office/drawing/2014/main" val="1170809282"/>
                    </a:ext>
                  </a:extLst>
                </a:gridCol>
                <a:gridCol w="3683169">
                  <a:extLst>
                    <a:ext uri="{9D8B030D-6E8A-4147-A177-3AD203B41FA5}">
                      <a16:colId xmlns:a16="http://schemas.microsoft.com/office/drawing/2014/main" val="1132136755"/>
                    </a:ext>
                  </a:extLst>
                </a:gridCol>
                <a:gridCol w="3683169">
                  <a:extLst>
                    <a:ext uri="{9D8B030D-6E8A-4147-A177-3AD203B41FA5}">
                      <a16:colId xmlns:a16="http://schemas.microsoft.com/office/drawing/2014/main" val="2461243544"/>
                    </a:ext>
                  </a:extLst>
                </a:gridCol>
              </a:tblGrid>
              <a:tr h="163989">
                <a:tc>
                  <a:txBody>
                    <a:bodyPr/>
                    <a:lstStyle/>
                    <a:p>
                      <a:r>
                        <a:rPr lang="en-US" sz="1000" dirty="0"/>
                        <a:t>Workflow Name</a:t>
                      </a:r>
                    </a:p>
                  </a:txBody>
                  <a:tcPr/>
                </a:tc>
                <a:tc>
                  <a:txBody>
                    <a:bodyPr/>
                    <a:lstStyle/>
                    <a:p>
                      <a:r>
                        <a:rPr lang="en-US" sz="1000" dirty="0"/>
                        <a:t>DSR Product Grouping</a:t>
                      </a:r>
                    </a:p>
                  </a:txBody>
                  <a:tcPr/>
                </a:tc>
                <a:tc>
                  <a:txBody>
                    <a:bodyPr/>
                    <a:lstStyle/>
                    <a:p>
                      <a:r>
                        <a:rPr lang="en-US" sz="1000" dirty="0"/>
                        <a:t>DSR Product Sub Grouping</a:t>
                      </a:r>
                    </a:p>
                  </a:txBody>
                  <a:tcPr/>
                </a:tc>
                <a:extLst>
                  <a:ext uri="{0D108BD9-81ED-4DB2-BD59-A6C34878D82A}">
                    <a16:rowId xmlns:a16="http://schemas.microsoft.com/office/drawing/2014/main" val="269868732"/>
                  </a:ext>
                </a:extLst>
              </a:tr>
              <a:tr h="204987">
                <a:tc>
                  <a:txBody>
                    <a:bodyPr/>
                    <a:lstStyle/>
                    <a:p>
                      <a:r>
                        <a:rPr lang="en-US" sz="700" dirty="0">
                          <a:solidFill>
                            <a:srgbClr val="FF0000"/>
                          </a:solidFill>
                        </a:rPr>
                        <a:t>Plastics </a:t>
                      </a:r>
                    </a:p>
                  </a:txBody>
                  <a:tcPr/>
                </a:tc>
                <a:tc>
                  <a:txBody>
                    <a:bodyPr/>
                    <a:lstStyle/>
                    <a:p>
                      <a:r>
                        <a:rPr lang="en-US" sz="700" dirty="0">
                          <a:solidFill>
                            <a:srgbClr val="FF0000"/>
                          </a:solidFill>
                        </a:rPr>
                        <a:t>TC &amp; Plastics</a:t>
                      </a:r>
                    </a:p>
                  </a:txBody>
                  <a:tcPr/>
                </a:tc>
                <a:tc>
                  <a:txBody>
                    <a:bodyPr/>
                    <a:lstStyle/>
                    <a:p>
                      <a:r>
                        <a:rPr lang="en-US" sz="700" dirty="0">
                          <a:solidFill>
                            <a:srgbClr val="FF0000"/>
                          </a:solidFill>
                        </a:rPr>
                        <a:t>-PCR Plastics</a:t>
                      </a:r>
                    </a:p>
                    <a:p>
                      <a:r>
                        <a:rPr lang="en-US" sz="700" dirty="0">
                          <a:solidFill>
                            <a:srgbClr val="FF0000"/>
                          </a:solidFill>
                        </a:rPr>
                        <a:t>-Thermo Scientific Plastics </a:t>
                      </a:r>
                    </a:p>
                  </a:txBody>
                  <a:tcPr/>
                </a:tc>
                <a:extLst>
                  <a:ext uri="{0D108BD9-81ED-4DB2-BD59-A6C34878D82A}">
                    <a16:rowId xmlns:a16="http://schemas.microsoft.com/office/drawing/2014/main" val="564288514"/>
                  </a:ext>
                </a:extLst>
              </a:tr>
              <a:tr h="204987">
                <a:tc>
                  <a:txBody>
                    <a:bodyPr/>
                    <a:lstStyle/>
                    <a:p>
                      <a:r>
                        <a:rPr lang="en-US" sz="700" dirty="0">
                          <a:solidFill>
                            <a:srgbClr val="FF0000"/>
                          </a:solidFill>
                        </a:rPr>
                        <a:t>Thermal Cycler</a:t>
                      </a:r>
                    </a:p>
                  </a:txBody>
                  <a:tcPr/>
                </a:tc>
                <a:tc>
                  <a:txBody>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lang="en-US" sz="700" dirty="0">
                          <a:solidFill>
                            <a:srgbClr val="FF0000"/>
                          </a:solidFill>
                        </a:rPr>
                        <a:t>TC &amp; Plastics</a:t>
                      </a:r>
                    </a:p>
                    <a:p>
                      <a:endParaRPr lang="en-US" sz="700" dirty="0">
                        <a:solidFill>
                          <a:srgbClr val="FF0000"/>
                        </a:solidFill>
                      </a:endParaRPr>
                    </a:p>
                  </a:txBody>
                  <a:tcPr/>
                </a:tc>
                <a:tc>
                  <a:txBody>
                    <a:bodyPr/>
                    <a:lstStyle/>
                    <a:p>
                      <a:r>
                        <a:rPr lang="en-US" sz="700" dirty="0">
                          <a:solidFill>
                            <a:srgbClr val="FF0000"/>
                          </a:solidFill>
                        </a:rPr>
                        <a:t>PCR Instruments</a:t>
                      </a:r>
                    </a:p>
                  </a:txBody>
                  <a:tcPr/>
                </a:tc>
                <a:extLst>
                  <a:ext uri="{0D108BD9-81ED-4DB2-BD59-A6C34878D82A}">
                    <a16:rowId xmlns:a16="http://schemas.microsoft.com/office/drawing/2014/main" val="3557085408"/>
                  </a:ext>
                </a:extLst>
              </a:tr>
              <a:tr h="138798">
                <a:tc>
                  <a:txBody>
                    <a:bodyPr/>
                    <a:lstStyle/>
                    <a:p>
                      <a:r>
                        <a:rPr lang="en-US" sz="700" dirty="0">
                          <a:solidFill>
                            <a:srgbClr val="00B050"/>
                          </a:solidFill>
                        </a:rPr>
                        <a:t>Reverse Transcription</a:t>
                      </a:r>
                    </a:p>
                  </a:txBody>
                  <a:tcPr/>
                </a:tc>
                <a:tc>
                  <a:txBody>
                    <a:bodyPr/>
                    <a:lstStyle/>
                    <a:p>
                      <a:r>
                        <a:rPr lang="en-US" sz="700" dirty="0">
                          <a:solidFill>
                            <a:srgbClr val="00B050"/>
                          </a:solidFill>
                        </a:rPr>
                        <a:t>EPCR Reagents</a:t>
                      </a:r>
                    </a:p>
                  </a:txBody>
                  <a:tcPr/>
                </a:tc>
                <a:tc>
                  <a:txBody>
                    <a:bodyPr/>
                    <a:lstStyle/>
                    <a:p>
                      <a:r>
                        <a:rPr lang="en-US" sz="700" dirty="0">
                          <a:solidFill>
                            <a:srgbClr val="00B050"/>
                          </a:solidFill>
                        </a:rPr>
                        <a:t>-Reverse Transcription </a:t>
                      </a:r>
                    </a:p>
                  </a:txBody>
                  <a:tcPr/>
                </a:tc>
                <a:extLst>
                  <a:ext uri="{0D108BD9-81ED-4DB2-BD59-A6C34878D82A}">
                    <a16:rowId xmlns:a16="http://schemas.microsoft.com/office/drawing/2014/main" val="120055460"/>
                  </a:ext>
                </a:extLst>
              </a:tr>
              <a:tr h="348477">
                <a:tc>
                  <a:txBody>
                    <a:bodyPr/>
                    <a:lstStyle/>
                    <a:p>
                      <a:r>
                        <a:rPr lang="en-US" sz="700" dirty="0" err="1">
                          <a:solidFill>
                            <a:srgbClr val="00B050"/>
                          </a:solidFill>
                        </a:rPr>
                        <a:t>ePCR</a:t>
                      </a:r>
                      <a:r>
                        <a:rPr lang="en-US" sz="700" dirty="0">
                          <a:solidFill>
                            <a:srgbClr val="00B050"/>
                          </a:solidFill>
                        </a:rPr>
                        <a:t> enzymes and dNTPs</a:t>
                      </a:r>
                    </a:p>
                  </a:txBody>
                  <a:tcPr/>
                </a:tc>
                <a:tc>
                  <a:txBody>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lang="en-US" sz="700" dirty="0">
                          <a:solidFill>
                            <a:srgbClr val="00B050"/>
                          </a:solidFill>
                        </a:rPr>
                        <a:t>EPCR Reagents</a:t>
                      </a:r>
                    </a:p>
                    <a:p>
                      <a:endParaRPr lang="en-US" sz="700" dirty="0">
                        <a:solidFill>
                          <a:srgbClr val="00B050"/>
                        </a:solidFill>
                      </a:endParaRPr>
                    </a:p>
                  </a:txBody>
                  <a:tcPr/>
                </a:tc>
                <a:tc>
                  <a:txBody>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lang="en-US" sz="700" dirty="0">
                          <a:solidFill>
                            <a:srgbClr val="00B050"/>
                          </a:solidFill>
                        </a:rPr>
                        <a:t>-</a:t>
                      </a:r>
                      <a:r>
                        <a:rPr lang="en-US" sz="700" dirty="0" err="1">
                          <a:solidFill>
                            <a:srgbClr val="00B050"/>
                          </a:solidFill>
                        </a:rPr>
                        <a:t>ePCR</a:t>
                      </a:r>
                      <a:r>
                        <a:rPr lang="en-US" sz="700" dirty="0">
                          <a:solidFill>
                            <a:srgbClr val="00B050"/>
                          </a:solidFill>
                        </a:rPr>
                        <a:t> reagents</a:t>
                      </a:r>
                    </a:p>
                    <a:p>
                      <a:pPr marL="0" marR="0" lvl="0" indent="0" algn="l" defTabSz="457189" rtl="0" eaLnBrk="1" fontAlgn="auto" latinLnBrk="0" hangingPunct="1">
                        <a:lnSpc>
                          <a:spcPct val="100000"/>
                        </a:lnSpc>
                        <a:spcBef>
                          <a:spcPts val="0"/>
                        </a:spcBef>
                        <a:spcAft>
                          <a:spcPts val="0"/>
                        </a:spcAft>
                        <a:buClrTx/>
                        <a:buSzTx/>
                        <a:buFontTx/>
                        <a:buNone/>
                        <a:tabLst/>
                        <a:defRPr/>
                      </a:pPr>
                      <a:r>
                        <a:rPr lang="en-US" sz="700" dirty="0">
                          <a:solidFill>
                            <a:srgbClr val="00B050"/>
                          </a:solidFill>
                        </a:rPr>
                        <a:t>-PCR enzymes</a:t>
                      </a:r>
                    </a:p>
                    <a:p>
                      <a:pPr marL="0" marR="0" lvl="0" indent="0" algn="l" defTabSz="457189" rtl="0" eaLnBrk="1" fontAlgn="auto" latinLnBrk="0" hangingPunct="1">
                        <a:lnSpc>
                          <a:spcPct val="100000"/>
                        </a:lnSpc>
                        <a:spcBef>
                          <a:spcPts val="0"/>
                        </a:spcBef>
                        <a:spcAft>
                          <a:spcPts val="0"/>
                        </a:spcAft>
                        <a:buClrTx/>
                        <a:buSzTx/>
                        <a:buFontTx/>
                        <a:buNone/>
                        <a:tabLst/>
                        <a:defRPr/>
                      </a:pPr>
                      <a:r>
                        <a:rPr lang="en-US" sz="700" dirty="0">
                          <a:solidFill>
                            <a:srgbClr val="00B050"/>
                          </a:solidFill>
                        </a:rPr>
                        <a:t>-Thermo Scientific Reagents </a:t>
                      </a:r>
                    </a:p>
                    <a:p>
                      <a:endParaRPr lang="en-US" sz="700" dirty="0">
                        <a:solidFill>
                          <a:srgbClr val="00B050"/>
                        </a:solidFill>
                      </a:endParaRPr>
                    </a:p>
                  </a:txBody>
                  <a:tcPr/>
                </a:tc>
                <a:extLst>
                  <a:ext uri="{0D108BD9-81ED-4DB2-BD59-A6C34878D82A}">
                    <a16:rowId xmlns:a16="http://schemas.microsoft.com/office/drawing/2014/main" val="799566147"/>
                  </a:ext>
                </a:extLst>
              </a:tr>
              <a:tr h="204987">
                <a:tc>
                  <a:txBody>
                    <a:bodyPr/>
                    <a:lstStyle/>
                    <a:p>
                      <a:r>
                        <a:rPr lang="en-US" sz="700" dirty="0">
                          <a:solidFill>
                            <a:srgbClr val="00B050"/>
                          </a:solidFill>
                        </a:rPr>
                        <a:t>Primers/Oligos</a:t>
                      </a:r>
                    </a:p>
                  </a:txBody>
                  <a:tcPr/>
                </a:tc>
                <a:tc>
                  <a:txBody>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lang="en-US" sz="700" dirty="0">
                          <a:solidFill>
                            <a:srgbClr val="00B050"/>
                          </a:solidFill>
                        </a:rPr>
                        <a:t>EPCR Reagents</a:t>
                      </a:r>
                    </a:p>
                    <a:p>
                      <a:endParaRPr lang="en-US" sz="700" dirty="0">
                        <a:solidFill>
                          <a:srgbClr val="00B050"/>
                        </a:solidFill>
                      </a:endParaRPr>
                    </a:p>
                  </a:txBody>
                  <a:tcPr/>
                </a:tc>
                <a:tc>
                  <a:txBody>
                    <a:bodyPr/>
                    <a:lstStyle/>
                    <a:p>
                      <a:r>
                        <a:rPr lang="en-US" sz="700" dirty="0">
                          <a:solidFill>
                            <a:srgbClr val="00B050"/>
                          </a:solidFill>
                        </a:rPr>
                        <a:t>Oligos</a:t>
                      </a:r>
                    </a:p>
                  </a:txBody>
                  <a:tcPr/>
                </a:tc>
                <a:extLst>
                  <a:ext uri="{0D108BD9-81ED-4DB2-BD59-A6C34878D82A}">
                    <a16:rowId xmlns:a16="http://schemas.microsoft.com/office/drawing/2014/main" val="155095709"/>
                  </a:ext>
                </a:extLst>
              </a:tr>
              <a:tr h="138798">
                <a:tc>
                  <a:txBody>
                    <a:bodyPr/>
                    <a:lstStyle/>
                    <a:p>
                      <a:r>
                        <a:rPr lang="en-US" sz="700" dirty="0">
                          <a:solidFill>
                            <a:srgbClr val="00B050"/>
                          </a:solidFill>
                        </a:rPr>
                        <a:t>qPCR</a:t>
                      </a:r>
                    </a:p>
                  </a:txBody>
                  <a:tcPr/>
                </a:tc>
                <a:tc>
                  <a:txBody>
                    <a:bodyPr/>
                    <a:lstStyle/>
                    <a:p>
                      <a:r>
                        <a:rPr lang="en-US" sz="700" dirty="0">
                          <a:solidFill>
                            <a:srgbClr val="00B050"/>
                          </a:solidFill>
                        </a:rPr>
                        <a:t>QPCR Instruments/ QPCR Instruments-COVID</a:t>
                      </a:r>
                    </a:p>
                  </a:txBody>
                  <a:tcPr/>
                </a:tc>
                <a:tc>
                  <a:txBody>
                    <a:bodyPr/>
                    <a:lstStyle/>
                    <a:p>
                      <a:r>
                        <a:rPr lang="en-US" sz="700" dirty="0">
                          <a:solidFill>
                            <a:srgbClr val="00B050"/>
                          </a:solidFill>
                        </a:rPr>
                        <a:t>ALL</a:t>
                      </a:r>
                    </a:p>
                  </a:txBody>
                  <a:tcPr/>
                </a:tc>
                <a:extLst>
                  <a:ext uri="{0D108BD9-81ED-4DB2-BD59-A6C34878D82A}">
                    <a16:rowId xmlns:a16="http://schemas.microsoft.com/office/drawing/2014/main" val="2899187914"/>
                  </a:ext>
                </a:extLst>
              </a:tr>
              <a:tr h="138798">
                <a:tc>
                  <a:txBody>
                    <a:bodyPr/>
                    <a:lstStyle/>
                    <a:p>
                      <a:endParaRPr lang="en-US" sz="700" dirty="0"/>
                    </a:p>
                  </a:txBody>
                  <a:tcPr/>
                </a:tc>
                <a:tc>
                  <a:txBody>
                    <a:bodyPr/>
                    <a:lstStyle/>
                    <a:p>
                      <a:endParaRPr lang="en-US" sz="700" dirty="0"/>
                    </a:p>
                  </a:txBody>
                  <a:tcPr/>
                </a:tc>
                <a:tc>
                  <a:txBody>
                    <a:bodyPr/>
                    <a:lstStyle/>
                    <a:p>
                      <a:endParaRPr lang="en-US" sz="700" dirty="0"/>
                    </a:p>
                  </a:txBody>
                  <a:tcPr/>
                </a:tc>
                <a:extLst>
                  <a:ext uri="{0D108BD9-81ED-4DB2-BD59-A6C34878D82A}">
                    <a16:rowId xmlns:a16="http://schemas.microsoft.com/office/drawing/2014/main" val="725275440"/>
                  </a:ext>
                </a:extLst>
              </a:tr>
            </a:tbl>
          </a:graphicData>
        </a:graphic>
      </p:graphicFrame>
      <p:sp>
        <p:nvSpPr>
          <p:cNvPr id="52" name="TextBox 51">
            <a:extLst>
              <a:ext uri="{FF2B5EF4-FFF2-40B4-BE49-F238E27FC236}">
                <a16:creationId xmlns:a16="http://schemas.microsoft.com/office/drawing/2014/main" id="{75390988-E0E2-4D36-81F7-71D36123054A}"/>
              </a:ext>
            </a:extLst>
          </p:cNvPr>
          <p:cNvSpPr txBox="1"/>
          <p:nvPr/>
        </p:nvSpPr>
        <p:spPr>
          <a:xfrm>
            <a:off x="5564610" y="2497337"/>
            <a:ext cx="1110816" cy="261610"/>
          </a:xfrm>
          <a:prstGeom prst="rect">
            <a:avLst/>
          </a:prstGeom>
          <a:noFill/>
          <a:ln>
            <a:noFill/>
          </a:ln>
        </p:spPr>
        <p:txBody>
          <a:bodyPr wrap="square" rtlCol="0">
            <a:spAutoFit/>
          </a:bodyPr>
          <a:lstStyle/>
          <a:p>
            <a:r>
              <a:rPr lang="en-US" sz="1100" dirty="0"/>
              <a:t>Plastics </a:t>
            </a:r>
          </a:p>
        </p:txBody>
      </p:sp>
      <p:sp>
        <p:nvSpPr>
          <p:cNvPr id="55" name="TextBox 54">
            <a:extLst>
              <a:ext uri="{FF2B5EF4-FFF2-40B4-BE49-F238E27FC236}">
                <a16:creationId xmlns:a16="http://schemas.microsoft.com/office/drawing/2014/main" id="{CE641D99-9D46-41A0-880F-D418B0EBEFE1}"/>
              </a:ext>
            </a:extLst>
          </p:cNvPr>
          <p:cNvSpPr txBox="1"/>
          <p:nvPr/>
        </p:nvSpPr>
        <p:spPr>
          <a:xfrm>
            <a:off x="7279627" y="900615"/>
            <a:ext cx="1110816" cy="430887"/>
          </a:xfrm>
          <a:prstGeom prst="rect">
            <a:avLst/>
          </a:prstGeom>
          <a:noFill/>
          <a:ln>
            <a:noFill/>
          </a:ln>
        </p:spPr>
        <p:txBody>
          <a:bodyPr wrap="square" rtlCol="0">
            <a:spAutoFit/>
          </a:bodyPr>
          <a:lstStyle/>
          <a:p>
            <a:r>
              <a:rPr lang="en-US" sz="1100" dirty="0"/>
              <a:t>Thermal Cycler</a:t>
            </a:r>
          </a:p>
        </p:txBody>
      </p:sp>
      <p:sp>
        <p:nvSpPr>
          <p:cNvPr id="58" name="TextBox 57">
            <a:extLst>
              <a:ext uri="{FF2B5EF4-FFF2-40B4-BE49-F238E27FC236}">
                <a16:creationId xmlns:a16="http://schemas.microsoft.com/office/drawing/2014/main" id="{34F0BBFD-F1CD-4D1F-A7F7-BE132539D056}"/>
              </a:ext>
            </a:extLst>
          </p:cNvPr>
          <p:cNvSpPr txBox="1"/>
          <p:nvPr/>
        </p:nvSpPr>
        <p:spPr>
          <a:xfrm>
            <a:off x="7323418" y="2412698"/>
            <a:ext cx="1110816" cy="261610"/>
          </a:xfrm>
          <a:prstGeom prst="rect">
            <a:avLst/>
          </a:prstGeom>
          <a:noFill/>
          <a:ln>
            <a:noFill/>
          </a:ln>
        </p:spPr>
        <p:txBody>
          <a:bodyPr wrap="square" rtlCol="0">
            <a:spAutoFit/>
          </a:bodyPr>
          <a:lstStyle/>
          <a:p>
            <a:r>
              <a:rPr lang="en-US" sz="1100" dirty="0"/>
              <a:t>qPCR</a:t>
            </a:r>
          </a:p>
        </p:txBody>
      </p:sp>
    </p:spTree>
    <p:extLst>
      <p:ext uri="{BB962C8B-B14F-4D97-AF65-F5344CB8AC3E}">
        <p14:creationId xmlns:p14="http://schemas.microsoft.com/office/powerpoint/2010/main" val="8709104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D0E97F5-3572-4D6E-B2AE-A15E485776EE}"/>
              </a:ext>
            </a:extLst>
          </p:cNvPr>
          <p:cNvSpPr>
            <a:spLocks noGrp="1"/>
          </p:cNvSpPr>
          <p:nvPr>
            <p:ph idx="1"/>
          </p:nvPr>
        </p:nvSpPr>
        <p:spPr>
          <a:xfrm>
            <a:off x="323851" y="1065217"/>
            <a:ext cx="11569700" cy="5159313"/>
          </a:xfrm>
        </p:spPr>
        <p:txBody>
          <a:bodyPr/>
          <a:lstStyle/>
          <a:p>
            <a:r>
              <a:rPr lang="en-US" sz="1400" b="1" dirty="0"/>
              <a:t>How’s the data: </a:t>
            </a:r>
          </a:p>
          <a:p>
            <a:pPr lvl="1"/>
            <a:r>
              <a:rPr lang="en-US" sz="1200" dirty="0"/>
              <a:t>investigate if there are gaps in the data and then cleanup data to prep for Machine Learning and analysis</a:t>
            </a:r>
          </a:p>
          <a:p>
            <a:r>
              <a:rPr lang="en-US" sz="1400" b="1" dirty="0"/>
              <a:t>Forecasting: </a:t>
            </a:r>
            <a:endParaRPr lang="en-US" sz="1200" b="1" dirty="0"/>
          </a:p>
          <a:p>
            <a:pPr lvl="1"/>
            <a:r>
              <a:rPr lang="en-US" sz="1200" dirty="0"/>
              <a:t>Build a model to improve forecast (quantity or sales) by SKUs in DSPR Product Sub Grouping PCR Plastics, Thermo Scientific Plastics, and PCR Instruments</a:t>
            </a:r>
          </a:p>
          <a:p>
            <a:pPr lvl="1"/>
            <a:r>
              <a:rPr lang="en-US" sz="1200" dirty="0"/>
              <a:t>Use training set of historical information: 2017-2020 Full Year, and 2021 H1. </a:t>
            </a:r>
          </a:p>
          <a:p>
            <a:pPr lvl="1"/>
            <a:r>
              <a:rPr lang="en-US" sz="1200" dirty="0"/>
              <a:t>Forecast for 2021 Quarter 3 and </a:t>
            </a:r>
            <a:r>
              <a:rPr lang="en-US" sz="1200" dirty="0" err="1"/>
              <a:t>beyong</a:t>
            </a:r>
            <a:endParaRPr lang="en-US" sz="1200" dirty="0"/>
          </a:p>
          <a:p>
            <a:r>
              <a:rPr lang="en-US" sz="1400" b="1" dirty="0"/>
              <a:t>Fueling growth</a:t>
            </a:r>
          </a:p>
          <a:p>
            <a:pPr lvl="1"/>
            <a:r>
              <a:rPr lang="en-US" sz="1200" dirty="0"/>
              <a:t>With decrease in testing, you see your PCR plastics business in decline. You are looking for ways to drive sales growth post COVID</a:t>
            </a:r>
          </a:p>
          <a:p>
            <a:pPr lvl="1"/>
            <a:r>
              <a:rPr lang="en-US" sz="1200" dirty="0"/>
              <a:t>Build a model to find opportunities to drive attachment of plastics or instruments in customer segments or by accounts (SGN Name). Attachment means if customer buys this, they also can be predicted to buy that</a:t>
            </a:r>
          </a:p>
          <a:p>
            <a:r>
              <a:rPr lang="en-US" sz="1400" b="1" dirty="0"/>
              <a:t>Identifying Customers</a:t>
            </a:r>
          </a:p>
          <a:p>
            <a:pPr lvl="1"/>
            <a:r>
              <a:rPr lang="en-US" sz="1200" dirty="0"/>
              <a:t>Customer segment is currently labeled by column Customer Segment Group. We wish to zoom in deeper into the customer segment. If given a list of detailed customer segment, create a model to predict the detailed customer segment based on historical transaction data?  </a:t>
            </a:r>
          </a:p>
          <a:p>
            <a:pPr lvl="1"/>
            <a:r>
              <a:rPr lang="en-US" sz="1200" dirty="0"/>
              <a:t>Use the customer segment training set data. Identify segment by SEGMENT_1, </a:t>
            </a:r>
            <a:r>
              <a:rPr lang="en-US" sz="1200" dirty="0" err="1"/>
              <a:t>covid</a:t>
            </a:r>
            <a:r>
              <a:rPr lang="en-US" sz="1200" dirty="0"/>
              <a:t>-base, application</a:t>
            </a:r>
          </a:p>
          <a:p>
            <a:r>
              <a:rPr lang="en-US" sz="1400" b="1" dirty="0"/>
              <a:t>Identifying opportunities</a:t>
            </a:r>
          </a:p>
          <a:p>
            <a:pPr lvl="1"/>
            <a:r>
              <a:rPr lang="en-US" sz="1200" dirty="0"/>
              <a:t>The products in your portfolio are the raw materials of many of the end products of innovations of other life sciences companies. For example, Mesa Biotech (acquired by Thermo Fisher) was an early customer of many of the products. Given a list of companies who have come up with successful products, can you predict which customer will be the next to launch a product? In addition, can you predict which products will experience commercial success? Parallel example is companies selling on Amazon and then Amazon launching Amazon branded products to compete. See </a:t>
            </a:r>
            <a:r>
              <a:rPr lang="en-US" sz="1200"/>
              <a:t>successful customer data set</a:t>
            </a:r>
            <a:endParaRPr lang="en-US" sz="1200" dirty="0"/>
          </a:p>
          <a:p>
            <a:pPr lvl="1"/>
            <a:r>
              <a:rPr lang="en-US" sz="1200" dirty="0"/>
              <a:t>Create your own opportunities and insights—generate your own questions that helps drive business </a:t>
            </a:r>
            <a:endParaRPr lang="en-US" sz="1600" dirty="0"/>
          </a:p>
        </p:txBody>
      </p:sp>
      <p:sp>
        <p:nvSpPr>
          <p:cNvPr id="3" name="Title 2">
            <a:extLst>
              <a:ext uri="{FF2B5EF4-FFF2-40B4-BE49-F238E27FC236}">
                <a16:creationId xmlns:a16="http://schemas.microsoft.com/office/drawing/2014/main" id="{1971E90F-41BB-4097-B9D4-20BBC6F09396}"/>
              </a:ext>
            </a:extLst>
          </p:cNvPr>
          <p:cNvSpPr>
            <a:spLocks noGrp="1"/>
          </p:cNvSpPr>
          <p:nvPr>
            <p:ph type="title"/>
          </p:nvPr>
        </p:nvSpPr>
        <p:spPr/>
        <p:txBody>
          <a:bodyPr/>
          <a:lstStyle/>
          <a:p>
            <a:r>
              <a:rPr lang="en-US" dirty="0"/>
              <a:t>Key Questions</a:t>
            </a:r>
          </a:p>
        </p:txBody>
      </p:sp>
    </p:spTree>
    <p:extLst>
      <p:ext uri="{BB962C8B-B14F-4D97-AF65-F5344CB8AC3E}">
        <p14:creationId xmlns:p14="http://schemas.microsoft.com/office/powerpoint/2010/main" val="364331308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728541A-D07A-4341-829F-0F26C5F981FC}"/>
              </a:ext>
            </a:extLst>
          </p:cNvPr>
          <p:cNvSpPr>
            <a:spLocks noGrp="1"/>
          </p:cNvSpPr>
          <p:nvPr>
            <p:ph idx="1"/>
          </p:nvPr>
        </p:nvSpPr>
        <p:spPr>
          <a:xfrm>
            <a:off x="323851" y="1065217"/>
            <a:ext cx="11217909" cy="4833937"/>
          </a:xfrm>
        </p:spPr>
        <p:txBody>
          <a:bodyPr/>
          <a:lstStyle/>
          <a:p>
            <a:r>
              <a:rPr lang="en-US" b="1" dirty="0"/>
              <a:t>Goal:</a:t>
            </a:r>
            <a:r>
              <a:rPr lang="en-US" dirty="0"/>
              <a:t> ensure product supply meets customer demand to meet customer expectations </a:t>
            </a:r>
          </a:p>
          <a:p>
            <a:r>
              <a:rPr lang="en-US" b="1" dirty="0"/>
              <a:t>How is information used:</a:t>
            </a:r>
            <a:r>
              <a:rPr lang="en-US" dirty="0"/>
              <a:t> product management works with sales to predict demand, reviews historical information, sends estimates to demand planner, sends to manufacturing planner, send to the plant to produce—includes for new demand and safety stock</a:t>
            </a:r>
          </a:p>
          <a:p>
            <a:r>
              <a:rPr lang="en-US" b="1" dirty="0"/>
              <a:t>How this is done</a:t>
            </a:r>
            <a:r>
              <a:rPr lang="en-US" dirty="0"/>
              <a:t>: based on historical information, talking to sales, very difficult during black swan events like COVID</a:t>
            </a:r>
          </a:p>
          <a:p>
            <a:r>
              <a:rPr lang="en-US" dirty="0"/>
              <a:t>Will review examples of current process: Plastics and Thermal Cyclers </a:t>
            </a:r>
          </a:p>
        </p:txBody>
      </p:sp>
      <p:sp>
        <p:nvSpPr>
          <p:cNvPr id="3" name="Title 2">
            <a:extLst>
              <a:ext uri="{FF2B5EF4-FFF2-40B4-BE49-F238E27FC236}">
                <a16:creationId xmlns:a16="http://schemas.microsoft.com/office/drawing/2014/main" id="{23D540F2-7C29-4107-8E30-D94C05E0B451}"/>
              </a:ext>
            </a:extLst>
          </p:cNvPr>
          <p:cNvSpPr>
            <a:spLocks noGrp="1"/>
          </p:cNvSpPr>
          <p:nvPr>
            <p:ph type="title"/>
          </p:nvPr>
        </p:nvSpPr>
        <p:spPr/>
        <p:txBody>
          <a:bodyPr/>
          <a:lstStyle/>
          <a:p>
            <a:r>
              <a:rPr lang="en-US" dirty="0"/>
              <a:t>How is Forecasting done now?</a:t>
            </a:r>
          </a:p>
        </p:txBody>
      </p:sp>
    </p:spTree>
    <p:extLst>
      <p:ext uri="{BB962C8B-B14F-4D97-AF65-F5344CB8AC3E}">
        <p14:creationId xmlns:p14="http://schemas.microsoft.com/office/powerpoint/2010/main" val="300454456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F3E6A83-CD26-477B-A4D3-CC869D01977F}"/>
              </a:ext>
            </a:extLst>
          </p:cNvPr>
          <p:cNvSpPr>
            <a:spLocks noGrp="1"/>
          </p:cNvSpPr>
          <p:nvPr>
            <p:ph type="title"/>
          </p:nvPr>
        </p:nvSpPr>
        <p:spPr/>
        <p:txBody>
          <a:bodyPr/>
          <a:lstStyle/>
          <a:p>
            <a:r>
              <a:rPr lang="en-US" dirty="0"/>
              <a:t>Fuel Growth: Drive Attachment</a:t>
            </a:r>
          </a:p>
        </p:txBody>
      </p:sp>
      <p:sp>
        <p:nvSpPr>
          <p:cNvPr id="4" name="Rectangle 3">
            <a:extLst>
              <a:ext uri="{FF2B5EF4-FFF2-40B4-BE49-F238E27FC236}">
                <a16:creationId xmlns:a16="http://schemas.microsoft.com/office/drawing/2014/main" id="{2D8EDFB3-6F22-4133-B284-7CA91A2A71D4}"/>
              </a:ext>
            </a:extLst>
          </p:cNvPr>
          <p:cNvSpPr/>
          <p:nvPr/>
        </p:nvSpPr>
        <p:spPr bwMode="auto">
          <a:xfrm>
            <a:off x="2532183" y="1019909"/>
            <a:ext cx="3323493" cy="53340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dirty="0">
                <a:latin typeface="Arial" pitchFamily="124" charset="0"/>
              </a:rPr>
              <a:t>Eggs</a:t>
            </a:r>
          </a:p>
        </p:txBody>
      </p:sp>
      <p:sp>
        <p:nvSpPr>
          <p:cNvPr id="5" name="Rectangle 4">
            <a:extLst>
              <a:ext uri="{FF2B5EF4-FFF2-40B4-BE49-F238E27FC236}">
                <a16:creationId xmlns:a16="http://schemas.microsoft.com/office/drawing/2014/main" id="{8D8F171F-EC44-436C-B80E-E2CD8B91A0A5}"/>
              </a:ext>
            </a:extLst>
          </p:cNvPr>
          <p:cNvSpPr/>
          <p:nvPr/>
        </p:nvSpPr>
        <p:spPr bwMode="auto">
          <a:xfrm>
            <a:off x="5855676" y="1019909"/>
            <a:ext cx="3323493" cy="533400"/>
          </a:xfrm>
          <a:prstGeom prst="rect">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dirty="0">
                <a:latin typeface="Arial" pitchFamily="124" charset="0"/>
              </a:rPr>
              <a:t>Muffin Pan</a:t>
            </a:r>
          </a:p>
        </p:txBody>
      </p:sp>
      <p:sp>
        <p:nvSpPr>
          <p:cNvPr id="6" name="Rectangle 5">
            <a:extLst>
              <a:ext uri="{FF2B5EF4-FFF2-40B4-BE49-F238E27FC236}">
                <a16:creationId xmlns:a16="http://schemas.microsoft.com/office/drawing/2014/main" id="{5DCC4E58-5FD2-4EA7-AF41-1B3D4CA7BD6A}"/>
              </a:ext>
            </a:extLst>
          </p:cNvPr>
          <p:cNvSpPr/>
          <p:nvPr/>
        </p:nvSpPr>
        <p:spPr bwMode="auto">
          <a:xfrm>
            <a:off x="9179169" y="1019909"/>
            <a:ext cx="1855177" cy="533400"/>
          </a:xfrm>
          <a:prstGeom prst="rect">
            <a:avLst/>
          </a:prstGeom>
          <a:solidFill>
            <a:srgbClr val="00B05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dirty="0">
                <a:latin typeface="Arial" pitchFamily="124" charset="0"/>
              </a:rPr>
              <a:t>Oven</a:t>
            </a:r>
          </a:p>
        </p:txBody>
      </p:sp>
      <p:sp>
        <p:nvSpPr>
          <p:cNvPr id="7" name="Rectangle 6">
            <a:extLst>
              <a:ext uri="{FF2B5EF4-FFF2-40B4-BE49-F238E27FC236}">
                <a16:creationId xmlns:a16="http://schemas.microsoft.com/office/drawing/2014/main" id="{73FCFDDF-AD3E-4A15-8A5C-FBC248B921D1}"/>
              </a:ext>
            </a:extLst>
          </p:cNvPr>
          <p:cNvSpPr/>
          <p:nvPr/>
        </p:nvSpPr>
        <p:spPr bwMode="auto">
          <a:xfrm>
            <a:off x="2532184" y="1875694"/>
            <a:ext cx="949570" cy="53340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dirty="0">
                <a:latin typeface="Arial" pitchFamily="124" charset="0"/>
              </a:rPr>
              <a:t>Eggs</a:t>
            </a:r>
          </a:p>
        </p:txBody>
      </p:sp>
      <p:sp>
        <p:nvSpPr>
          <p:cNvPr id="8" name="Rectangle 7">
            <a:extLst>
              <a:ext uri="{FF2B5EF4-FFF2-40B4-BE49-F238E27FC236}">
                <a16:creationId xmlns:a16="http://schemas.microsoft.com/office/drawing/2014/main" id="{7EFBBE97-5AF9-4FD4-B312-0401821B1E99}"/>
              </a:ext>
            </a:extLst>
          </p:cNvPr>
          <p:cNvSpPr/>
          <p:nvPr/>
        </p:nvSpPr>
        <p:spPr bwMode="auto">
          <a:xfrm>
            <a:off x="3481754" y="1875694"/>
            <a:ext cx="4624755" cy="533400"/>
          </a:xfrm>
          <a:prstGeom prst="rect">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dirty="0">
                <a:latin typeface="Arial" pitchFamily="124" charset="0"/>
              </a:rPr>
              <a:t>Muffin Pan</a:t>
            </a:r>
          </a:p>
        </p:txBody>
      </p:sp>
      <p:sp>
        <p:nvSpPr>
          <p:cNvPr id="9" name="Rectangle 8">
            <a:extLst>
              <a:ext uri="{FF2B5EF4-FFF2-40B4-BE49-F238E27FC236}">
                <a16:creationId xmlns:a16="http://schemas.microsoft.com/office/drawing/2014/main" id="{7267E7E0-0A84-4B84-B033-22217D0F2B84}"/>
              </a:ext>
            </a:extLst>
          </p:cNvPr>
          <p:cNvSpPr/>
          <p:nvPr/>
        </p:nvSpPr>
        <p:spPr bwMode="auto">
          <a:xfrm>
            <a:off x="8106509" y="1875694"/>
            <a:ext cx="2927837" cy="533400"/>
          </a:xfrm>
          <a:prstGeom prst="rect">
            <a:avLst/>
          </a:prstGeom>
          <a:solidFill>
            <a:srgbClr val="00B05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dirty="0">
                <a:latin typeface="Arial" pitchFamily="124" charset="0"/>
              </a:rPr>
              <a:t>Oven</a:t>
            </a:r>
          </a:p>
        </p:txBody>
      </p:sp>
      <p:sp>
        <p:nvSpPr>
          <p:cNvPr id="10" name="Rectangle 9">
            <a:extLst>
              <a:ext uri="{FF2B5EF4-FFF2-40B4-BE49-F238E27FC236}">
                <a16:creationId xmlns:a16="http://schemas.microsoft.com/office/drawing/2014/main" id="{05BA04AA-2F29-468A-B062-279810B1ED33}"/>
              </a:ext>
            </a:extLst>
          </p:cNvPr>
          <p:cNvSpPr/>
          <p:nvPr/>
        </p:nvSpPr>
        <p:spPr bwMode="auto">
          <a:xfrm>
            <a:off x="2532182" y="2746135"/>
            <a:ext cx="5969977" cy="53340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dirty="0">
                <a:latin typeface="Arial" pitchFamily="124" charset="0"/>
              </a:rPr>
              <a:t>Eggs</a:t>
            </a:r>
          </a:p>
        </p:txBody>
      </p:sp>
      <p:sp>
        <p:nvSpPr>
          <p:cNvPr id="11" name="Rectangle 10">
            <a:extLst>
              <a:ext uri="{FF2B5EF4-FFF2-40B4-BE49-F238E27FC236}">
                <a16:creationId xmlns:a16="http://schemas.microsoft.com/office/drawing/2014/main" id="{F291EE85-0C44-4D4C-9F4B-0E43D9E8E5AD}"/>
              </a:ext>
            </a:extLst>
          </p:cNvPr>
          <p:cNvSpPr/>
          <p:nvPr/>
        </p:nvSpPr>
        <p:spPr bwMode="auto">
          <a:xfrm>
            <a:off x="8502161" y="2746135"/>
            <a:ext cx="1696915" cy="533400"/>
          </a:xfrm>
          <a:prstGeom prst="rect">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dirty="0">
                <a:latin typeface="Arial" pitchFamily="124" charset="0"/>
              </a:rPr>
              <a:t>Muffin Pan</a:t>
            </a:r>
          </a:p>
        </p:txBody>
      </p:sp>
      <p:sp>
        <p:nvSpPr>
          <p:cNvPr id="12" name="Rectangle 11">
            <a:extLst>
              <a:ext uri="{FF2B5EF4-FFF2-40B4-BE49-F238E27FC236}">
                <a16:creationId xmlns:a16="http://schemas.microsoft.com/office/drawing/2014/main" id="{1915FFC6-27D6-4B8A-A852-C858B73D6BA2}"/>
              </a:ext>
            </a:extLst>
          </p:cNvPr>
          <p:cNvSpPr/>
          <p:nvPr/>
        </p:nvSpPr>
        <p:spPr bwMode="auto">
          <a:xfrm>
            <a:off x="10199077" y="2746135"/>
            <a:ext cx="835268" cy="533400"/>
          </a:xfrm>
          <a:prstGeom prst="rect">
            <a:avLst/>
          </a:prstGeom>
          <a:solidFill>
            <a:srgbClr val="00B05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dirty="0">
                <a:latin typeface="Arial" pitchFamily="124" charset="0"/>
              </a:rPr>
              <a:t>Oven</a:t>
            </a:r>
          </a:p>
        </p:txBody>
      </p:sp>
      <p:sp>
        <p:nvSpPr>
          <p:cNvPr id="13" name="TextBox 12">
            <a:extLst>
              <a:ext uri="{FF2B5EF4-FFF2-40B4-BE49-F238E27FC236}">
                <a16:creationId xmlns:a16="http://schemas.microsoft.com/office/drawing/2014/main" id="{E1F91398-4984-4825-B89B-99661A156546}"/>
              </a:ext>
            </a:extLst>
          </p:cNvPr>
          <p:cNvSpPr txBox="1"/>
          <p:nvPr/>
        </p:nvSpPr>
        <p:spPr>
          <a:xfrm>
            <a:off x="879232" y="1085769"/>
            <a:ext cx="1521069" cy="369332"/>
          </a:xfrm>
          <a:prstGeom prst="rect">
            <a:avLst/>
          </a:prstGeom>
          <a:noFill/>
        </p:spPr>
        <p:txBody>
          <a:bodyPr wrap="square" rtlCol="0">
            <a:spAutoFit/>
          </a:bodyPr>
          <a:lstStyle/>
          <a:p>
            <a:r>
              <a:rPr lang="en-US" dirty="0"/>
              <a:t>Customer 1</a:t>
            </a:r>
          </a:p>
        </p:txBody>
      </p:sp>
      <p:sp>
        <p:nvSpPr>
          <p:cNvPr id="14" name="TextBox 13">
            <a:extLst>
              <a:ext uri="{FF2B5EF4-FFF2-40B4-BE49-F238E27FC236}">
                <a16:creationId xmlns:a16="http://schemas.microsoft.com/office/drawing/2014/main" id="{63955A99-61C0-438D-98D6-D8800C1D255D}"/>
              </a:ext>
            </a:extLst>
          </p:cNvPr>
          <p:cNvSpPr txBox="1"/>
          <p:nvPr/>
        </p:nvSpPr>
        <p:spPr>
          <a:xfrm>
            <a:off x="879232" y="1897621"/>
            <a:ext cx="1521069" cy="369332"/>
          </a:xfrm>
          <a:prstGeom prst="rect">
            <a:avLst/>
          </a:prstGeom>
          <a:noFill/>
        </p:spPr>
        <p:txBody>
          <a:bodyPr wrap="square" rtlCol="0">
            <a:spAutoFit/>
          </a:bodyPr>
          <a:lstStyle/>
          <a:p>
            <a:r>
              <a:rPr lang="en-US" dirty="0"/>
              <a:t>Customer 2</a:t>
            </a:r>
          </a:p>
        </p:txBody>
      </p:sp>
      <p:sp>
        <p:nvSpPr>
          <p:cNvPr id="15" name="TextBox 14">
            <a:extLst>
              <a:ext uri="{FF2B5EF4-FFF2-40B4-BE49-F238E27FC236}">
                <a16:creationId xmlns:a16="http://schemas.microsoft.com/office/drawing/2014/main" id="{509F8F95-114A-49CF-89AC-850E13E4B14E}"/>
              </a:ext>
            </a:extLst>
          </p:cNvPr>
          <p:cNvSpPr txBox="1"/>
          <p:nvPr/>
        </p:nvSpPr>
        <p:spPr>
          <a:xfrm>
            <a:off x="918798" y="2746135"/>
            <a:ext cx="1521069" cy="369332"/>
          </a:xfrm>
          <a:prstGeom prst="rect">
            <a:avLst/>
          </a:prstGeom>
          <a:noFill/>
        </p:spPr>
        <p:txBody>
          <a:bodyPr wrap="square" rtlCol="0">
            <a:spAutoFit/>
          </a:bodyPr>
          <a:lstStyle/>
          <a:p>
            <a:r>
              <a:rPr lang="en-US" dirty="0"/>
              <a:t>Customer 3</a:t>
            </a:r>
          </a:p>
        </p:txBody>
      </p:sp>
      <p:sp>
        <p:nvSpPr>
          <p:cNvPr id="16" name="TextBox 15">
            <a:extLst>
              <a:ext uri="{FF2B5EF4-FFF2-40B4-BE49-F238E27FC236}">
                <a16:creationId xmlns:a16="http://schemas.microsoft.com/office/drawing/2014/main" id="{137BC6BD-1A39-48A3-88D2-BC65309DD4F6}"/>
              </a:ext>
            </a:extLst>
          </p:cNvPr>
          <p:cNvSpPr txBox="1"/>
          <p:nvPr/>
        </p:nvSpPr>
        <p:spPr>
          <a:xfrm>
            <a:off x="1639766" y="4290645"/>
            <a:ext cx="8897816" cy="1754326"/>
          </a:xfrm>
          <a:prstGeom prst="rect">
            <a:avLst/>
          </a:prstGeom>
          <a:noFill/>
          <a:ln>
            <a:solidFill>
              <a:srgbClr val="000000"/>
            </a:solidFill>
          </a:ln>
        </p:spPr>
        <p:txBody>
          <a:bodyPr wrap="square" rtlCol="0">
            <a:spAutoFit/>
          </a:bodyPr>
          <a:lstStyle/>
          <a:p>
            <a:pPr marL="285750" indent="-285750">
              <a:buFont typeface="Arial" panose="020B0604020202020204" pitchFamily="34" charset="0"/>
              <a:buChar char="•"/>
            </a:pPr>
            <a:r>
              <a:rPr lang="en-US" dirty="0"/>
              <a:t>Why is customer 2 spending less on eggs—getting eggs from another company or application requires fewer number of eggs?</a:t>
            </a:r>
          </a:p>
          <a:p>
            <a:pPr marL="285750" indent="-285750">
              <a:buFont typeface="Arial" panose="020B0604020202020204" pitchFamily="34" charset="0"/>
              <a:buChar char="•"/>
            </a:pPr>
            <a:r>
              <a:rPr lang="en-US" dirty="0"/>
              <a:t>Why is customer 3 spending less on oven and pan—getting oven &amp; pan from another company or application requires fewer number of oven and pan?</a:t>
            </a:r>
          </a:p>
          <a:p>
            <a:pPr marL="285750" indent="-285750">
              <a:buFont typeface="Arial" panose="020B0604020202020204" pitchFamily="34" charset="0"/>
              <a:buChar char="•"/>
            </a:pPr>
            <a:r>
              <a:rPr lang="en-US" dirty="0"/>
              <a:t>Is there an ideal/target ratio (by quantity or sales) of products for the customer. Ideal ration for each segment of customers (healthcare, academic, diagnostics)</a:t>
            </a:r>
          </a:p>
        </p:txBody>
      </p:sp>
    </p:spTree>
    <p:extLst>
      <p:ext uri="{BB962C8B-B14F-4D97-AF65-F5344CB8AC3E}">
        <p14:creationId xmlns:p14="http://schemas.microsoft.com/office/powerpoint/2010/main" val="419974563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24A8079-6678-49EE-9E75-8F4C16686BAF}"/>
              </a:ext>
            </a:extLst>
          </p:cNvPr>
          <p:cNvSpPr>
            <a:spLocks noGrp="1"/>
          </p:cNvSpPr>
          <p:nvPr>
            <p:ph type="title"/>
          </p:nvPr>
        </p:nvSpPr>
        <p:spPr/>
        <p:txBody>
          <a:bodyPr/>
          <a:lstStyle/>
          <a:p>
            <a:r>
              <a:rPr lang="en-US" dirty="0"/>
              <a:t>Who are the customers: Customer Segments</a:t>
            </a:r>
          </a:p>
        </p:txBody>
      </p:sp>
      <p:graphicFrame>
        <p:nvGraphicFramePr>
          <p:cNvPr id="4" name="Table 3">
            <a:extLst>
              <a:ext uri="{FF2B5EF4-FFF2-40B4-BE49-F238E27FC236}">
                <a16:creationId xmlns:a16="http://schemas.microsoft.com/office/drawing/2014/main" id="{03359B4D-1DAB-43F9-A91E-571CA6C2B1E8}"/>
              </a:ext>
            </a:extLst>
          </p:cNvPr>
          <p:cNvGraphicFramePr>
            <a:graphicFrameLocks noGrp="1"/>
          </p:cNvGraphicFramePr>
          <p:nvPr/>
        </p:nvGraphicFramePr>
        <p:xfrm>
          <a:off x="3825" y="550914"/>
          <a:ext cx="12191996" cy="5786496"/>
        </p:xfrm>
        <a:graphic>
          <a:graphicData uri="http://schemas.openxmlformats.org/drawingml/2006/table">
            <a:tbl>
              <a:tblPr firstRow="1" bandRow="1">
                <a:tableStyleId>{073A0DAA-6AF3-43AB-8588-CEC1D06C72B9}</a:tableStyleId>
              </a:tblPr>
              <a:tblGrid>
                <a:gridCol w="2615606">
                  <a:extLst>
                    <a:ext uri="{9D8B030D-6E8A-4147-A177-3AD203B41FA5}">
                      <a16:colId xmlns:a16="http://schemas.microsoft.com/office/drawing/2014/main" val="20000"/>
                    </a:ext>
                  </a:extLst>
                </a:gridCol>
                <a:gridCol w="3480392">
                  <a:extLst>
                    <a:ext uri="{9D8B030D-6E8A-4147-A177-3AD203B41FA5}">
                      <a16:colId xmlns:a16="http://schemas.microsoft.com/office/drawing/2014/main" val="20001"/>
                    </a:ext>
                  </a:extLst>
                </a:gridCol>
                <a:gridCol w="3047999">
                  <a:extLst>
                    <a:ext uri="{9D8B030D-6E8A-4147-A177-3AD203B41FA5}">
                      <a16:colId xmlns:a16="http://schemas.microsoft.com/office/drawing/2014/main" val="20002"/>
                    </a:ext>
                  </a:extLst>
                </a:gridCol>
                <a:gridCol w="3047999">
                  <a:extLst>
                    <a:ext uri="{9D8B030D-6E8A-4147-A177-3AD203B41FA5}">
                      <a16:colId xmlns:a16="http://schemas.microsoft.com/office/drawing/2014/main" val="1499203343"/>
                    </a:ext>
                  </a:extLst>
                </a:gridCol>
              </a:tblGrid>
              <a:tr h="397658">
                <a:tc>
                  <a:txBody>
                    <a:bodyPr/>
                    <a:lstStyle/>
                    <a:p>
                      <a:r>
                        <a:rPr lang="en-US" sz="1400" dirty="0"/>
                        <a:t>Characteristics</a:t>
                      </a:r>
                    </a:p>
                  </a:txBody>
                  <a:tcPr/>
                </a:tc>
                <a:tc>
                  <a:txBody>
                    <a:bodyPr/>
                    <a:lstStyle/>
                    <a:p>
                      <a:r>
                        <a:rPr lang="en-US" sz="1400" dirty="0"/>
                        <a:t>Academic</a:t>
                      </a:r>
                    </a:p>
                  </a:txBody>
                  <a:tcPr/>
                </a:tc>
                <a:tc>
                  <a:txBody>
                    <a:bodyPr/>
                    <a:lstStyle/>
                    <a:p>
                      <a:r>
                        <a:rPr lang="en-US" sz="1400" dirty="0"/>
                        <a:t>Molecular Diagnostics (MDX)</a:t>
                      </a:r>
                    </a:p>
                  </a:txBody>
                  <a:tcPr/>
                </a:tc>
                <a:tc>
                  <a:txBody>
                    <a:bodyPr/>
                    <a:lstStyle/>
                    <a:p>
                      <a:r>
                        <a:rPr lang="en-US" sz="1400" dirty="0"/>
                        <a:t>Pharma/Biotech</a:t>
                      </a:r>
                    </a:p>
                  </a:txBody>
                  <a:tcPr/>
                </a:tc>
                <a:extLst>
                  <a:ext uri="{0D108BD9-81ED-4DB2-BD59-A6C34878D82A}">
                    <a16:rowId xmlns:a16="http://schemas.microsoft.com/office/drawing/2014/main" val="10000"/>
                  </a:ext>
                </a:extLst>
              </a:tr>
              <a:tr h="640005">
                <a:tc>
                  <a:txBody>
                    <a:bodyPr/>
                    <a:lstStyle/>
                    <a:p>
                      <a:r>
                        <a:rPr lang="en-US" sz="1100" b="1" dirty="0"/>
                        <a:t>Goals</a:t>
                      </a:r>
                    </a:p>
                  </a:txBody>
                  <a:tcPr/>
                </a:tc>
                <a:tc>
                  <a:txBody>
                    <a:bodyPr/>
                    <a:lstStyle/>
                    <a:p>
                      <a:pPr marL="285750" indent="-285750">
                        <a:buFont typeface="Arial" panose="020B0604020202020204" pitchFamily="34" charset="0"/>
                        <a:buChar char="•"/>
                      </a:pPr>
                      <a:r>
                        <a:rPr lang="en-US" sz="1100" b="1" baseline="0" dirty="0"/>
                        <a:t>Achieve consistent and reliable results</a:t>
                      </a:r>
                    </a:p>
                    <a:p>
                      <a:pPr marL="285750" indent="-285750">
                        <a:buFont typeface="Arial" panose="020B0604020202020204" pitchFamily="34" charset="0"/>
                        <a:buChar char="•"/>
                      </a:pPr>
                      <a:r>
                        <a:rPr lang="en-US" sz="1100" baseline="0" dirty="0"/>
                        <a:t>Minimize cost </a:t>
                      </a:r>
                    </a:p>
                  </a:txBody>
                  <a:tcPr/>
                </a:tc>
                <a:tc>
                  <a:txBody>
                    <a:bodyPr/>
                    <a:lstStyle/>
                    <a:p>
                      <a:pPr marL="285750" indent="-285750">
                        <a:buFont typeface="Arial" panose="020B0604020202020204" pitchFamily="34" charset="0"/>
                        <a:buChar char="•"/>
                      </a:pPr>
                      <a:r>
                        <a:rPr lang="en-US" sz="1100" b="1" baseline="0" dirty="0"/>
                        <a:t>Achieve consistent and reliable results to succeed in regulated environmen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aseline="0" dirty="0"/>
                        <a:t>Reduce COGs ($/reaction)</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baseline="0" dirty="0"/>
                        <a:t>Achieve consistent and reliable resul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aseline="0" dirty="0"/>
                        <a:t>Reduce COGs ($/reaction)</a:t>
                      </a:r>
                    </a:p>
                    <a:p>
                      <a:pPr marL="285750" indent="-285750">
                        <a:buFont typeface="Arial" panose="020B0604020202020204" pitchFamily="34" charset="0"/>
                        <a:buChar char="•"/>
                      </a:pPr>
                      <a:endParaRPr lang="en-US" sz="1100" baseline="0" dirty="0"/>
                    </a:p>
                  </a:txBody>
                  <a:tcPr/>
                </a:tc>
                <a:extLst>
                  <a:ext uri="{0D108BD9-81ED-4DB2-BD59-A6C34878D82A}">
                    <a16:rowId xmlns:a16="http://schemas.microsoft.com/office/drawing/2014/main" val="10001"/>
                  </a:ext>
                </a:extLst>
              </a:tr>
              <a:tr h="831245">
                <a:tc>
                  <a:txBody>
                    <a:bodyPr/>
                    <a:lstStyle/>
                    <a:p>
                      <a:r>
                        <a:rPr lang="en-US" sz="1100" b="1" dirty="0"/>
                        <a:t>What customers </a:t>
                      </a:r>
                      <a:r>
                        <a:rPr lang="en-US" sz="1100" b="1" baseline="0" dirty="0"/>
                        <a:t>care about</a:t>
                      </a:r>
                      <a:endParaRPr lang="en-US" sz="1100" b="1" dirty="0"/>
                    </a:p>
                  </a:txBody>
                  <a:tcPr/>
                </a:tc>
                <a:tc>
                  <a:txBody>
                    <a:bodyPr/>
                    <a:lstStyle/>
                    <a:p>
                      <a:pPr marL="285750" indent="-285750">
                        <a:buFont typeface="Arial" panose="020B0604020202020204" pitchFamily="34" charset="0"/>
                        <a:buChar char="•"/>
                      </a:pPr>
                      <a:r>
                        <a:rPr lang="en-US" sz="1100" b="1" dirty="0">
                          <a:solidFill>
                            <a:schemeClr val="tx1"/>
                          </a:solidFill>
                        </a:rPr>
                        <a:t>Cos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baseline="0" dirty="0">
                          <a:solidFill>
                            <a:schemeClr val="tx1"/>
                          </a:solidFill>
                        </a:rPr>
                        <a:t>Ease of use </a:t>
                      </a:r>
                      <a:endParaRPr lang="en-US" sz="1100" b="0" dirty="0">
                        <a:solidFill>
                          <a:schemeClr val="tx1"/>
                        </a:solidFill>
                      </a:endParaRPr>
                    </a:p>
                    <a:p>
                      <a:pPr marL="285750" indent="-285750">
                        <a:buFont typeface="Arial" panose="020B0604020202020204" pitchFamily="34" charset="0"/>
                        <a:buChar char="•"/>
                      </a:pPr>
                      <a:r>
                        <a:rPr lang="en-US" sz="1100" b="0" dirty="0">
                          <a:solidFill>
                            <a:schemeClr val="tx1"/>
                          </a:solidFill>
                        </a:rPr>
                        <a:t>Reliability</a:t>
                      </a:r>
                      <a:endParaRPr lang="en-US" sz="1100" b="0" dirty="0"/>
                    </a:p>
                    <a:p>
                      <a:pPr marL="285750" indent="-285750">
                        <a:buFont typeface="Arial" panose="020B0604020202020204" pitchFamily="34" charset="0"/>
                        <a:buChar char="•"/>
                      </a:pPr>
                      <a:r>
                        <a:rPr lang="en-US" sz="1100" dirty="0"/>
                        <a:t>Performance</a:t>
                      </a:r>
                    </a:p>
                    <a:p>
                      <a:pPr marL="285750" indent="-285750">
                        <a:buFont typeface="Arial" panose="020B0604020202020204" pitchFamily="34" charset="0"/>
                        <a:buChar char="•"/>
                      </a:pPr>
                      <a:r>
                        <a:rPr lang="en-US" sz="1100" baseline="0" dirty="0"/>
                        <a:t>Speed</a:t>
                      </a:r>
                    </a:p>
                    <a:p>
                      <a:endParaRPr lang="en-US" sz="1100" baseline="0" dirty="0"/>
                    </a:p>
                    <a:p>
                      <a:endParaRPr lang="en-US" sz="1100" dirty="0"/>
                    </a:p>
                  </a:txBody>
                  <a:tcPr/>
                </a:tc>
                <a:tc>
                  <a:txBody>
                    <a:bodyPr/>
                    <a:lstStyle/>
                    <a:p>
                      <a:pPr marL="285750" indent="-285750">
                        <a:buFont typeface="Arial" panose="020B0604020202020204" pitchFamily="34" charset="0"/>
                        <a:buChar char="•"/>
                      </a:pPr>
                      <a:r>
                        <a:rPr lang="en-US" sz="1100" b="1" dirty="0">
                          <a:solidFill>
                            <a:schemeClr val="tx1"/>
                          </a:solidFill>
                        </a:rPr>
                        <a:t>Reliability: regular qualification of instrumen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dirty="0">
                          <a:solidFill>
                            <a:schemeClr val="tx1"/>
                          </a:solidFill>
                        </a:rPr>
                        <a:t>Scalability (autom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dirty="0">
                          <a:solidFill>
                            <a:schemeClr val="tx1"/>
                          </a:solidFill>
                        </a:rPr>
                        <a:t>Service</a:t>
                      </a:r>
                    </a:p>
                    <a:p>
                      <a:pPr marL="285750" indent="-285750">
                        <a:buFont typeface="Arial" panose="020B0604020202020204" pitchFamily="34" charset="0"/>
                        <a:buChar char="•"/>
                      </a:pPr>
                      <a:r>
                        <a:rPr lang="en-US" sz="1100" dirty="0"/>
                        <a:t>Performan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t>Ease of use</a:t>
                      </a:r>
                      <a:r>
                        <a:rPr lang="en-US" sz="1100" b="1" dirty="0">
                          <a:solidFill>
                            <a:srgbClr val="00B050"/>
                          </a:solidFill>
                        </a:rPr>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b="0" dirty="0"/>
                    </a:p>
                    <a:p>
                      <a:pPr marL="0" indent="0">
                        <a:buFont typeface="Arial" panose="020B0604020202020204" pitchFamily="34" charset="0"/>
                        <a:buNone/>
                      </a:pPr>
                      <a:endParaRPr lang="en-US" sz="1100" dirty="0"/>
                    </a:p>
                  </a:txBody>
                  <a:tcPr/>
                </a:tc>
                <a:tc>
                  <a:txBody>
                    <a:bodyPr/>
                    <a:lstStyle/>
                    <a:p>
                      <a:pPr marL="285750" indent="-285750">
                        <a:buFont typeface="Arial" panose="020B0604020202020204" pitchFamily="34" charset="0"/>
                        <a:buChar char="•"/>
                      </a:pPr>
                      <a:r>
                        <a:rPr lang="en-US" sz="1100" b="1" dirty="0">
                          <a:solidFill>
                            <a:schemeClr val="tx1"/>
                          </a:solidFill>
                        </a:rPr>
                        <a:t>Reliability</a:t>
                      </a:r>
                    </a:p>
                    <a:p>
                      <a:pPr marL="285750" indent="-285750">
                        <a:buFont typeface="Arial" panose="020B0604020202020204" pitchFamily="34" charset="0"/>
                        <a:buChar char="•"/>
                      </a:pPr>
                      <a:r>
                        <a:rPr lang="en-US" sz="1100" b="1" dirty="0">
                          <a:solidFill>
                            <a:schemeClr val="tx1"/>
                          </a:solidFill>
                        </a:rPr>
                        <a:t>Scalability</a:t>
                      </a:r>
                    </a:p>
                    <a:p>
                      <a:pPr marL="285750" indent="-285750">
                        <a:buFont typeface="Arial" panose="020B0604020202020204" pitchFamily="34" charset="0"/>
                        <a:buChar char="•"/>
                      </a:pPr>
                      <a:r>
                        <a:rPr lang="en-US" sz="1100" b="1" dirty="0">
                          <a:solidFill>
                            <a:schemeClr val="tx1"/>
                          </a:solidFill>
                        </a:rPr>
                        <a:t>Service</a:t>
                      </a:r>
                    </a:p>
                    <a:p>
                      <a:pPr marL="285750" indent="-285750">
                        <a:buFont typeface="Arial" panose="020B0604020202020204" pitchFamily="34" charset="0"/>
                        <a:buChar char="•"/>
                      </a:pPr>
                      <a:r>
                        <a:rPr lang="en-US" sz="1100" dirty="0"/>
                        <a:t>Performance </a:t>
                      </a:r>
                    </a:p>
                    <a:p>
                      <a:pPr marL="285750" indent="-285750">
                        <a:buFont typeface="Arial" panose="020B0604020202020204" pitchFamily="34" charset="0"/>
                        <a:buChar char="•"/>
                      </a:pPr>
                      <a:r>
                        <a:rPr lang="en-US" sz="1100" dirty="0"/>
                        <a:t>Ease of use</a:t>
                      </a:r>
                    </a:p>
                    <a:p>
                      <a:pPr marL="0" indent="0">
                        <a:buFont typeface="Arial" panose="020B0604020202020204" pitchFamily="34" charset="0"/>
                        <a:buNone/>
                      </a:pPr>
                      <a:r>
                        <a:rPr lang="en-US" sz="1100" b="1" dirty="0">
                          <a:solidFill>
                            <a:srgbClr val="00B050"/>
                          </a:solidFill>
                        </a:rPr>
                        <a:t> </a:t>
                      </a:r>
                    </a:p>
                    <a:p>
                      <a:pPr marL="0" indent="0">
                        <a:buFont typeface="Arial" panose="020B0604020202020204" pitchFamily="34" charset="0"/>
                        <a:buNone/>
                      </a:pPr>
                      <a:endParaRPr lang="en-US" sz="1100" b="0" dirty="0"/>
                    </a:p>
                  </a:txBody>
                  <a:tcPr/>
                </a:tc>
                <a:extLst>
                  <a:ext uri="{0D108BD9-81ED-4DB2-BD59-A6C34878D82A}">
                    <a16:rowId xmlns:a16="http://schemas.microsoft.com/office/drawing/2014/main" val="10002"/>
                  </a:ext>
                </a:extLst>
              </a:tr>
              <a:tr h="775433">
                <a:tc>
                  <a:txBody>
                    <a:bodyPr/>
                    <a:lstStyle/>
                    <a:p>
                      <a:r>
                        <a:rPr lang="en-US" sz="1100" b="1" dirty="0"/>
                        <a:t>How customers came to use current instruments/products</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dirty="0"/>
                        <a:t>Already in the lab</a:t>
                      </a:r>
                    </a:p>
                    <a:p>
                      <a:pPr marL="285750" indent="-285750">
                        <a:buFont typeface="Arial" panose="020B0604020202020204" pitchFamily="34" charset="0"/>
                        <a:buChar char="•"/>
                      </a:pPr>
                      <a:r>
                        <a:rPr lang="en-US" sz="1100" dirty="0"/>
                        <a:t>Previous experience</a:t>
                      </a:r>
                    </a:p>
                    <a:p>
                      <a:pPr marL="285750" indent="-285750">
                        <a:buFont typeface="Arial" panose="020B0604020202020204" pitchFamily="34" charset="0"/>
                        <a:buChar char="•"/>
                      </a:pPr>
                      <a:r>
                        <a:rPr lang="en-US" sz="1100" dirty="0"/>
                        <a:t>Brand loyalty </a:t>
                      </a:r>
                    </a:p>
                  </a:txBody>
                  <a:tcPr/>
                </a:tc>
                <a:tc>
                  <a:txBody>
                    <a:bodyPr/>
                    <a:lstStyle/>
                    <a:p>
                      <a:pPr marL="285750" indent="-285750">
                        <a:buFont typeface="Arial" panose="020B0604020202020204" pitchFamily="34" charset="0"/>
                        <a:buChar char="•"/>
                      </a:pPr>
                      <a:r>
                        <a:rPr lang="en-US" sz="1100" b="1" dirty="0"/>
                        <a:t>Validated instrument/plastics</a:t>
                      </a:r>
                    </a:p>
                    <a:p>
                      <a:pPr marL="0" indent="0">
                        <a:buFont typeface="Arial" panose="020B0604020202020204" pitchFamily="34" charset="0"/>
                        <a:buNone/>
                      </a:pPr>
                      <a:endParaRPr lang="en-US" sz="1100" dirty="0"/>
                    </a:p>
                  </a:txBody>
                  <a:tcPr/>
                </a:tc>
                <a:tc>
                  <a:txBody>
                    <a:bodyPr/>
                    <a:lstStyle/>
                    <a:p>
                      <a:pPr marL="285750" indent="-285750">
                        <a:buFont typeface="Arial" panose="020B0604020202020204" pitchFamily="34" charset="0"/>
                        <a:buChar char="•"/>
                      </a:pPr>
                      <a:r>
                        <a:rPr lang="en-US" sz="1100" b="1" dirty="0"/>
                        <a:t>Already in the lab</a:t>
                      </a:r>
                    </a:p>
                    <a:p>
                      <a:pPr marL="285750" indent="-285750">
                        <a:buFont typeface="Arial" panose="020B0604020202020204" pitchFamily="34" charset="0"/>
                        <a:buChar char="•"/>
                      </a:pPr>
                      <a:r>
                        <a:rPr lang="en-US" sz="1100" dirty="0"/>
                        <a:t>Previous experience</a:t>
                      </a:r>
                    </a:p>
                    <a:p>
                      <a:pPr marL="285750" indent="-285750">
                        <a:buFont typeface="Arial" panose="020B0604020202020204" pitchFamily="34" charset="0"/>
                        <a:buChar char="•"/>
                      </a:pPr>
                      <a:r>
                        <a:rPr lang="en-US" sz="1100" dirty="0"/>
                        <a:t>Lower $/reaction</a:t>
                      </a:r>
                    </a:p>
                  </a:txBody>
                  <a:tcPr/>
                </a:tc>
                <a:extLst>
                  <a:ext uri="{0D108BD9-81ED-4DB2-BD59-A6C34878D82A}">
                    <a16:rowId xmlns:a16="http://schemas.microsoft.com/office/drawing/2014/main" val="10003"/>
                  </a:ext>
                </a:extLst>
              </a:tr>
              <a:tr h="1321565">
                <a:tc>
                  <a:txBody>
                    <a:bodyPr/>
                    <a:lstStyle/>
                    <a:p>
                      <a:r>
                        <a:rPr lang="en-US" sz="1100" b="1" dirty="0"/>
                        <a:t>What</a:t>
                      </a:r>
                      <a:r>
                        <a:rPr lang="en-US" sz="1100" b="1" baseline="0" dirty="0"/>
                        <a:t> would motivate them to buy</a:t>
                      </a:r>
                      <a:endParaRPr lang="en-US" sz="1100" b="1" dirty="0"/>
                    </a:p>
                  </a:txBody>
                  <a:tcPr/>
                </a:tc>
                <a:tc>
                  <a:txBody>
                    <a:bodyPr/>
                    <a:lstStyle/>
                    <a:p>
                      <a:pPr marL="285750" indent="-285750">
                        <a:buFont typeface="Arial" panose="020B0604020202020204" pitchFamily="34" charset="0"/>
                        <a:buChar char="•"/>
                      </a:pPr>
                      <a:r>
                        <a:rPr lang="en-US" sz="1100" dirty="0"/>
                        <a:t>Recommended by workflow </a:t>
                      </a:r>
                    </a:p>
                    <a:p>
                      <a:pPr marL="285750" indent="-285750">
                        <a:buFont typeface="Arial" panose="020B0604020202020204" pitchFamily="34" charset="0"/>
                        <a:buChar char="•"/>
                      </a:pPr>
                      <a:r>
                        <a:rPr lang="en-US" sz="1100" dirty="0"/>
                        <a:t>Lower</a:t>
                      </a:r>
                      <a:r>
                        <a:rPr lang="en-US" sz="1100" baseline="0" dirty="0"/>
                        <a:t> cost</a:t>
                      </a:r>
                    </a:p>
                    <a:p>
                      <a:pPr marL="285750" marR="0" lvl="0" indent="-285750"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dirty="0"/>
                        <a:t>Availability of products: COVID demand</a:t>
                      </a:r>
                    </a:p>
                    <a:p>
                      <a:pPr marL="0" indent="0">
                        <a:buFont typeface="Arial" panose="020B0604020202020204" pitchFamily="34" charset="0"/>
                        <a:buNone/>
                      </a:pPr>
                      <a:endParaRPr lang="en-US" sz="1100" dirty="0"/>
                    </a:p>
                  </a:txBody>
                  <a:tcPr/>
                </a:tc>
                <a:tc>
                  <a:txBody>
                    <a:bodyPr/>
                    <a:lstStyle/>
                    <a:p>
                      <a:pPr marL="285750" indent="-285750">
                        <a:buFont typeface="Arial" panose="020B0604020202020204" pitchFamily="34" charset="0"/>
                        <a:buChar char="•"/>
                      </a:pPr>
                      <a:r>
                        <a:rPr lang="en-US" sz="1100" dirty="0"/>
                        <a:t>Data/support data to get test approved quickly or win wider adoption </a:t>
                      </a:r>
                    </a:p>
                    <a:p>
                      <a:pPr marL="285750" indent="-285750">
                        <a:buFont typeface="Arial" panose="020B0604020202020204" pitchFamily="34" charset="0"/>
                        <a:buChar char="•"/>
                      </a:pPr>
                      <a:r>
                        <a:rPr lang="en-US" sz="1100" dirty="0"/>
                        <a:t>Cost savings: bundling with plastics and reagents </a:t>
                      </a:r>
                    </a:p>
                    <a:p>
                      <a:pPr marL="285750" indent="-285750">
                        <a:buFont typeface="Arial" panose="020B0604020202020204" pitchFamily="34" charset="0"/>
                        <a:buChar char="•"/>
                      </a:pPr>
                      <a:r>
                        <a:rPr lang="en-US" sz="1100" b="1" dirty="0"/>
                        <a:t>Availability of products: COVID demand</a:t>
                      </a:r>
                    </a:p>
                    <a:p>
                      <a:pPr marL="285750" indent="-285750">
                        <a:buFont typeface="Arial" panose="020B0604020202020204" pitchFamily="34" charset="0"/>
                        <a:buChar char="•"/>
                      </a:pPr>
                      <a:endParaRPr lang="en-US" sz="1100" dirty="0"/>
                    </a:p>
                  </a:txBody>
                  <a:tcPr/>
                </a:tc>
                <a:tc>
                  <a:txBody>
                    <a:bodyPr/>
                    <a:lstStyle/>
                    <a:p>
                      <a:pPr marL="285750" indent="-285750">
                        <a:buFont typeface="Arial" panose="020B0604020202020204" pitchFamily="34" charset="0"/>
                        <a:buChar char="•"/>
                      </a:pPr>
                      <a:r>
                        <a:rPr lang="en-US" sz="1100" dirty="0"/>
                        <a:t>Recommended by workflow </a:t>
                      </a:r>
                    </a:p>
                    <a:p>
                      <a:pPr marL="285750" indent="-285750">
                        <a:buFont typeface="Arial" panose="020B0604020202020204" pitchFamily="34" charset="0"/>
                        <a:buChar char="•"/>
                      </a:pPr>
                      <a:r>
                        <a:rPr lang="en-US" sz="1100" dirty="0"/>
                        <a:t>Cost savings: bundling with plastics and reagents </a:t>
                      </a:r>
                      <a:endParaRPr lang="en-US" sz="1100" b="0" dirty="0"/>
                    </a:p>
                    <a:p>
                      <a:pPr marL="285750" marR="0" lvl="0" indent="-285750"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dirty="0"/>
                        <a:t>Availability of products: COVID demand</a:t>
                      </a:r>
                    </a:p>
                    <a:p>
                      <a:pPr marL="285750" indent="-285750">
                        <a:buFont typeface="Arial" panose="020B0604020202020204" pitchFamily="34" charset="0"/>
                        <a:buChar char="•"/>
                      </a:pPr>
                      <a:endParaRPr lang="en-US" sz="1100" dirty="0"/>
                    </a:p>
                  </a:txBody>
                  <a:tcPr/>
                </a:tc>
                <a:extLst>
                  <a:ext uri="{0D108BD9-81ED-4DB2-BD59-A6C34878D82A}">
                    <a16:rowId xmlns:a16="http://schemas.microsoft.com/office/drawing/2014/main" val="10004"/>
                  </a:ext>
                </a:extLst>
              </a:tr>
              <a:tr h="362679">
                <a:tc>
                  <a:txBody>
                    <a:bodyPr/>
                    <a:lstStyle/>
                    <a:p>
                      <a:r>
                        <a:rPr lang="en-US" sz="1100" b="1" dirty="0"/>
                        <a:t>Top Customers </a:t>
                      </a:r>
                    </a:p>
                  </a:txBody>
                  <a:tcPr/>
                </a:tc>
                <a:tc>
                  <a:txBody>
                    <a:bodyPr/>
                    <a:lstStyle/>
                    <a:p>
                      <a:endParaRPr lang="en-US" sz="1100" dirty="0"/>
                    </a:p>
                    <a:p>
                      <a:endParaRPr lang="en-US" sz="1100" dirty="0"/>
                    </a:p>
                    <a:p>
                      <a:endParaRPr lang="en-US" sz="1100" dirty="0"/>
                    </a:p>
                    <a:p>
                      <a:endParaRPr lang="en-US" sz="1100" dirty="0"/>
                    </a:p>
                    <a:p>
                      <a:endParaRPr lang="en-US" sz="1100" dirty="0"/>
                    </a:p>
                    <a:p>
                      <a:endParaRPr lang="en-US" sz="1100" dirty="0"/>
                    </a:p>
                  </a:txBody>
                  <a:tcPr/>
                </a:tc>
                <a:tc>
                  <a:txBody>
                    <a:bodyPr/>
                    <a:lstStyle/>
                    <a:p>
                      <a:endParaRPr lang="en-US" sz="1100" dirty="0"/>
                    </a:p>
                  </a:txBody>
                  <a:tcPr/>
                </a:tc>
                <a:tc>
                  <a:txBody>
                    <a:bodyPr/>
                    <a:lstStyle/>
                    <a:p>
                      <a:endParaRPr lang="en-US" sz="1100" dirty="0"/>
                    </a:p>
                  </a:txBody>
                  <a:tcPr/>
                </a:tc>
                <a:extLst>
                  <a:ext uri="{0D108BD9-81ED-4DB2-BD59-A6C34878D82A}">
                    <a16:rowId xmlns:a16="http://schemas.microsoft.com/office/drawing/2014/main" val="10006"/>
                  </a:ext>
                </a:extLst>
              </a:tr>
            </a:tbl>
          </a:graphicData>
        </a:graphic>
      </p:graphicFrame>
      <p:pic>
        <p:nvPicPr>
          <p:cNvPr id="1026" name="Picture 2">
            <a:extLst>
              <a:ext uri="{FF2B5EF4-FFF2-40B4-BE49-F238E27FC236}">
                <a16:creationId xmlns:a16="http://schemas.microsoft.com/office/drawing/2014/main" id="{334C889C-539E-48F4-B32D-D29BD09F85D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14625" y="5385636"/>
            <a:ext cx="1163353" cy="29418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UW logos | UW Brand">
            <a:extLst>
              <a:ext uri="{FF2B5EF4-FFF2-40B4-BE49-F238E27FC236}">
                <a16:creationId xmlns:a16="http://schemas.microsoft.com/office/drawing/2014/main" id="{DCC6F33C-2306-457C-823E-E4B8C6ED515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581400" y="5724490"/>
            <a:ext cx="1085850" cy="53419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1E580474-A56F-4D5F-9480-B1D5E93FC2E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90346" y="5385636"/>
            <a:ext cx="1027292" cy="534192"/>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Twist Bioscience: New Profitability Oriented Management &amp;amp; Direction  Compensates For The 435% Share-Premium (NASDAQ:TWST) | Seeking Alpha">
            <a:extLst>
              <a:ext uri="{FF2B5EF4-FFF2-40B4-BE49-F238E27FC236}">
                <a16:creationId xmlns:a16="http://schemas.microsoft.com/office/drawing/2014/main" id="{272E1FD4-B36C-48D1-A0BA-AE4E456DB7C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220200" y="5324078"/>
            <a:ext cx="1163353" cy="472488"/>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Regeneron top science employer, says survey - PMLiVE">
            <a:extLst>
              <a:ext uri="{FF2B5EF4-FFF2-40B4-BE49-F238E27FC236}">
                <a16:creationId xmlns:a16="http://schemas.microsoft.com/office/drawing/2014/main" id="{0FF941FA-9D8D-4437-B322-8611768434DE}"/>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27613" b="36278"/>
          <a:stretch/>
        </p:blipFill>
        <p:spPr bwMode="auto">
          <a:xfrm>
            <a:off x="10543332" y="5368751"/>
            <a:ext cx="1492709" cy="355739"/>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HistoGenetics – The Genomics Company – NGS &amp;amp; Beyond">
            <a:extLst>
              <a:ext uri="{FF2B5EF4-FFF2-40B4-BE49-F238E27FC236}">
                <a16:creationId xmlns:a16="http://schemas.microsoft.com/office/drawing/2014/main" id="{8ED70860-485E-464F-A1EE-5202FB5EA6B0}"/>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964233" y="5919828"/>
            <a:ext cx="1163354" cy="217159"/>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Home | Exact Sciences">
            <a:extLst>
              <a:ext uri="{FF2B5EF4-FFF2-40B4-BE49-F238E27FC236}">
                <a16:creationId xmlns:a16="http://schemas.microsoft.com/office/drawing/2014/main" id="{BAAC5C23-CD21-4F84-9F99-71E2A40624C4}"/>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206678" y="5400470"/>
            <a:ext cx="1248875" cy="430422"/>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Download LabCorp (Laboratory Corporation of America Holdings) Logo in SVG  Vector or PNG File Format - Logo.wine">
            <a:extLst>
              <a:ext uri="{FF2B5EF4-FFF2-40B4-BE49-F238E27FC236}">
                <a16:creationId xmlns:a16="http://schemas.microsoft.com/office/drawing/2014/main" id="{4D7BF6B9-342B-47BC-A1AE-62BF52D0170D}"/>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26558" b="27643"/>
          <a:stretch/>
        </p:blipFill>
        <p:spPr bwMode="auto">
          <a:xfrm>
            <a:off x="7627975" y="5384801"/>
            <a:ext cx="1372098" cy="471079"/>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Quest Diagnostics Proposed Breach Settlement Approved">
            <a:extLst>
              <a:ext uri="{FF2B5EF4-FFF2-40B4-BE49-F238E27FC236}">
                <a16:creationId xmlns:a16="http://schemas.microsoft.com/office/drawing/2014/main" id="{4B4FF9EC-DFD2-427F-8199-CADBD2742443}"/>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14706" t="29885" r="12284" b="26437"/>
          <a:stretch/>
        </p:blipFill>
        <p:spPr bwMode="auto">
          <a:xfrm>
            <a:off x="7045548" y="5900748"/>
            <a:ext cx="1176326" cy="4237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11354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EF0D879-B5EE-461D-B954-56DE26359DBB}"/>
              </a:ext>
            </a:extLst>
          </p:cNvPr>
          <p:cNvSpPr>
            <a:spLocks noGrp="1"/>
          </p:cNvSpPr>
          <p:nvPr>
            <p:ph type="title"/>
          </p:nvPr>
        </p:nvSpPr>
        <p:spPr/>
        <p:txBody>
          <a:bodyPr/>
          <a:lstStyle/>
          <a:p>
            <a:r>
              <a:rPr lang="en-US" dirty="0"/>
              <a:t>Identifying Opportunities</a:t>
            </a:r>
          </a:p>
        </p:txBody>
      </p:sp>
      <p:pic>
        <p:nvPicPr>
          <p:cNvPr id="1026" name="Picture 2" descr="Virginia Beach lab speeds up COVID-19 testing with new technology |  13newsnow.com">
            <a:extLst>
              <a:ext uri="{FF2B5EF4-FFF2-40B4-BE49-F238E27FC236}">
                <a16:creationId xmlns:a16="http://schemas.microsoft.com/office/drawing/2014/main" id="{052A2421-04F5-4367-B1DB-ABF0A4A20686}"/>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978769" y="762324"/>
            <a:ext cx="3058258" cy="171959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D091FE54-5151-4F7E-8BD0-4AC1043FF27F}"/>
              </a:ext>
            </a:extLst>
          </p:cNvPr>
          <p:cNvSpPr txBox="1"/>
          <p:nvPr/>
        </p:nvSpPr>
        <p:spPr>
          <a:xfrm>
            <a:off x="800100" y="1159770"/>
            <a:ext cx="5917223" cy="646331"/>
          </a:xfrm>
          <a:prstGeom prst="rect">
            <a:avLst/>
          </a:prstGeom>
          <a:noFill/>
        </p:spPr>
        <p:txBody>
          <a:bodyPr wrap="square" rtlCol="0">
            <a:spAutoFit/>
          </a:bodyPr>
          <a:lstStyle/>
          <a:p>
            <a:r>
              <a:rPr lang="en-US" dirty="0"/>
              <a:t>Mesa Biotech was a Molecular Biology Customer. In 2021, Thermo Fisher bought Mesa for $500M.</a:t>
            </a:r>
          </a:p>
        </p:txBody>
      </p:sp>
      <p:sp>
        <p:nvSpPr>
          <p:cNvPr id="6" name="TextBox 5">
            <a:extLst>
              <a:ext uri="{FF2B5EF4-FFF2-40B4-BE49-F238E27FC236}">
                <a16:creationId xmlns:a16="http://schemas.microsoft.com/office/drawing/2014/main" id="{FD920B16-51A7-46F9-B90D-8B8788B02DD7}"/>
              </a:ext>
            </a:extLst>
          </p:cNvPr>
          <p:cNvSpPr txBox="1"/>
          <p:nvPr/>
        </p:nvSpPr>
        <p:spPr>
          <a:xfrm>
            <a:off x="1647092" y="4376078"/>
            <a:ext cx="8897816" cy="1200329"/>
          </a:xfrm>
          <a:prstGeom prst="rect">
            <a:avLst/>
          </a:prstGeom>
          <a:noFill/>
          <a:ln>
            <a:solidFill>
              <a:srgbClr val="000000"/>
            </a:solidFill>
          </a:ln>
        </p:spPr>
        <p:txBody>
          <a:bodyPr wrap="square" rtlCol="0">
            <a:spAutoFit/>
          </a:bodyPr>
          <a:lstStyle/>
          <a:p>
            <a:pPr marL="285750" indent="-285750">
              <a:buFont typeface="Arial" panose="020B0604020202020204" pitchFamily="34" charset="0"/>
              <a:buChar char="•"/>
            </a:pPr>
            <a:r>
              <a:rPr lang="en-US" dirty="0"/>
              <a:t>Given list of customers with successful products, any purchase behavior to predict that the product will be successful?</a:t>
            </a:r>
          </a:p>
          <a:p>
            <a:pPr marL="285750" indent="-285750">
              <a:buFont typeface="Arial" panose="020B0604020202020204" pitchFamily="34" charset="0"/>
              <a:buChar char="•"/>
            </a:pPr>
            <a:r>
              <a:rPr lang="en-US" dirty="0"/>
              <a:t>Based on purchase behavior, prediction of what the customer may be developing?</a:t>
            </a:r>
          </a:p>
          <a:p>
            <a:pPr marL="285750" indent="-285750">
              <a:buFont typeface="Arial" panose="020B0604020202020204" pitchFamily="34" charset="0"/>
              <a:buChar char="•"/>
            </a:pPr>
            <a:r>
              <a:rPr lang="en-US" dirty="0"/>
              <a:t>Other insights from data to drive sales growth!</a:t>
            </a:r>
          </a:p>
        </p:txBody>
      </p:sp>
      <p:pic>
        <p:nvPicPr>
          <p:cNvPr id="1028" name="Picture 4">
            <a:extLst>
              <a:ext uri="{FF2B5EF4-FFF2-40B4-BE49-F238E27FC236}">
                <a16:creationId xmlns:a16="http://schemas.microsoft.com/office/drawing/2014/main" id="{4FDBC1D4-CA81-4FD2-9993-AE166B342EA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41376" y="3050418"/>
            <a:ext cx="2501413" cy="995562"/>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EC8820DC-14D6-4C20-8132-1A2B59EEBE0C}"/>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156108" y="2786827"/>
            <a:ext cx="971880" cy="1284345"/>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Arrow Connector 6">
            <a:extLst>
              <a:ext uri="{FF2B5EF4-FFF2-40B4-BE49-F238E27FC236}">
                <a16:creationId xmlns:a16="http://schemas.microsoft.com/office/drawing/2014/main" id="{57DE2510-7464-42C5-8231-FA724B5225D1}"/>
              </a:ext>
            </a:extLst>
          </p:cNvPr>
          <p:cNvCxnSpPr/>
          <p:nvPr/>
        </p:nvCxnSpPr>
        <p:spPr bwMode="auto">
          <a:xfrm>
            <a:off x="4475285" y="3428999"/>
            <a:ext cx="923192" cy="0"/>
          </a:xfrm>
          <a:prstGeom prst="straightConnector1">
            <a:avLst/>
          </a:prstGeom>
          <a:solidFill>
            <a:schemeClr val="accent1"/>
          </a:solidFill>
          <a:ln w="57150" cap="flat" cmpd="sng" algn="ctr">
            <a:solidFill>
              <a:schemeClr val="tx1"/>
            </a:solidFill>
            <a:prstDash val="solid"/>
            <a:round/>
            <a:headEnd type="none" w="med" len="med"/>
            <a:tailEnd type="triangle"/>
          </a:ln>
          <a:effectLst/>
        </p:spPr>
      </p:cxnSp>
    </p:spTree>
    <p:extLst>
      <p:ext uri="{BB962C8B-B14F-4D97-AF65-F5344CB8AC3E}">
        <p14:creationId xmlns:p14="http://schemas.microsoft.com/office/powerpoint/2010/main" val="109636813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1">
  <a:themeElements>
    <a:clrScheme name="2018-ALM-CorpColor">
      <a:dk1>
        <a:srgbClr val="555759"/>
      </a:dk1>
      <a:lt1>
        <a:srgbClr val="FFFFFF"/>
      </a:lt1>
      <a:dk2>
        <a:srgbClr val="262262"/>
      </a:dk2>
      <a:lt2>
        <a:srgbClr val="DEDEDE"/>
      </a:lt2>
      <a:accent1>
        <a:srgbClr val="5B8AB5"/>
      </a:accent1>
      <a:accent2>
        <a:srgbClr val="0E524D"/>
      </a:accent2>
      <a:accent3>
        <a:srgbClr val="00548B"/>
      </a:accent3>
      <a:accent4>
        <a:srgbClr val="EE3134"/>
      </a:accent4>
      <a:accent5>
        <a:srgbClr val="555759"/>
      </a:accent5>
      <a:accent6>
        <a:srgbClr val="ED7700"/>
      </a:accent6>
      <a:hlink>
        <a:srgbClr val="0082EE"/>
      </a:hlink>
      <a:folHlink>
        <a:srgbClr val="EE313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rigin">
      <a:fillStyleLst>
        <a:solidFill>
          <a:schemeClr val="phClr"/>
        </a:solidFill>
        <a:gradFill rotWithShape="1">
          <a:gsLst>
            <a:gs pos="0">
              <a:schemeClr val="phClr">
                <a:tint val="45000"/>
                <a:satMod val="200000"/>
              </a:schemeClr>
            </a:gs>
            <a:gs pos="30000">
              <a:schemeClr val="phClr">
                <a:tint val="61000"/>
                <a:satMod val="200000"/>
              </a:schemeClr>
            </a:gs>
            <a:gs pos="45000">
              <a:schemeClr val="phClr">
                <a:tint val="66000"/>
                <a:satMod val="200000"/>
              </a:schemeClr>
            </a:gs>
            <a:gs pos="55000">
              <a:schemeClr val="phClr">
                <a:tint val="66000"/>
                <a:satMod val="200000"/>
              </a:schemeClr>
            </a:gs>
            <a:gs pos="73000">
              <a:schemeClr val="phClr">
                <a:tint val="61000"/>
                <a:satMod val="200000"/>
              </a:schemeClr>
            </a:gs>
            <a:gs pos="100000">
              <a:schemeClr val="phClr">
                <a:tint val="45000"/>
                <a:satMod val="200000"/>
              </a:schemeClr>
            </a:gs>
          </a:gsLst>
          <a:lin ang="950000" scaled="1"/>
        </a:gradFill>
        <a:gradFill rotWithShape="1">
          <a:gsLst>
            <a:gs pos="0">
              <a:schemeClr val="phClr">
                <a:shade val="63000"/>
              </a:schemeClr>
            </a:gs>
            <a:gs pos="30000">
              <a:schemeClr val="phClr">
                <a:shade val="90000"/>
                <a:satMod val="110000"/>
              </a:schemeClr>
            </a:gs>
            <a:gs pos="45000">
              <a:schemeClr val="phClr">
                <a:shade val="100000"/>
                <a:satMod val="118000"/>
              </a:schemeClr>
            </a:gs>
            <a:gs pos="55000">
              <a:schemeClr val="phClr">
                <a:shade val="100000"/>
                <a:satMod val="118000"/>
              </a:schemeClr>
            </a:gs>
            <a:gs pos="73000">
              <a:schemeClr val="phClr">
                <a:shade val="90000"/>
                <a:satMod val="110000"/>
              </a:schemeClr>
            </a:gs>
            <a:gs pos="100000">
              <a:schemeClr val="phClr">
                <a:shade val="63000"/>
              </a:schemeClr>
            </a:gs>
          </a:gsLst>
          <a:lin ang="950000" scaled="1"/>
        </a:gradFill>
      </a:fillStyleLst>
      <a:lnStyleLst>
        <a:ln w="9525" cap="flat" cmpd="sng" algn="ctr">
          <a:solidFill>
            <a:schemeClr val="phClr"/>
          </a:solidFill>
          <a:prstDash val="solid"/>
        </a:ln>
        <a:ln w="19050" cap="flat" cmpd="sng" algn="ctr">
          <a:solidFill>
            <a:schemeClr val="phClr"/>
          </a:solidFill>
          <a:prstDash val="solid"/>
        </a:ln>
        <a:ln w="25400" cap="flat" cmpd="sng" algn="ctr">
          <a:solidFill>
            <a:schemeClr val="phClr"/>
          </a:solidFill>
          <a:prstDash val="solid"/>
        </a:ln>
      </a:lnStyleLst>
      <a:effectStyleLst>
        <a:effectStyle>
          <a:effectLst>
            <a:outerShdw blurRad="38100" dist="25400" dir="5400000" rotWithShape="0">
              <a:srgbClr val="000000">
                <a:alpha val="40000"/>
              </a:srgbClr>
            </a:outerShdw>
          </a:effectLst>
        </a:effectStyle>
        <a:effectStyle>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phClr">
                <a:tint val="100000"/>
                <a:shade val="100000"/>
                <a:hueMod val="100000"/>
                <a:satMod val="100000"/>
              </a:schemeClr>
            </a:contourClr>
          </a:sp3d>
        </a:effectStyle>
        <a:effectStyle>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lumMod val="60000"/>
            <a:lumOff val="40000"/>
          </a:schemeClr>
        </a:solidFill>
        <a:ln w="9525"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sz="1800" dirty="0" smtClean="0">
            <a:latin typeface="Arial" pitchFamily="12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24" charset="0"/>
          </a:defRPr>
        </a:defPPr>
      </a:lstStyle>
    </a:lnDef>
  </a:objectDefaults>
  <a:extraClrSchemeLst/>
  <a:custClrLst>
    <a:custClr name="Black">
      <a:srgbClr val="000000"/>
    </a:custClr>
    <a:custClr name="Red 187">
      <a:srgbClr val="AD1E2D"/>
    </a:custClr>
    <a:custClr name="Orange 143">
      <a:srgbClr val="F6B436"/>
    </a:custClr>
    <a:custClr name="Green 370">
      <a:srgbClr val="5F8B00"/>
    </a:custClr>
    <a:custClr name="Blue 315">
      <a:srgbClr val="006680"/>
    </a:custClr>
    <a:custClr name="Blue 286">
      <a:srgbClr val="005DAA"/>
    </a:custClr>
    <a:custClr name="Blue 284">
      <a:srgbClr val="1E8AE7"/>
    </a:custClr>
    <a:custClr name="Blue 629">
      <a:srgbClr val="98D2DD"/>
    </a:custClr>
    <a:custClr name="Purple 272">
      <a:srgbClr val="7474C1"/>
    </a:custClr>
    <a:custClr name="Purple 269">
      <a:srgbClr val="522D6D"/>
    </a:custClr>
  </a:custClrLst>
  <a:extLst>
    <a:ext uri="{05A4C25C-085E-4340-85A3-A5531E510DB2}">
      <thm15:themeFamily xmlns:thm15="http://schemas.microsoft.com/office/thememl/2012/main" name="ALM-2018-starter_template-Final.potx" id="{5C148AA4-FC1D-445F-9AFC-22BD6803520B}" vid="{24F48F65-46F2-4A42-9D22-03A1EA06FB4F}"/>
    </a:ext>
  </a:extLst>
</a:theme>
</file>

<file path=ppt/theme/theme2.xml><?xml version="1.0" encoding="utf-8"?>
<a:theme xmlns:a="http://schemas.openxmlformats.org/drawingml/2006/main" name="Default Theme">
  <a:themeElements>
    <a:clrScheme name="TFS 2020">
      <a:dk1>
        <a:srgbClr val="222222"/>
      </a:dk1>
      <a:lt1>
        <a:srgbClr val="FFFFFF"/>
      </a:lt1>
      <a:dk2>
        <a:srgbClr val="E61316"/>
      </a:dk2>
      <a:lt2>
        <a:srgbClr val="E2E3E3"/>
      </a:lt2>
      <a:accent1>
        <a:srgbClr val="262160"/>
      </a:accent1>
      <a:accent2>
        <a:srgbClr val="9AD3DC"/>
      </a:accent2>
      <a:accent3>
        <a:srgbClr val="F0B234"/>
      </a:accent3>
      <a:accent4>
        <a:srgbClr val="EA7600"/>
      </a:accent4>
      <a:accent5>
        <a:srgbClr val="545859"/>
      </a:accent5>
      <a:accent6>
        <a:srgbClr val="B4BD01"/>
      </a:accent6>
      <a:hlink>
        <a:srgbClr val="00677F"/>
      </a:hlink>
      <a:folHlink>
        <a:srgbClr val="512C6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tx2"/>
        </a:solidFill>
        <a:ln w="31750"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algn="ctr" defTabSz="914400" eaLnBrk="0" fontAlgn="base" hangingPunct="0">
          <a:spcBef>
            <a:spcPct val="0"/>
          </a:spcBef>
          <a:spcAft>
            <a:spcPct val="0"/>
          </a:spcAft>
          <a:defRPr sz="1800" dirty="0">
            <a:latin typeface="Arial" pitchFamily="124" charset="0"/>
          </a:defRPr>
        </a:defPPr>
      </a:lstStyle>
    </a:spDef>
    <a:txDef>
      <a:spPr>
        <a:noFill/>
      </a:spPr>
      <a:bodyPr wrap="square" lIns="0" tIns="0" rIns="0" bIns="0" rtlCol="0">
        <a:normAutofit/>
      </a:bodyPr>
      <a:lstStyle>
        <a:defPPr marL="287338" indent="-287338" algn="l" defTabSz="914400">
          <a:lnSpc>
            <a:spcPct val="120000"/>
          </a:lnSpc>
          <a:spcBef>
            <a:spcPts val="200"/>
          </a:spcBef>
          <a:buClr>
            <a:schemeClr val="tx2"/>
          </a:buClr>
          <a:buSzPct val="100000"/>
          <a:buFont typeface="Arial" panose="020B0604020202020204" pitchFamily="34" charset="0"/>
          <a:buChar char="•"/>
          <a:defRPr sz="2000" dirty="0" smtClean="0"/>
        </a:defPPr>
      </a:lstStyle>
    </a:txDef>
  </a:objectDefaults>
  <a:extraClrSchemeLst/>
  <a:extLst>
    <a:ext uri="{05A4C25C-085E-4340-85A3-A5531E510DB2}">
      <thm15:themeFamily xmlns:thm15="http://schemas.microsoft.com/office/thememl/2012/main" name="Default Theme" id="{31EDB515-F341-49A5-BF58-05A67A847F0F}" vid="{A8A62C71-D16E-4DA3-8B17-448169392879}"/>
    </a:ext>
  </a:extLst>
</a:theme>
</file>

<file path=ppt/theme/theme3.xml><?xml version="1.0" encoding="utf-8"?>
<a:theme xmlns:a="http://schemas.openxmlformats.org/drawingml/2006/main" name="1_Thermo 1">
  <a:themeElements>
    <a:clrScheme name="Thermo Fisher 2020">
      <a:dk1>
        <a:srgbClr val="222222"/>
      </a:dk1>
      <a:lt1>
        <a:srgbClr val="FFFFFF"/>
      </a:lt1>
      <a:dk2>
        <a:srgbClr val="E71315"/>
      </a:dk2>
      <a:lt2>
        <a:srgbClr val="E2E3E3"/>
      </a:lt2>
      <a:accent1>
        <a:srgbClr val="262160"/>
      </a:accent1>
      <a:accent2>
        <a:srgbClr val="9AD3DC"/>
      </a:accent2>
      <a:accent3>
        <a:srgbClr val="F0B234"/>
      </a:accent3>
      <a:accent4>
        <a:srgbClr val="EA7600"/>
      </a:accent4>
      <a:accent5>
        <a:srgbClr val="545859"/>
      </a:accent5>
      <a:accent6>
        <a:srgbClr val="B4BD01"/>
      </a:accent6>
      <a:hlink>
        <a:srgbClr val="00677F"/>
      </a:hlink>
      <a:folHlink>
        <a:srgbClr val="512C6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tx2"/>
        </a:solidFill>
        <a:ln w="31750"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algn="ctr" defTabSz="914400" eaLnBrk="0" fontAlgn="base" hangingPunct="0">
          <a:spcBef>
            <a:spcPct val="0"/>
          </a:spcBef>
          <a:spcAft>
            <a:spcPct val="0"/>
          </a:spcAft>
          <a:defRPr sz="1800" dirty="0">
            <a:latin typeface="Arial" pitchFamily="124" charset="0"/>
          </a:defRPr>
        </a:defPPr>
      </a:lstStyle>
    </a:spDef>
    <a:txDef>
      <a:spPr>
        <a:noFill/>
      </a:spPr>
      <a:bodyPr wrap="square" lIns="0" tIns="0" rIns="0" bIns="0" rtlCol="0">
        <a:normAutofit/>
      </a:bodyPr>
      <a:lstStyle>
        <a:defPPr marL="287338" indent="-287338" algn="l" defTabSz="914400">
          <a:lnSpc>
            <a:spcPct val="120000"/>
          </a:lnSpc>
          <a:spcBef>
            <a:spcPts val="200"/>
          </a:spcBef>
          <a:buClr>
            <a:schemeClr val="tx2"/>
          </a:buClr>
          <a:buSzPct val="100000"/>
          <a:buFont typeface="Arial" panose="020B0604020202020204" pitchFamily="34" charset="0"/>
          <a:buChar char="•"/>
          <a:defRPr sz="2000" dirty="0" smtClean="0"/>
        </a:defPPr>
      </a:lstStyle>
    </a:txDef>
  </a:objectDefaults>
  <a:extraClrSchemeLst/>
  <a:extLst>
    <a:ext uri="{05A4C25C-085E-4340-85A3-A5531E510DB2}">
      <thm15:themeFamily xmlns:thm15="http://schemas.microsoft.com/office/thememl/2012/main" name="Presentation2" id="{0A3AF59E-B783-4B37-B4CA-8AF5E342F910}" vid="{409D2D3A-C389-43EB-946B-D7A0DE524F97}"/>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8A769F306ED3A4EBAC44B524807645B" ma:contentTypeVersion="4" ma:contentTypeDescription="Create a new document." ma:contentTypeScope="" ma:versionID="0052c19d9dd96b6b0051a8fae5141ea7">
  <xsd:schema xmlns:xsd="http://www.w3.org/2001/XMLSchema" xmlns:xs="http://www.w3.org/2001/XMLSchema" xmlns:p="http://schemas.microsoft.com/office/2006/metadata/properties" xmlns:ns2="ddb66d43-e08b-498f-a404-fa51b64c8011" xmlns:ns3="f45e5d8d-9a8a-4c00-8ddb-4e25f5f63c95" targetNamespace="http://schemas.microsoft.com/office/2006/metadata/properties" ma:root="true" ma:fieldsID="b262ce3d4297a4fe247d8cba8c7990dc" ns2:_="" ns3:_="">
    <xsd:import namespace="ddb66d43-e08b-498f-a404-fa51b64c8011"/>
    <xsd:import namespace="f45e5d8d-9a8a-4c00-8ddb-4e25f5f63c95"/>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db66d43-e08b-498f-a404-fa51b64c801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45e5d8d-9a8a-4c00-8ddb-4e25f5f63c95"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8137CBB-091E-4DB0-A579-3E48B22573A5}">
  <ds:schemaRefs>
    <ds:schemaRef ds:uri="http://schemas.microsoft.com/sharepoint/v3/contenttype/forms"/>
  </ds:schemaRefs>
</ds:datastoreItem>
</file>

<file path=customXml/itemProps2.xml><?xml version="1.0" encoding="utf-8"?>
<ds:datastoreItem xmlns:ds="http://schemas.openxmlformats.org/officeDocument/2006/customXml" ds:itemID="{C58BCDBD-B5DF-4E04-8BC7-BB6B715D688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db66d43-e08b-498f-a404-fa51b64c8011"/>
    <ds:schemaRef ds:uri="f45e5d8d-9a8a-4c00-8ddb-4e25f5f63c9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C3B6F56-9A4B-495A-AE9F-F1F1E42338C5}">
  <ds:schemaRefs>
    <ds:schemaRef ds:uri="http://purl.org/dc/elements/1.1/"/>
    <ds:schemaRef ds:uri="http://schemas.microsoft.com/office/2006/metadata/properties"/>
    <ds:schemaRef ds:uri="http://schemas.microsoft.com/office/2006/documentManagement/types"/>
    <ds:schemaRef ds:uri="http://schemas.openxmlformats.org/package/2006/metadata/core-properties"/>
    <ds:schemaRef ds:uri="http://schemas.microsoft.com/office/infopath/2007/PartnerControls"/>
    <ds:schemaRef ds:uri="http://purl.org/dc/dcmitype/"/>
    <ds:schemaRef ds:uri="f45e5d8d-9a8a-4c00-8ddb-4e25f5f63c95"/>
    <ds:schemaRef ds:uri="ddb66d43-e08b-498f-a404-fa51b64c8011"/>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ALM-2018-starter_template-Final</Template>
  <TotalTime>4650</TotalTime>
  <Words>1443</Words>
  <Application>Microsoft Office PowerPoint</Application>
  <PresentationFormat>Widescreen</PresentationFormat>
  <Paragraphs>223</Paragraphs>
  <Slides>13</Slides>
  <Notes>3</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1" baseType="lpstr">
      <vt:lpstr>Arial</vt:lpstr>
      <vt:lpstr>Arial Unicode MS</vt:lpstr>
      <vt:lpstr>Calibri</vt:lpstr>
      <vt:lpstr>Symbol</vt:lpstr>
      <vt:lpstr>Theme1</vt:lpstr>
      <vt:lpstr>Default Theme</vt:lpstr>
      <vt:lpstr>1_Thermo 1</vt:lpstr>
      <vt:lpstr>think-cell Slide</vt:lpstr>
      <vt:lpstr>End-Point PCR Hackathon Introduction </vt:lpstr>
      <vt:lpstr>Congratulations on your promotion!</vt:lpstr>
      <vt:lpstr>What is PCR?</vt:lpstr>
      <vt:lpstr>PCR Workflow Overview</vt:lpstr>
      <vt:lpstr>Key Questions</vt:lpstr>
      <vt:lpstr>How is Forecasting done now?</vt:lpstr>
      <vt:lpstr>Fuel Growth: Drive Attachment</vt:lpstr>
      <vt:lpstr>Who are the customers: Customer Segments</vt:lpstr>
      <vt:lpstr>Identifying Opportunities</vt:lpstr>
      <vt:lpstr>Dataset </vt:lpstr>
      <vt:lpstr>Hackathon Details</vt:lpstr>
      <vt:lpstr>Appendix</vt:lpstr>
      <vt:lpstr>Dictionary of Term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Text Bold Flush Right</dc:title>
  <dc:creator>Gutierrez, Karen</dc:creator>
  <cp:lastModifiedBy>Zhang, Hao</cp:lastModifiedBy>
  <cp:revision>15</cp:revision>
  <cp:lastPrinted>2019-02-27T00:05:27Z</cp:lastPrinted>
  <dcterms:created xsi:type="dcterms:W3CDTF">2017-10-11T20:54:08Z</dcterms:created>
  <dcterms:modified xsi:type="dcterms:W3CDTF">2021-09-21T23:04: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8A769F306ED3A4EBAC44B524807645B</vt:lpwstr>
  </property>
</Properties>
</file>